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3.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4.xml" ContentType="application/vnd.openxmlformats-officedocument.presentationml.tags+xml"/>
  <Override PartName="/ppt/notesSlides/notesSlide28.xml" ContentType="application/vnd.openxmlformats-officedocument.presentationml.notesSlide+xml"/>
  <Override PartName="/ppt/tags/tag5.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34.xml" ContentType="application/vnd.openxmlformats-officedocument.presentationml.notesSlide+xml"/>
  <Override PartName="/ppt/tags/tag8.xml" ContentType="application/vnd.openxmlformats-officedocument.presentationml.tags+xml"/>
  <Override PartName="/ppt/notesSlides/notesSlide35.xml" ContentType="application/vnd.openxmlformats-officedocument.presentationml.notesSlide+xml"/>
  <Override PartName="/ppt/tags/tag9.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tags/tag31.xml" ContentType="application/vnd.openxmlformats-officedocument.presentationml.tags+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5"/>
  </p:sldMasterIdLst>
  <p:notesMasterIdLst>
    <p:notesMasterId r:id="rId86"/>
  </p:notesMasterIdLst>
  <p:handoutMasterIdLst>
    <p:handoutMasterId r:id="rId87"/>
  </p:handoutMasterIdLst>
  <p:sldIdLst>
    <p:sldId id="290" r:id="rId6"/>
    <p:sldId id="333" r:id="rId7"/>
    <p:sldId id="388" r:id="rId8"/>
    <p:sldId id="416" r:id="rId9"/>
    <p:sldId id="443" r:id="rId10"/>
    <p:sldId id="337" r:id="rId11"/>
    <p:sldId id="419" r:id="rId12"/>
    <p:sldId id="444" r:id="rId13"/>
    <p:sldId id="340" r:id="rId14"/>
    <p:sldId id="341" r:id="rId15"/>
    <p:sldId id="342" r:id="rId16"/>
    <p:sldId id="343" r:id="rId17"/>
    <p:sldId id="344" r:id="rId18"/>
    <p:sldId id="389" r:id="rId19"/>
    <p:sldId id="365" r:id="rId20"/>
    <p:sldId id="347" r:id="rId21"/>
    <p:sldId id="348" r:id="rId22"/>
    <p:sldId id="349" r:id="rId23"/>
    <p:sldId id="350" r:id="rId24"/>
    <p:sldId id="351" r:id="rId25"/>
    <p:sldId id="352" r:id="rId26"/>
    <p:sldId id="445" r:id="rId27"/>
    <p:sldId id="435" r:id="rId28"/>
    <p:sldId id="446" r:id="rId29"/>
    <p:sldId id="447" r:id="rId30"/>
    <p:sldId id="448" r:id="rId31"/>
    <p:sldId id="437" r:id="rId32"/>
    <p:sldId id="438" r:id="rId33"/>
    <p:sldId id="450" r:id="rId34"/>
    <p:sldId id="451" r:id="rId35"/>
    <p:sldId id="452" r:id="rId36"/>
    <p:sldId id="363" r:id="rId37"/>
    <p:sldId id="364" r:id="rId38"/>
    <p:sldId id="395" r:id="rId39"/>
    <p:sldId id="366" r:id="rId40"/>
    <p:sldId id="367" r:id="rId41"/>
    <p:sldId id="368" r:id="rId42"/>
    <p:sldId id="406" r:id="rId43"/>
    <p:sldId id="370" r:id="rId44"/>
    <p:sldId id="371" r:id="rId45"/>
    <p:sldId id="372" r:id="rId46"/>
    <p:sldId id="373" r:id="rId47"/>
    <p:sldId id="408" r:id="rId48"/>
    <p:sldId id="375" r:id="rId49"/>
    <p:sldId id="376" r:id="rId50"/>
    <p:sldId id="377" r:id="rId51"/>
    <p:sldId id="453" r:id="rId52"/>
    <p:sldId id="319" r:id="rId53"/>
    <p:sldId id="320" r:id="rId54"/>
    <p:sldId id="321" r:id="rId55"/>
    <p:sldId id="420" r:id="rId56"/>
    <p:sldId id="323" r:id="rId57"/>
    <p:sldId id="454" r:id="rId58"/>
    <p:sldId id="455" r:id="rId59"/>
    <p:sldId id="402" r:id="rId60"/>
    <p:sldId id="326" r:id="rId61"/>
    <p:sldId id="302" r:id="rId62"/>
    <p:sldId id="382" r:id="rId63"/>
    <p:sldId id="456" r:id="rId64"/>
    <p:sldId id="335" r:id="rId65"/>
    <p:sldId id="457" r:id="rId66"/>
    <p:sldId id="458" r:id="rId67"/>
    <p:sldId id="307" r:id="rId68"/>
    <p:sldId id="308" r:id="rId69"/>
    <p:sldId id="309" r:id="rId70"/>
    <p:sldId id="310" r:id="rId71"/>
    <p:sldId id="311" r:id="rId72"/>
    <p:sldId id="334" r:id="rId73"/>
    <p:sldId id="459" r:id="rId74"/>
    <p:sldId id="460" r:id="rId75"/>
    <p:sldId id="381" r:id="rId76"/>
    <p:sldId id="463" r:id="rId77"/>
    <p:sldId id="314" r:id="rId78"/>
    <p:sldId id="315" r:id="rId79"/>
    <p:sldId id="316" r:id="rId80"/>
    <p:sldId id="336" r:id="rId81"/>
    <p:sldId id="461" r:id="rId82"/>
    <p:sldId id="384" r:id="rId83"/>
    <p:sldId id="462" r:id="rId84"/>
    <p:sldId id="362" r:id="rId85"/>
  </p:sldIdLst>
  <p:sldSz cx="12192000" cy="6858000"/>
  <p:notesSz cx="6858000" cy="9144000"/>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15:clr>
            <a:srgbClr val="A4A3A4"/>
          </p15:clr>
        </p15:guide>
        <p15:guide id="2">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notes"/>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AE00"/>
    <a:srgbClr val="FFB944"/>
    <a:srgbClr val="F47B1E"/>
    <a:srgbClr val="FFC944"/>
    <a:srgbClr val="000000"/>
    <a:srgbClr val="3B45AC"/>
    <a:srgbClr val="038AB7"/>
    <a:srgbClr val="008BBA"/>
    <a:srgbClr val="0091C0"/>
    <a:srgbClr val="0E79A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E30AC29-01AD-49FF-A187-E210449B43FC}" v="248" dt="2020-06-24T12:31:25.82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Estilo Médio 2 - Destaqu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Estilo Médio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173" autoAdjust="0"/>
    <p:restoredTop sz="93464" autoAdjust="0"/>
  </p:normalViewPr>
  <p:slideViewPr>
    <p:cSldViewPr snapToGrid="0">
      <p:cViewPr varScale="1">
        <p:scale>
          <a:sx n="82" d="100"/>
          <a:sy n="82" d="100"/>
        </p:scale>
        <p:origin x="342" y="36"/>
      </p:cViewPr>
      <p:guideLst>
        <p:guide orient="horz"/>
        <p:guide/>
      </p:guideLst>
    </p:cSldViewPr>
  </p:slideViewPr>
  <p:notesTextViewPr>
    <p:cViewPr>
      <p:scale>
        <a:sx n="1" d="1"/>
        <a:sy n="1" d="1"/>
      </p:scale>
      <p:origin x="0" y="0"/>
    </p:cViewPr>
  </p:notesTextViewPr>
  <p:sorterViewPr>
    <p:cViewPr>
      <p:scale>
        <a:sx n="66" d="100"/>
        <a:sy n="66" d="100"/>
      </p:scale>
      <p:origin x="0" y="0"/>
    </p:cViewPr>
  </p:sorterViewPr>
  <p:notesViewPr>
    <p:cSldViewPr snapToGrid="0">
      <p:cViewPr varScale="1">
        <p:scale>
          <a:sx n="150" d="100"/>
          <a:sy n="150" d="100"/>
        </p:scale>
        <p:origin x="2520" y="17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6" Type="http://schemas.openxmlformats.org/officeDocument/2006/relationships/slide" Target="slides/slide71.xml"/><Relationship Id="rId84" Type="http://schemas.openxmlformats.org/officeDocument/2006/relationships/slide" Target="slides/slide79.xml"/><Relationship Id="rId89" Type="http://schemas.openxmlformats.org/officeDocument/2006/relationships/viewProps" Target="viewProps.xml"/><Relationship Id="rId7" Type="http://schemas.openxmlformats.org/officeDocument/2006/relationships/slide" Target="slides/slide2.xml"/><Relationship Id="rId71" Type="http://schemas.openxmlformats.org/officeDocument/2006/relationships/slide" Target="slides/slide66.xml"/><Relationship Id="rId92"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slide" Target="slides/slide69.xml"/><Relationship Id="rId79" Type="http://schemas.openxmlformats.org/officeDocument/2006/relationships/slide" Target="slides/slide74.xml"/><Relationship Id="rId87" Type="http://schemas.openxmlformats.org/officeDocument/2006/relationships/handoutMaster" Target="handoutMasters/handoutMaster1.xml"/><Relationship Id="rId5" Type="http://schemas.openxmlformats.org/officeDocument/2006/relationships/slideMaster" Target="slideMasters/slideMaster1.xml"/><Relationship Id="rId61" Type="http://schemas.openxmlformats.org/officeDocument/2006/relationships/slide" Target="slides/slide56.xml"/><Relationship Id="rId82" Type="http://schemas.openxmlformats.org/officeDocument/2006/relationships/slide" Target="slides/slide77.xml"/><Relationship Id="rId90" Type="http://schemas.openxmlformats.org/officeDocument/2006/relationships/theme" Target="theme/theme1.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slide" Target="slides/slide80.xml"/><Relationship Id="rId93"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presProps" Target="presProps.xml"/><Relationship Id="rId9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niele, L.M. (Laura)" userId="fd7970a2-7a0c-4b70-8263-dcc64c0076cf" providerId="ADAL" clId="{D1C0CC20-3149-44C4-9704-52734E555518}"/>
    <pc:docChg chg="undo custSel addSld modSld sldOrd">
      <pc:chgData name="Daniele, L.M. (Laura)" userId="fd7970a2-7a0c-4b70-8263-dcc64c0076cf" providerId="ADAL" clId="{D1C0CC20-3149-44C4-9704-52734E555518}" dt="2020-06-18T07:09:09.988" v="2989" actId="20577"/>
      <pc:docMkLst>
        <pc:docMk/>
      </pc:docMkLst>
      <pc:sldChg chg="addSp">
        <pc:chgData name="Daniele, L.M. (Laura)" userId="fd7970a2-7a0c-4b70-8263-dcc64c0076cf" providerId="ADAL" clId="{D1C0CC20-3149-44C4-9704-52734E555518}" dt="2020-06-17T18:10:44.075" v="1318"/>
        <pc:sldMkLst>
          <pc:docMk/>
          <pc:sldMk cId="0" sldId="261"/>
        </pc:sldMkLst>
        <pc:picChg chg="add">
          <ac:chgData name="Daniele, L.M. (Laura)" userId="fd7970a2-7a0c-4b70-8263-dcc64c0076cf" providerId="ADAL" clId="{D1C0CC20-3149-44C4-9704-52734E555518}" dt="2020-06-17T18:10:44.075" v="1318"/>
          <ac:picMkLst>
            <pc:docMk/>
            <pc:sldMk cId="0" sldId="261"/>
            <ac:picMk id="35" creationId="{162A4962-9871-4F39-A010-4931F57C406B}"/>
          </ac:picMkLst>
        </pc:picChg>
      </pc:sldChg>
      <pc:sldChg chg="addSp">
        <pc:chgData name="Daniele, L.M. (Laura)" userId="fd7970a2-7a0c-4b70-8263-dcc64c0076cf" providerId="ADAL" clId="{D1C0CC20-3149-44C4-9704-52734E555518}" dt="2020-06-17T18:10:41.257" v="1317"/>
        <pc:sldMkLst>
          <pc:docMk/>
          <pc:sldMk cId="0" sldId="262"/>
        </pc:sldMkLst>
        <pc:picChg chg="add">
          <ac:chgData name="Daniele, L.M. (Laura)" userId="fd7970a2-7a0c-4b70-8263-dcc64c0076cf" providerId="ADAL" clId="{D1C0CC20-3149-44C4-9704-52734E555518}" dt="2020-06-17T18:10:41.257" v="1317"/>
          <ac:picMkLst>
            <pc:docMk/>
            <pc:sldMk cId="0" sldId="262"/>
            <ac:picMk id="24" creationId="{AFB4AB7E-6483-44BF-BD26-678C7F27D308}"/>
          </ac:picMkLst>
        </pc:picChg>
      </pc:sldChg>
      <pc:sldChg chg="addSp">
        <pc:chgData name="Daniele, L.M. (Laura)" userId="fd7970a2-7a0c-4b70-8263-dcc64c0076cf" providerId="ADAL" clId="{D1C0CC20-3149-44C4-9704-52734E555518}" dt="2020-06-17T18:10:38.082" v="1316"/>
        <pc:sldMkLst>
          <pc:docMk/>
          <pc:sldMk cId="0" sldId="263"/>
        </pc:sldMkLst>
        <pc:picChg chg="add">
          <ac:chgData name="Daniele, L.M. (Laura)" userId="fd7970a2-7a0c-4b70-8263-dcc64c0076cf" providerId="ADAL" clId="{D1C0CC20-3149-44C4-9704-52734E555518}" dt="2020-06-17T18:10:38.082" v="1316"/>
          <ac:picMkLst>
            <pc:docMk/>
            <pc:sldMk cId="0" sldId="263"/>
            <ac:picMk id="9" creationId="{CDE5B977-1997-4792-BA06-9D5124213348}"/>
          </ac:picMkLst>
        </pc:picChg>
      </pc:sldChg>
      <pc:sldChg chg="addSp">
        <pc:chgData name="Daniele, L.M. (Laura)" userId="fd7970a2-7a0c-4b70-8263-dcc64c0076cf" providerId="ADAL" clId="{D1C0CC20-3149-44C4-9704-52734E555518}" dt="2020-06-17T18:10:35.556" v="1315"/>
        <pc:sldMkLst>
          <pc:docMk/>
          <pc:sldMk cId="0" sldId="264"/>
        </pc:sldMkLst>
        <pc:picChg chg="add">
          <ac:chgData name="Daniele, L.M. (Laura)" userId="fd7970a2-7a0c-4b70-8263-dcc64c0076cf" providerId="ADAL" clId="{D1C0CC20-3149-44C4-9704-52734E555518}" dt="2020-06-17T18:10:35.556" v="1315"/>
          <ac:picMkLst>
            <pc:docMk/>
            <pc:sldMk cId="0" sldId="264"/>
            <ac:picMk id="7" creationId="{47DD129D-D622-4D3D-B849-3DE356AB2832}"/>
          </ac:picMkLst>
        </pc:picChg>
      </pc:sldChg>
      <pc:sldChg chg="addSp">
        <pc:chgData name="Daniele, L.M. (Laura)" userId="fd7970a2-7a0c-4b70-8263-dcc64c0076cf" providerId="ADAL" clId="{D1C0CC20-3149-44C4-9704-52734E555518}" dt="2020-06-17T18:10:32.310" v="1314"/>
        <pc:sldMkLst>
          <pc:docMk/>
          <pc:sldMk cId="0" sldId="265"/>
        </pc:sldMkLst>
        <pc:picChg chg="add">
          <ac:chgData name="Daniele, L.M. (Laura)" userId="fd7970a2-7a0c-4b70-8263-dcc64c0076cf" providerId="ADAL" clId="{D1C0CC20-3149-44C4-9704-52734E555518}" dt="2020-06-17T18:10:32.310" v="1314"/>
          <ac:picMkLst>
            <pc:docMk/>
            <pc:sldMk cId="0" sldId="265"/>
            <ac:picMk id="7" creationId="{6229DD6C-087F-493F-A1E2-E66D5DF08304}"/>
          </ac:picMkLst>
        </pc:picChg>
      </pc:sldChg>
      <pc:sldChg chg="addSp">
        <pc:chgData name="Daniele, L.M. (Laura)" userId="fd7970a2-7a0c-4b70-8263-dcc64c0076cf" providerId="ADAL" clId="{D1C0CC20-3149-44C4-9704-52734E555518}" dt="2020-06-17T18:10:29.609" v="1313"/>
        <pc:sldMkLst>
          <pc:docMk/>
          <pc:sldMk cId="0" sldId="266"/>
        </pc:sldMkLst>
        <pc:picChg chg="add">
          <ac:chgData name="Daniele, L.M. (Laura)" userId="fd7970a2-7a0c-4b70-8263-dcc64c0076cf" providerId="ADAL" clId="{D1C0CC20-3149-44C4-9704-52734E555518}" dt="2020-06-17T18:10:29.609" v="1313"/>
          <ac:picMkLst>
            <pc:docMk/>
            <pc:sldMk cId="0" sldId="266"/>
            <ac:picMk id="8" creationId="{E819DB3B-875B-4B81-9668-746F0B67B102}"/>
          </ac:picMkLst>
        </pc:picChg>
      </pc:sldChg>
      <pc:sldChg chg="modSp">
        <pc:chgData name="Daniele, L.M. (Laura)" userId="fd7970a2-7a0c-4b70-8263-dcc64c0076cf" providerId="ADAL" clId="{D1C0CC20-3149-44C4-9704-52734E555518}" dt="2020-06-17T17:43:42.177" v="918" actId="1076"/>
        <pc:sldMkLst>
          <pc:docMk/>
          <pc:sldMk cId="3193627321" sldId="308"/>
        </pc:sldMkLst>
        <pc:spChg chg="mod">
          <ac:chgData name="Daniele, L.M. (Laura)" userId="fd7970a2-7a0c-4b70-8263-dcc64c0076cf" providerId="ADAL" clId="{D1C0CC20-3149-44C4-9704-52734E555518}" dt="2020-06-17T17:43:38.147" v="917" actId="1076"/>
          <ac:spMkLst>
            <pc:docMk/>
            <pc:sldMk cId="3193627321" sldId="308"/>
            <ac:spMk id="27" creationId="{EA707560-6C97-4C37-9305-DD5C8C23A56A}"/>
          </ac:spMkLst>
        </pc:spChg>
        <pc:grpChg chg="mod">
          <ac:chgData name="Daniele, L.M. (Laura)" userId="fd7970a2-7a0c-4b70-8263-dcc64c0076cf" providerId="ADAL" clId="{D1C0CC20-3149-44C4-9704-52734E555518}" dt="2020-06-17T17:43:42.177" v="918" actId="1076"/>
          <ac:grpSpMkLst>
            <pc:docMk/>
            <pc:sldMk cId="3193627321" sldId="308"/>
            <ac:grpSpMk id="26" creationId="{E78591AF-9491-4040-B42E-054F9C9E798A}"/>
          </ac:grpSpMkLst>
        </pc:grpChg>
      </pc:sldChg>
      <pc:sldChg chg="addSp">
        <pc:chgData name="Daniele, L.M. (Laura)" userId="fd7970a2-7a0c-4b70-8263-dcc64c0076cf" providerId="ADAL" clId="{D1C0CC20-3149-44C4-9704-52734E555518}" dt="2020-06-17T17:27:25.419" v="885"/>
        <pc:sldMkLst>
          <pc:docMk/>
          <pc:sldMk cId="802480430" sldId="364"/>
        </pc:sldMkLst>
        <pc:picChg chg="add">
          <ac:chgData name="Daniele, L.M. (Laura)" userId="fd7970a2-7a0c-4b70-8263-dcc64c0076cf" providerId="ADAL" clId="{D1C0CC20-3149-44C4-9704-52734E555518}" dt="2020-06-17T17:27:25.419" v="885"/>
          <ac:picMkLst>
            <pc:docMk/>
            <pc:sldMk cId="802480430" sldId="364"/>
            <ac:picMk id="5" creationId="{526FEA78-2E6E-456A-B47A-E99F288CA254}"/>
          </ac:picMkLst>
        </pc:picChg>
      </pc:sldChg>
      <pc:sldChg chg="modSp">
        <pc:chgData name="Daniele, L.M. (Laura)" userId="fd7970a2-7a0c-4b70-8263-dcc64c0076cf" providerId="ADAL" clId="{D1C0CC20-3149-44C4-9704-52734E555518}" dt="2020-06-17T18:02:42.060" v="1165" actId="20577"/>
        <pc:sldMkLst>
          <pc:docMk/>
          <pc:sldMk cId="2415796511" sldId="366"/>
        </pc:sldMkLst>
        <pc:spChg chg="mod">
          <ac:chgData name="Daniele, L.M. (Laura)" userId="fd7970a2-7a0c-4b70-8263-dcc64c0076cf" providerId="ADAL" clId="{D1C0CC20-3149-44C4-9704-52734E555518}" dt="2020-06-17T18:02:42.060" v="1165" actId="20577"/>
          <ac:spMkLst>
            <pc:docMk/>
            <pc:sldMk cId="2415796511" sldId="366"/>
            <ac:spMk id="2" creationId="{9B71C370-D5AD-4285-B597-DF811FF69E0D}"/>
          </ac:spMkLst>
        </pc:spChg>
      </pc:sldChg>
      <pc:sldChg chg="modSp">
        <pc:chgData name="Daniele, L.M. (Laura)" userId="fd7970a2-7a0c-4b70-8263-dcc64c0076cf" providerId="ADAL" clId="{D1C0CC20-3149-44C4-9704-52734E555518}" dt="2020-06-17T17:28:10.175" v="887" actId="404"/>
        <pc:sldMkLst>
          <pc:docMk/>
          <pc:sldMk cId="787657119" sldId="367"/>
        </pc:sldMkLst>
        <pc:spChg chg="mod">
          <ac:chgData name="Daniele, L.M. (Laura)" userId="fd7970a2-7a0c-4b70-8263-dcc64c0076cf" providerId="ADAL" clId="{D1C0CC20-3149-44C4-9704-52734E555518}" dt="2020-06-17T17:28:10.175" v="887" actId="404"/>
          <ac:spMkLst>
            <pc:docMk/>
            <pc:sldMk cId="787657119" sldId="367"/>
            <ac:spMk id="3" creationId="{255782FB-3B8F-474B-8C3F-D7A33D0701FB}"/>
          </ac:spMkLst>
        </pc:spChg>
      </pc:sldChg>
      <pc:sldChg chg="addSp modSp">
        <pc:chgData name="Daniele, L.M. (Laura)" userId="fd7970a2-7a0c-4b70-8263-dcc64c0076cf" providerId="ADAL" clId="{D1C0CC20-3149-44C4-9704-52734E555518}" dt="2020-06-17T18:28:18.807" v="1737" actId="164"/>
        <pc:sldMkLst>
          <pc:docMk/>
          <pc:sldMk cId="1689786166" sldId="370"/>
        </pc:sldMkLst>
        <pc:spChg chg="mod">
          <ac:chgData name="Daniele, L.M. (Laura)" userId="fd7970a2-7a0c-4b70-8263-dcc64c0076cf" providerId="ADAL" clId="{D1C0CC20-3149-44C4-9704-52734E555518}" dt="2020-06-17T18:27:47.859" v="1736" actId="20577"/>
          <ac:spMkLst>
            <pc:docMk/>
            <pc:sldMk cId="1689786166" sldId="370"/>
            <ac:spMk id="12" creationId="{FA073468-6822-4926-ADFF-43EB81727B77}"/>
          </ac:spMkLst>
        </pc:spChg>
        <pc:spChg chg="mod">
          <ac:chgData name="Daniele, L.M. (Laura)" userId="fd7970a2-7a0c-4b70-8263-dcc64c0076cf" providerId="ADAL" clId="{D1C0CC20-3149-44C4-9704-52734E555518}" dt="2020-06-17T18:27:27.541" v="1730" actId="1076"/>
          <ac:spMkLst>
            <pc:docMk/>
            <pc:sldMk cId="1689786166" sldId="370"/>
            <ac:spMk id="15" creationId="{A845CBAA-B94C-4C02-BB0C-07E1D449B9F2}"/>
          </ac:spMkLst>
        </pc:spChg>
        <pc:grpChg chg="add mod">
          <ac:chgData name="Daniele, L.M. (Laura)" userId="fd7970a2-7a0c-4b70-8263-dcc64c0076cf" providerId="ADAL" clId="{D1C0CC20-3149-44C4-9704-52734E555518}" dt="2020-06-17T18:28:18.807" v="1737" actId="164"/>
          <ac:grpSpMkLst>
            <pc:docMk/>
            <pc:sldMk cId="1689786166" sldId="370"/>
            <ac:grpSpMk id="13" creationId="{507EA53D-B021-4EBF-A326-BDB421BC6340}"/>
          </ac:grpSpMkLst>
        </pc:grpChg>
        <pc:picChg chg="add mod">
          <ac:chgData name="Daniele, L.M. (Laura)" userId="fd7970a2-7a0c-4b70-8263-dcc64c0076cf" providerId="ADAL" clId="{D1C0CC20-3149-44C4-9704-52734E555518}" dt="2020-06-17T18:28:18.807" v="1737" actId="164"/>
          <ac:picMkLst>
            <pc:docMk/>
            <pc:sldMk cId="1689786166" sldId="370"/>
            <ac:picMk id="5" creationId="{60B1D6C1-983C-48C8-9ECB-9916458ED86C}"/>
          </ac:picMkLst>
        </pc:picChg>
        <pc:picChg chg="mod">
          <ac:chgData name="Daniele, L.M. (Laura)" userId="fd7970a2-7a0c-4b70-8263-dcc64c0076cf" providerId="ADAL" clId="{D1C0CC20-3149-44C4-9704-52734E555518}" dt="2020-06-17T18:28:18.807" v="1737" actId="164"/>
          <ac:picMkLst>
            <pc:docMk/>
            <pc:sldMk cId="1689786166" sldId="370"/>
            <ac:picMk id="7" creationId="{4E8FA422-73A2-416C-A55C-A71CEEA573B3}"/>
          </ac:picMkLst>
        </pc:picChg>
        <pc:picChg chg="add mod">
          <ac:chgData name="Daniele, L.M. (Laura)" userId="fd7970a2-7a0c-4b70-8263-dcc64c0076cf" providerId="ADAL" clId="{D1C0CC20-3149-44C4-9704-52734E555518}" dt="2020-06-17T18:28:18.807" v="1737" actId="164"/>
          <ac:picMkLst>
            <pc:docMk/>
            <pc:sldMk cId="1689786166" sldId="370"/>
            <ac:picMk id="8" creationId="{970D1A84-AEE8-46E8-8EE8-39F6C8A13281}"/>
          </ac:picMkLst>
        </pc:picChg>
        <pc:picChg chg="add mod">
          <ac:chgData name="Daniele, L.M. (Laura)" userId="fd7970a2-7a0c-4b70-8263-dcc64c0076cf" providerId="ADAL" clId="{D1C0CC20-3149-44C4-9704-52734E555518}" dt="2020-06-17T18:28:18.807" v="1737" actId="164"/>
          <ac:picMkLst>
            <pc:docMk/>
            <pc:sldMk cId="1689786166" sldId="370"/>
            <ac:picMk id="11" creationId="{73DAFC0E-AC33-4A90-B387-56F68831C9F5}"/>
          </ac:picMkLst>
        </pc:picChg>
      </pc:sldChg>
      <pc:sldChg chg="modSp">
        <pc:chgData name="Daniele, L.M. (Laura)" userId="fd7970a2-7a0c-4b70-8263-dcc64c0076cf" providerId="ADAL" clId="{D1C0CC20-3149-44C4-9704-52734E555518}" dt="2020-06-17T17:45:11.819" v="952" actId="1076"/>
        <pc:sldMkLst>
          <pc:docMk/>
          <pc:sldMk cId="4079506863" sldId="393"/>
        </pc:sldMkLst>
        <pc:spChg chg="mod">
          <ac:chgData name="Daniele, L.M. (Laura)" userId="fd7970a2-7a0c-4b70-8263-dcc64c0076cf" providerId="ADAL" clId="{D1C0CC20-3149-44C4-9704-52734E555518}" dt="2020-06-17T17:45:08.474" v="951" actId="1076"/>
          <ac:spMkLst>
            <pc:docMk/>
            <pc:sldMk cId="4079506863" sldId="393"/>
            <ac:spMk id="3" creationId="{22F8A877-A610-4BB3-80EC-87673FD3FD08}"/>
          </ac:spMkLst>
        </pc:spChg>
        <pc:spChg chg="mod">
          <ac:chgData name="Daniele, L.M. (Laura)" userId="fd7970a2-7a0c-4b70-8263-dcc64c0076cf" providerId="ADAL" clId="{D1C0CC20-3149-44C4-9704-52734E555518}" dt="2020-06-17T17:45:11.819" v="952" actId="1076"/>
          <ac:spMkLst>
            <pc:docMk/>
            <pc:sldMk cId="4079506863" sldId="393"/>
            <ac:spMk id="7" creationId="{0300DFF7-5485-41F9-B48C-0AE2C7DCFA3E}"/>
          </ac:spMkLst>
        </pc:spChg>
      </pc:sldChg>
      <pc:sldChg chg="modSp">
        <pc:chgData name="Daniele, L.M. (Laura)" userId="fd7970a2-7a0c-4b70-8263-dcc64c0076cf" providerId="ADAL" clId="{D1C0CC20-3149-44C4-9704-52734E555518}" dt="2020-06-17T17:44:45.614" v="950" actId="20577"/>
        <pc:sldMkLst>
          <pc:docMk/>
          <pc:sldMk cId="1712215888" sldId="395"/>
        </pc:sldMkLst>
        <pc:spChg chg="mod">
          <ac:chgData name="Daniele, L.M. (Laura)" userId="fd7970a2-7a0c-4b70-8263-dcc64c0076cf" providerId="ADAL" clId="{D1C0CC20-3149-44C4-9704-52734E555518}" dt="2020-06-17T17:44:45.614" v="950" actId="20577"/>
          <ac:spMkLst>
            <pc:docMk/>
            <pc:sldMk cId="1712215888" sldId="395"/>
            <ac:spMk id="4" creationId="{00000000-0000-0000-0000-000000000000}"/>
          </ac:spMkLst>
        </pc:spChg>
      </pc:sldChg>
      <pc:sldChg chg="modSp">
        <pc:chgData name="Daniele, L.M. (Laura)" userId="fd7970a2-7a0c-4b70-8263-dcc64c0076cf" providerId="ADAL" clId="{D1C0CC20-3149-44C4-9704-52734E555518}" dt="2020-06-17T17:28:18.442" v="888" actId="404"/>
        <pc:sldMkLst>
          <pc:docMk/>
          <pc:sldMk cId="1015997824" sldId="404"/>
        </pc:sldMkLst>
        <pc:spChg chg="mod">
          <ac:chgData name="Daniele, L.M. (Laura)" userId="fd7970a2-7a0c-4b70-8263-dcc64c0076cf" providerId="ADAL" clId="{D1C0CC20-3149-44C4-9704-52734E555518}" dt="2020-06-17T17:28:18.442" v="888" actId="404"/>
          <ac:spMkLst>
            <pc:docMk/>
            <pc:sldMk cId="1015997824" sldId="404"/>
            <ac:spMk id="13" creationId="{9EACCAAF-A362-4FD6-B7A5-9810360DC6A0}"/>
          </ac:spMkLst>
        </pc:spChg>
      </pc:sldChg>
      <pc:sldChg chg="modSp">
        <pc:chgData name="Daniele, L.M. (Laura)" userId="fd7970a2-7a0c-4b70-8263-dcc64c0076cf" providerId="ADAL" clId="{D1C0CC20-3149-44C4-9704-52734E555518}" dt="2020-06-18T07:01:40.499" v="2363" actId="20577"/>
        <pc:sldMkLst>
          <pc:docMk/>
          <pc:sldMk cId="1563841559" sldId="405"/>
        </pc:sldMkLst>
        <pc:spChg chg="mod">
          <ac:chgData name="Daniele, L.M. (Laura)" userId="fd7970a2-7a0c-4b70-8263-dcc64c0076cf" providerId="ADAL" clId="{D1C0CC20-3149-44C4-9704-52734E555518}" dt="2020-06-17T18:16:09.554" v="1393" actId="20577"/>
          <ac:spMkLst>
            <pc:docMk/>
            <pc:sldMk cId="1563841559" sldId="405"/>
            <ac:spMk id="5" creationId="{00000000-0000-0000-0000-000000000000}"/>
          </ac:spMkLst>
        </pc:spChg>
        <pc:spChg chg="mod">
          <ac:chgData name="Daniele, L.M. (Laura)" userId="fd7970a2-7a0c-4b70-8263-dcc64c0076cf" providerId="ADAL" clId="{D1C0CC20-3149-44C4-9704-52734E555518}" dt="2020-06-18T07:01:40.499" v="2363" actId="20577"/>
          <ac:spMkLst>
            <pc:docMk/>
            <pc:sldMk cId="1563841559" sldId="405"/>
            <ac:spMk id="6" creationId="{00000000-0000-0000-0000-000000000000}"/>
          </ac:spMkLst>
        </pc:spChg>
      </pc:sldChg>
      <pc:sldChg chg="modSp">
        <pc:chgData name="Daniele, L.M. (Laura)" userId="fd7970a2-7a0c-4b70-8263-dcc64c0076cf" providerId="ADAL" clId="{D1C0CC20-3149-44C4-9704-52734E555518}" dt="2020-06-17T17:45:27.819" v="953" actId="1076"/>
        <pc:sldMkLst>
          <pc:docMk/>
          <pc:sldMk cId="2195283639" sldId="407"/>
        </pc:sldMkLst>
        <pc:spChg chg="mod">
          <ac:chgData name="Daniele, L.M. (Laura)" userId="fd7970a2-7a0c-4b70-8263-dcc64c0076cf" providerId="ADAL" clId="{D1C0CC20-3149-44C4-9704-52734E555518}" dt="2020-06-17T17:45:27.819" v="953" actId="1076"/>
          <ac:spMkLst>
            <pc:docMk/>
            <pc:sldMk cId="2195283639" sldId="407"/>
            <ac:spMk id="3" creationId="{22F8A877-A610-4BB3-80EC-87673FD3FD08}"/>
          </ac:spMkLst>
        </pc:spChg>
      </pc:sldChg>
      <pc:sldChg chg="addSp modSp">
        <pc:chgData name="Daniele, L.M. (Laura)" userId="fd7970a2-7a0c-4b70-8263-dcc64c0076cf" providerId="ADAL" clId="{D1C0CC20-3149-44C4-9704-52734E555518}" dt="2020-06-17T18:34:33.153" v="1833" actId="1076"/>
        <pc:sldMkLst>
          <pc:docMk/>
          <pc:sldMk cId="2236319315" sldId="408"/>
        </pc:sldMkLst>
        <pc:picChg chg="add">
          <ac:chgData name="Daniele, L.M. (Laura)" userId="fd7970a2-7a0c-4b70-8263-dcc64c0076cf" providerId="ADAL" clId="{D1C0CC20-3149-44C4-9704-52734E555518}" dt="2020-06-17T18:11:02.832" v="1323"/>
          <ac:picMkLst>
            <pc:docMk/>
            <pc:sldMk cId="2236319315" sldId="408"/>
            <ac:picMk id="5" creationId="{0B9391D8-637D-425A-A5AB-34FA8C52F07A}"/>
          </ac:picMkLst>
        </pc:picChg>
        <pc:picChg chg="mod ord">
          <ac:chgData name="Daniele, L.M. (Laura)" userId="fd7970a2-7a0c-4b70-8263-dcc64c0076cf" providerId="ADAL" clId="{D1C0CC20-3149-44C4-9704-52734E555518}" dt="2020-06-17T18:34:33.153" v="1833" actId="1076"/>
          <ac:picMkLst>
            <pc:docMk/>
            <pc:sldMk cId="2236319315" sldId="408"/>
            <ac:picMk id="3074" creationId="{182B3CC9-7E0C-453E-9D52-1CF44B822A6D}"/>
          </ac:picMkLst>
        </pc:picChg>
      </pc:sldChg>
      <pc:sldChg chg="addSp modSp">
        <pc:chgData name="Daniele, L.M. (Laura)" userId="fd7970a2-7a0c-4b70-8263-dcc64c0076cf" providerId="ADAL" clId="{D1C0CC20-3149-44C4-9704-52734E555518}" dt="2020-06-17T18:34:39.152" v="1835" actId="1076"/>
        <pc:sldMkLst>
          <pc:docMk/>
          <pc:sldMk cId="3706392477" sldId="409"/>
        </pc:sldMkLst>
        <pc:picChg chg="add">
          <ac:chgData name="Daniele, L.M. (Laura)" userId="fd7970a2-7a0c-4b70-8263-dcc64c0076cf" providerId="ADAL" clId="{D1C0CC20-3149-44C4-9704-52734E555518}" dt="2020-06-17T18:10:47.923" v="1319"/>
          <ac:picMkLst>
            <pc:docMk/>
            <pc:sldMk cId="3706392477" sldId="409"/>
            <ac:picMk id="5" creationId="{64FCBC55-DEA8-4DE6-9D47-80E1A8967A7D}"/>
          </ac:picMkLst>
        </pc:picChg>
        <pc:picChg chg="mod">
          <ac:chgData name="Daniele, L.M. (Laura)" userId="fd7970a2-7a0c-4b70-8263-dcc64c0076cf" providerId="ADAL" clId="{D1C0CC20-3149-44C4-9704-52734E555518}" dt="2020-06-17T18:34:39.152" v="1835" actId="1076"/>
          <ac:picMkLst>
            <pc:docMk/>
            <pc:sldMk cId="3706392477" sldId="409"/>
            <ac:picMk id="4098" creationId="{858889AC-629C-4BE3-BC3C-1A642BBE07BD}"/>
          </ac:picMkLst>
        </pc:picChg>
      </pc:sldChg>
      <pc:sldChg chg="modSp">
        <pc:chgData name="Daniele, L.M. (Laura)" userId="fd7970a2-7a0c-4b70-8263-dcc64c0076cf" providerId="ADAL" clId="{D1C0CC20-3149-44C4-9704-52734E555518}" dt="2020-06-17T18:00:49.610" v="1152" actId="113"/>
        <pc:sldMkLst>
          <pc:docMk/>
          <pc:sldMk cId="217146335" sldId="423"/>
        </pc:sldMkLst>
        <pc:spChg chg="mod">
          <ac:chgData name="Daniele, L.M. (Laura)" userId="fd7970a2-7a0c-4b70-8263-dcc64c0076cf" providerId="ADAL" clId="{D1C0CC20-3149-44C4-9704-52734E555518}" dt="2020-06-17T18:00:49.610" v="1152" actId="113"/>
          <ac:spMkLst>
            <pc:docMk/>
            <pc:sldMk cId="217146335" sldId="423"/>
            <ac:spMk id="3" creationId="{70D40F4B-D3E4-4EDC-9626-C64976F80FA6}"/>
          </ac:spMkLst>
        </pc:spChg>
      </pc:sldChg>
      <pc:sldChg chg="addSp">
        <pc:chgData name="Daniele, L.M. (Laura)" userId="fd7970a2-7a0c-4b70-8263-dcc64c0076cf" providerId="ADAL" clId="{D1C0CC20-3149-44C4-9704-52734E555518}" dt="2020-06-17T17:27:30.659" v="886"/>
        <pc:sldMkLst>
          <pc:docMk/>
          <pc:sldMk cId="3014947721" sldId="424"/>
        </pc:sldMkLst>
        <pc:picChg chg="add">
          <ac:chgData name="Daniele, L.M. (Laura)" userId="fd7970a2-7a0c-4b70-8263-dcc64c0076cf" providerId="ADAL" clId="{D1C0CC20-3149-44C4-9704-52734E555518}" dt="2020-06-17T17:27:30.659" v="886"/>
          <ac:picMkLst>
            <pc:docMk/>
            <pc:sldMk cId="3014947721" sldId="424"/>
            <ac:picMk id="10" creationId="{5400136E-CBC0-453E-8258-BA518A16EF15}"/>
          </ac:picMkLst>
        </pc:picChg>
      </pc:sldChg>
      <pc:sldChg chg="addSp modSp">
        <pc:chgData name="Daniele, L.M. (Laura)" userId="fd7970a2-7a0c-4b70-8263-dcc64c0076cf" providerId="ADAL" clId="{D1C0CC20-3149-44C4-9704-52734E555518}" dt="2020-06-18T07:08:40.615" v="2961" actId="20577"/>
        <pc:sldMkLst>
          <pc:docMk/>
          <pc:sldMk cId="1831050166" sldId="427"/>
        </pc:sldMkLst>
        <pc:spChg chg="mod">
          <ac:chgData name="Daniele, L.M. (Laura)" userId="fd7970a2-7a0c-4b70-8263-dcc64c0076cf" providerId="ADAL" clId="{D1C0CC20-3149-44C4-9704-52734E555518}" dt="2020-06-18T07:02:07.117" v="2366" actId="20577"/>
          <ac:spMkLst>
            <pc:docMk/>
            <pc:sldMk cId="1831050166" sldId="427"/>
            <ac:spMk id="2" creationId="{2652D591-41B3-4B01-8620-AEC22E39297C}"/>
          </ac:spMkLst>
        </pc:spChg>
        <pc:spChg chg="mod">
          <ac:chgData name="Daniele, L.M. (Laura)" userId="fd7970a2-7a0c-4b70-8263-dcc64c0076cf" providerId="ADAL" clId="{D1C0CC20-3149-44C4-9704-52734E555518}" dt="2020-06-18T07:08:40.615" v="2961" actId="20577"/>
          <ac:spMkLst>
            <pc:docMk/>
            <pc:sldMk cId="1831050166" sldId="427"/>
            <ac:spMk id="3" creationId="{607B5DE4-0B72-4020-A9A9-47355718224D}"/>
          </ac:spMkLst>
        </pc:spChg>
        <pc:picChg chg="add">
          <ac:chgData name="Daniele, L.M. (Laura)" userId="fd7970a2-7a0c-4b70-8263-dcc64c0076cf" providerId="ADAL" clId="{D1C0CC20-3149-44C4-9704-52734E555518}" dt="2020-06-17T18:10:14.878" v="1311"/>
          <ac:picMkLst>
            <pc:docMk/>
            <pc:sldMk cId="1831050166" sldId="427"/>
            <ac:picMk id="5" creationId="{9CBD8CA2-2E34-47CE-9C88-B0D6421FF1B6}"/>
          </ac:picMkLst>
        </pc:picChg>
      </pc:sldChg>
      <pc:sldChg chg="modSp">
        <pc:chgData name="Daniele, L.M. (Laura)" userId="fd7970a2-7a0c-4b70-8263-dcc64c0076cf" providerId="ADAL" clId="{D1C0CC20-3149-44C4-9704-52734E555518}" dt="2020-06-17T17:28:43.288" v="891" actId="1076"/>
        <pc:sldMkLst>
          <pc:docMk/>
          <pc:sldMk cId="2265129064" sldId="428"/>
        </pc:sldMkLst>
        <pc:spChg chg="mod">
          <ac:chgData name="Daniele, L.M. (Laura)" userId="fd7970a2-7a0c-4b70-8263-dcc64c0076cf" providerId="ADAL" clId="{D1C0CC20-3149-44C4-9704-52734E555518}" dt="2020-06-17T17:28:43.288" v="891" actId="1076"/>
          <ac:spMkLst>
            <pc:docMk/>
            <pc:sldMk cId="2265129064" sldId="428"/>
            <ac:spMk id="13" creationId="{04081B20-2344-4670-8F9A-0CC5A580B25B}"/>
          </ac:spMkLst>
        </pc:spChg>
        <pc:picChg chg="mod">
          <ac:chgData name="Daniele, L.M. (Laura)" userId="fd7970a2-7a0c-4b70-8263-dcc64c0076cf" providerId="ADAL" clId="{D1C0CC20-3149-44C4-9704-52734E555518}" dt="2020-06-17T17:28:33.094" v="890" actId="1076"/>
          <ac:picMkLst>
            <pc:docMk/>
            <pc:sldMk cId="2265129064" sldId="428"/>
            <ac:picMk id="10" creationId="{0A9A0E92-2391-41EB-ABFC-409150121398}"/>
          </ac:picMkLst>
        </pc:picChg>
      </pc:sldChg>
      <pc:sldChg chg="modSp">
        <pc:chgData name="Daniele, L.M. (Laura)" userId="fd7970a2-7a0c-4b70-8263-dcc64c0076cf" providerId="ADAL" clId="{D1C0CC20-3149-44C4-9704-52734E555518}" dt="2020-06-17T17:59:40.705" v="1151" actId="113"/>
        <pc:sldMkLst>
          <pc:docMk/>
          <pc:sldMk cId="3290959556" sldId="439"/>
        </pc:sldMkLst>
        <pc:spChg chg="mod">
          <ac:chgData name="Daniele, L.M. (Laura)" userId="fd7970a2-7a0c-4b70-8263-dcc64c0076cf" providerId="ADAL" clId="{D1C0CC20-3149-44C4-9704-52734E555518}" dt="2020-06-17T17:56:40.855" v="1066" actId="20577"/>
          <ac:spMkLst>
            <pc:docMk/>
            <pc:sldMk cId="3290959556" sldId="439"/>
            <ac:spMk id="5" creationId="{00000000-0000-0000-0000-000000000000}"/>
          </ac:spMkLst>
        </pc:spChg>
        <pc:spChg chg="mod">
          <ac:chgData name="Daniele, L.M. (Laura)" userId="fd7970a2-7a0c-4b70-8263-dcc64c0076cf" providerId="ADAL" clId="{D1C0CC20-3149-44C4-9704-52734E555518}" dt="2020-06-17T17:59:04.758" v="1147" actId="113"/>
          <ac:spMkLst>
            <pc:docMk/>
            <pc:sldMk cId="3290959556" sldId="439"/>
            <ac:spMk id="6" creationId="{00000000-0000-0000-0000-000000000000}"/>
          </ac:spMkLst>
        </pc:spChg>
        <pc:spChg chg="mod">
          <ac:chgData name="Daniele, L.M. (Laura)" userId="fd7970a2-7a0c-4b70-8263-dcc64c0076cf" providerId="ADAL" clId="{D1C0CC20-3149-44C4-9704-52734E555518}" dt="2020-06-17T17:59:40.705" v="1151" actId="113"/>
          <ac:spMkLst>
            <pc:docMk/>
            <pc:sldMk cId="3290959556" sldId="439"/>
            <ac:spMk id="20" creationId="{0F7A190F-8A66-4243-AE4D-452AA8103EA1}"/>
          </ac:spMkLst>
        </pc:spChg>
      </pc:sldChg>
      <pc:sldChg chg="addSp modSp add">
        <pc:chgData name="Daniele, L.M. (Laura)" userId="fd7970a2-7a0c-4b70-8263-dcc64c0076cf" providerId="ADAL" clId="{D1C0CC20-3149-44C4-9704-52734E555518}" dt="2020-06-18T07:09:09.988" v="2989" actId="20577"/>
        <pc:sldMkLst>
          <pc:docMk/>
          <pc:sldMk cId="274570472" sldId="440"/>
        </pc:sldMkLst>
        <pc:spChg chg="mod">
          <ac:chgData name="Daniele, L.M. (Laura)" userId="fd7970a2-7a0c-4b70-8263-dcc64c0076cf" providerId="ADAL" clId="{D1C0CC20-3149-44C4-9704-52734E555518}" dt="2020-06-18T07:02:11.773" v="2368" actId="20577"/>
          <ac:spMkLst>
            <pc:docMk/>
            <pc:sldMk cId="274570472" sldId="440"/>
            <ac:spMk id="2" creationId="{2652D591-41B3-4B01-8620-AEC22E39297C}"/>
          </ac:spMkLst>
        </pc:spChg>
        <pc:spChg chg="mod">
          <ac:chgData name="Daniele, L.M. (Laura)" userId="fd7970a2-7a0c-4b70-8263-dcc64c0076cf" providerId="ADAL" clId="{D1C0CC20-3149-44C4-9704-52734E555518}" dt="2020-06-18T07:09:09.988" v="2989" actId="20577"/>
          <ac:spMkLst>
            <pc:docMk/>
            <pc:sldMk cId="274570472" sldId="440"/>
            <ac:spMk id="3" creationId="{607B5DE4-0B72-4020-A9A9-47355718224D}"/>
          </ac:spMkLst>
        </pc:spChg>
        <pc:picChg chg="add">
          <ac:chgData name="Daniele, L.M. (Laura)" userId="fd7970a2-7a0c-4b70-8263-dcc64c0076cf" providerId="ADAL" clId="{D1C0CC20-3149-44C4-9704-52734E555518}" dt="2020-06-17T18:10:17.815" v="1312"/>
          <ac:picMkLst>
            <pc:docMk/>
            <pc:sldMk cId="274570472" sldId="440"/>
            <ac:picMk id="5" creationId="{1C645FEB-B97D-4AB3-9577-787D9E6DBE8B}"/>
          </ac:picMkLst>
        </pc:picChg>
      </pc:sldChg>
      <pc:sldChg chg="modSp add ord">
        <pc:chgData name="Daniele, L.M. (Laura)" userId="fd7970a2-7a0c-4b70-8263-dcc64c0076cf" providerId="ADAL" clId="{D1C0CC20-3149-44C4-9704-52734E555518}" dt="2020-06-17T18:16:04.914" v="1391" actId="20577"/>
        <pc:sldMkLst>
          <pc:docMk/>
          <pc:sldMk cId="3410276086" sldId="441"/>
        </pc:sldMkLst>
        <pc:spChg chg="mod">
          <ac:chgData name="Daniele, L.M. (Laura)" userId="fd7970a2-7a0c-4b70-8263-dcc64c0076cf" providerId="ADAL" clId="{D1C0CC20-3149-44C4-9704-52734E555518}" dt="2020-06-17T18:16:04.914" v="1391" actId="20577"/>
          <ac:spMkLst>
            <pc:docMk/>
            <pc:sldMk cId="3410276086" sldId="441"/>
            <ac:spMk id="5" creationId="{00000000-0000-0000-0000-000000000000}"/>
          </ac:spMkLst>
        </pc:spChg>
        <pc:spChg chg="mod">
          <ac:chgData name="Daniele, L.M. (Laura)" userId="fd7970a2-7a0c-4b70-8263-dcc64c0076cf" providerId="ADAL" clId="{D1C0CC20-3149-44C4-9704-52734E555518}" dt="2020-06-17T18:15:54.821" v="1388"/>
          <ac:spMkLst>
            <pc:docMk/>
            <pc:sldMk cId="3410276086" sldId="441"/>
            <ac:spMk id="6" creationId="{00000000-0000-0000-0000-000000000000}"/>
          </ac:spMkLst>
        </pc:spChg>
      </pc:sldChg>
      <pc:sldChg chg="modSp add">
        <pc:chgData name="Daniele, L.M. (Laura)" userId="fd7970a2-7a0c-4b70-8263-dcc64c0076cf" providerId="ADAL" clId="{D1C0CC20-3149-44C4-9704-52734E555518}" dt="2020-06-18T07:06:59.290" v="2929" actId="20577"/>
        <pc:sldMkLst>
          <pc:docMk/>
          <pc:sldMk cId="1191628387" sldId="442"/>
        </pc:sldMkLst>
        <pc:spChg chg="mod">
          <ac:chgData name="Daniele, L.M. (Laura)" userId="fd7970a2-7a0c-4b70-8263-dcc64c0076cf" providerId="ADAL" clId="{D1C0CC20-3149-44C4-9704-52734E555518}" dt="2020-06-18T07:02:17.842" v="2372" actId="20577"/>
          <ac:spMkLst>
            <pc:docMk/>
            <pc:sldMk cId="1191628387" sldId="442"/>
            <ac:spMk id="2" creationId="{2652D591-41B3-4B01-8620-AEC22E39297C}"/>
          </ac:spMkLst>
        </pc:spChg>
        <pc:spChg chg="mod">
          <ac:chgData name="Daniele, L.M. (Laura)" userId="fd7970a2-7a0c-4b70-8263-dcc64c0076cf" providerId="ADAL" clId="{D1C0CC20-3149-44C4-9704-52734E555518}" dt="2020-06-18T07:06:59.290" v="2929" actId="20577"/>
          <ac:spMkLst>
            <pc:docMk/>
            <pc:sldMk cId="1191628387" sldId="442"/>
            <ac:spMk id="3" creationId="{607B5DE4-0B72-4020-A9A9-47355718224D}"/>
          </ac:spMkLst>
        </pc:spChg>
      </pc:sldChg>
    </pc:docChg>
  </pc:docChgLst>
  <pc:docChgLst>
    <pc:chgData name="Daniele, L.M. (Laura)" userId="fd7970a2-7a0c-4b70-8263-dcc64c0076cf" providerId="ADAL" clId="{2E30AC29-01AD-49FF-A187-E210449B43FC}"/>
    <pc:docChg chg="undo redo custSel mod addSld delSld modSld sldOrd">
      <pc:chgData name="Daniele, L.M. (Laura)" userId="fd7970a2-7a0c-4b70-8263-dcc64c0076cf" providerId="ADAL" clId="{2E30AC29-01AD-49FF-A187-E210449B43FC}" dt="2020-06-24T12:40:00.380" v="4718" actId="948"/>
      <pc:docMkLst>
        <pc:docMk/>
      </pc:docMkLst>
      <pc:sldChg chg="del ord">
        <pc:chgData name="Daniele, L.M. (Laura)" userId="fd7970a2-7a0c-4b70-8263-dcc64c0076cf" providerId="ADAL" clId="{2E30AC29-01AD-49FF-A187-E210449B43FC}" dt="2020-06-24T09:33:51.346" v="1073" actId="2696"/>
        <pc:sldMkLst>
          <pc:docMk/>
          <pc:sldMk cId="0" sldId="261"/>
        </pc:sldMkLst>
      </pc:sldChg>
      <pc:sldChg chg="del ord">
        <pc:chgData name="Daniele, L.M. (Laura)" userId="fd7970a2-7a0c-4b70-8263-dcc64c0076cf" providerId="ADAL" clId="{2E30AC29-01AD-49FF-A187-E210449B43FC}" dt="2020-06-24T09:35:45.690" v="1081" actId="2696"/>
        <pc:sldMkLst>
          <pc:docMk/>
          <pc:sldMk cId="0" sldId="262"/>
        </pc:sldMkLst>
      </pc:sldChg>
      <pc:sldChg chg="del ord">
        <pc:chgData name="Daniele, L.M. (Laura)" userId="fd7970a2-7a0c-4b70-8263-dcc64c0076cf" providerId="ADAL" clId="{2E30AC29-01AD-49FF-A187-E210449B43FC}" dt="2020-06-24T09:36:58.818" v="1083" actId="2696"/>
        <pc:sldMkLst>
          <pc:docMk/>
          <pc:sldMk cId="0" sldId="263"/>
        </pc:sldMkLst>
      </pc:sldChg>
      <pc:sldChg chg="del ord">
        <pc:chgData name="Daniele, L.M. (Laura)" userId="fd7970a2-7a0c-4b70-8263-dcc64c0076cf" providerId="ADAL" clId="{2E30AC29-01AD-49FF-A187-E210449B43FC}" dt="2020-06-24T09:39:31.387" v="1090" actId="2696"/>
        <pc:sldMkLst>
          <pc:docMk/>
          <pc:sldMk cId="0" sldId="264"/>
        </pc:sldMkLst>
      </pc:sldChg>
      <pc:sldChg chg="del ord">
        <pc:chgData name="Daniele, L.M. (Laura)" userId="fd7970a2-7a0c-4b70-8263-dcc64c0076cf" providerId="ADAL" clId="{2E30AC29-01AD-49FF-A187-E210449B43FC}" dt="2020-06-24T09:43:47.240" v="1093" actId="2696"/>
        <pc:sldMkLst>
          <pc:docMk/>
          <pc:sldMk cId="0" sldId="265"/>
        </pc:sldMkLst>
      </pc:sldChg>
      <pc:sldChg chg="del">
        <pc:chgData name="Daniele, L.M. (Laura)" userId="fd7970a2-7a0c-4b70-8263-dcc64c0076cf" providerId="ADAL" clId="{2E30AC29-01AD-49FF-A187-E210449B43FC}" dt="2020-06-24T09:44:46.545" v="1094" actId="2696"/>
        <pc:sldMkLst>
          <pc:docMk/>
          <pc:sldMk cId="0" sldId="266"/>
        </pc:sldMkLst>
      </pc:sldChg>
      <pc:sldChg chg="del">
        <pc:chgData name="Daniele, L.M. (Laura)" userId="fd7970a2-7a0c-4b70-8263-dcc64c0076cf" providerId="ADAL" clId="{2E30AC29-01AD-49FF-A187-E210449B43FC}" dt="2020-06-24T09:26:35.787" v="1037" actId="2696"/>
        <pc:sldMkLst>
          <pc:docMk/>
          <pc:sldMk cId="3541085435" sldId="267"/>
        </pc:sldMkLst>
      </pc:sldChg>
      <pc:sldChg chg="del">
        <pc:chgData name="Daniele, L.M. (Laura)" userId="fd7970a2-7a0c-4b70-8263-dcc64c0076cf" providerId="ADAL" clId="{2E30AC29-01AD-49FF-A187-E210449B43FC}" dt="2020-06-22T13:18:41.614" v="1" actId="2696"/>
        <pc:sldMkLst>
          <pc:docMk/>
          <pc:sldMk cId="1171484704" sldId="303"/>
        </pc:sldMkLst>
      </pc:sldChg>
      <pc:sldChg chg="addSp delSp modSp add">
        <pc:chgData name="Daniele, L.M. (Laura)" userId="fd7970a2-7a0c-4b70-8263-dcc64c0076cf" providerId="ADAL" clId="{2E30AC29-01AD-49FF-A187-E210449B43FC}" dt="2020-06-24T12:27:23.779" v="4605"/>
        <pc:sldMkLst>
          <pc:docMk/>
          <pc:sldMk cId="56162360" sldId="307"/>
        </pc:sldMkLst>
        <pc:spChg chg="add del mod">
          <ac:chgData name="Daniele, L.M. (Laura)" userId="fd7970a2-7a0c-4b70-8263-dcc64c0076cf" providerId="ADAL" clId="{2E30AC29-01AD-49FF-A187-E210449B43FC}" dt="2020-06-24T12:27:23.779" v="4605"/>
          <ac:spMkLst>
            <pc:docMk/>
            <pc:sldMk cId="56162360" sldId="307"/>
            <ac:spMk id="4" creationId="{00000000-0000-0000-0000-000000000000}"/>
          </ac:spMkLst>
        </pc:spChg>
        <pc:picChg chg="add">
          <ac:chgData name="Daniele, L.M. (Laura)" userId="fd7970a2-7a0c-4b70-8263-dcc64c0076cf" providerId="ADAL" clId="{2E30AC29-01AD-49FF-A187-E210449B43FC}" dt="2020-06-24T11:42:44.688" v="4085"/>
          <ac:picMkLst>
            <pc:docMk/>
            <pc:sldMk cId="56162360" sldId="307"/>
            <ac:picMk id="57" creationId="{7AA11853-A18C-4D0F-9B66-4B9DBB619495}"/>
          </ac:picMkLst>
        </pc:picChg>
        <pc:picChg chg="add">
          <ac:chgData name="Daniele, L.M. (Laura)" userId="fd7970a2-7a0c-4b70-8263-dcc64c0076cf" providerId="ADAL" clId="{2E30AC29-01AD-49FF-A187-E210449B43FC}" dt="2020-06-24T11:43:11.634" v="4090"/>
          <ac:picMkLst>
            <pc:docMk/>
            <pc:sldMk cId="56162360" sldId="307"/>
            <ac:picMk id="60" creationId="{885C5DD2-CBE9-45F0-8498-6DA63F4C42E8}"/>
          </ac:picMkLst>
        </pc:picChg>
      </pc:sldChg>
      <pc:sldChg chg="addSp delSp modSp add">
        <pc:chgData name="Daniele, L.M. (Laura)" userId="fd7970a2-7a0c-4b70-8263-dcc64c0076cf" providerId="ADAL" clId="{2E30AC29-01AD-49FF-A187-E210449B43FC}" dt="2020-06-24T12:27:16.929" v="4604"/>
        <pc:sldMkLst>
          <pc:docMk/>
          <pc:sldMk cId="2254334774" sldId="308"/>
        </pc:sldMkLst>
        <pc:spChg chg="del">
          <ac:chgData name="Daniele, L.M. (Laura)" userId="fd7970a2-7a0c-4b70-8263-dcc64c0076cf" providerId="ADAL" clId="{2E30AC29-01AD-49FF-A187-E210449B43FC}" dt="2020-06-24T11:41:49.482" v="4061" actId="478"/>
          <ac:spMkLst>
            <pc:docMk/>
            <pc:sldMk cId="2254334774" sldId="308"/>
            <ac:spMk id="4" creationId="{00000000-0000-0000-0000-000000000000}"/>
          </ac:spMkLst>
        </pc:spChg>
        <pc:spChg chg="add mod">
          <ac:chgData name="Daniele, L.M. (Laura)" userId="fd7970a2-7a0c-4b70-8263-dcc64c0076cf" providerId="ADAL" clId="{2E30AC29-01AD-49FF-A187-E210449B43FC}" dt="2020-06-24T12:27:16.929" v="4604"/>
          <ac:spMkLst>
            <pc:docMk/>
            <pc:sldMk cId="2254334774" sldId="308"/>
            <ac:spMk id="106" creationId="{B8DAEEF5-7CDB-49BB-81BE-30A04D7048DD}"/>
          </ac:spMkLst>
        </pc:spChg>
        <pc:picChg chg="add">
          <ac:chgData name="Daniele, L.M. (Laura)" userId="fd7970a2-7a0c-4b70-8263-dcc64c0076cf" providerId="ADAL" clId="{2E30AC29-01AD-49FF-A187-E210449B43FC}" dt="2020-06-24T11:42:48.027" v="4086"/>
          <ac:picMkLst>
            <pc:docMk/>
            <pc:sldMk cId="2254334774" sldId="308"/>
            <ac:picMk id="107" creationId="{F3865AA1-3241-4253-B50E-5700E225CE3C}"/>
          </ac:picMkLst>
        </pc:picChg>
        <pc:picChg chg="add">
          <ac:chgData name="Daniele, L.M. (Laura)" userId="fd7970a2-7a0c-4b70-8263-dcc64c0076cf" providerId="ADAL" clId="{2E30AC29-01AD-49FF-A187-E210449B43FC}" dt="2020-06-24T11:43:14.199" v="4091"/>
          <ac:picMkLst>
            <pc:docMk/>
            <pc:sldMk cId="2254334774" sldId="308"/>
            <ac:picMk id="108" creationId="{23A9DAD8-AE1C-4537-8568-67575FD95BF4}"/>
          </ac:picMkLst>
        </pc:picChg>
      </pc:sldChg>
      <pc:sldChg chg="del">
        <pc:chgData name="Daniele, L.M. (Laura)" userId="fd7970a2-7a0c-4b70-8263-dcc64c0076cf" providerId="ADAL" clId="{2E30AC29-01AD-49FF-A187-E210449B43FC}" dt="2020-06-22T14:30:38.949" v="468" actId="2696"/>
        <pc:sldMkLst>
          <pc:docMk/>
          <pc:sldMk cId="3193627321" sldId="308"/>
        </pc:sldMkLst>
      </pc:sldChg>
      <pc:sldChg chg="addSp delSp modSp add">
        <pc:chgData name="Daniele, L.M. (Laura)" userId="fd7970a2-7a0c-4b70-8263-dcc64c0076cf" providerId="ADAL" clId="{2E30AC29-01AD-49FF-A187-E210449B43FC}" dt="2020-06-24T12:26:48.022" v="4601" actId="20577"/>
        <pc:sldMkLst>
          <pc:docMk/>
          <pc:sldMk cId="1032200011" sldId="309"/>
        </pc:sldMkLst>
        <pc:spChg chg="del">
          <ac:chgData name="Daniele, L.M. (Laura)" userId="fd7970a2-7a0c-4b70-8263-dcc64c0076cf" providerId="ADAL" clId="{2E30AC29-01AD-49FF-A187-E210449B43FC}" dt="2020-06-24T11:42:01.232" v="4065" actId="478"/>
          <ac:spMkLst>
            <pc:docMk/>
            <pc:sldMk cId="1032200011" sldId="309"/>
            <ac:spMk id="4" creationId="{00000000-0000-0000-0000-000000000000}"/>
          </ac:spMkLst>
        </pc:spChg>
        <pc:spChg chg="mod">
          <ac:chgData name="Daniele, L.M. (Laura)" userId="fd7970a2-7a0c-4b70-8263-dcc64c0076cf" providerId="ADAL" clId="{2E30AC29-01AD-49FF-A187-E210449B43FC}" dt="2020-06-24T11:37:40.313" v="3990" actId="20577"/>
          <ac:spMkLst>
            <pc:docMk/>
            <pc:sldMk cId="1032200011" sldId="309"/>
            <ac:spMk id="49" creationId="{00000000-0000-0000-0000-000000000000}"/>
          </ac:spMkLst>
        </pc:spChg>
        <pc:spChg chg="add del">
          <ac:chgData name="Daniele, L.M. (Laura)" userId="fd7970a2-7a0c-4b70-8263-dcc64c0076cf" providerId="ADAL" clId="{2E30AC29-01AD-49FF-A187-E210449B43FC}" dt="2020-06-24T11:41:59.530" v="4064"/>
          <ac:spMkLst>
            <pc:docMk/>
            <pc:sldMk cId="1032200011" sldId="309"/>
            <ac:spMk id="108" creationId="{ED3E4CB0-F3C0-45B1-A597-DC6D81B8EBDB}"/>
          </ac:spMkLst>
        </pc:spChg>
        <pc:spChg chg="add mod">
          <ac:chgData name="Daniele, L.M. (Laura)" userId="fd7970a2-7a0c-4b70-8263-dcc64c0076cf" providerId="ADAL" clId="{2E30AC29-01AD-49FF-A187-E210449B43FC}" dt="2020-06-24T12:26:48.022" v="4601" actId="20577"/>
          <ac:spMkLst>
            <pc:docMk/>
            <pc:sldMk cId="1032200011" sldId="309"/>
            <ac:spMk id="109" creationId="{0CF80BE2-2CA7-4C91-8000-32647C833811}"/>
          </ac:spMkLst>
        </pc:spChg>
        <pc:picChg chg="add">
          <ac:chgData name="Daniele, L.M. (Laura)" userId="fd7970a2-7a0c-4b70-8263-dcc64c0076cf" providerId="ADAL" clId="{2E30AC29-01AD-49FF-A187-E210449B43FC}" dt="2020-06-24T11:42:51.028" v="4087"/>
          <ac:picMkLst>
            <pc:docMk/>
            <pc:sldMk cId="1032200011" sldId="309"/>
            <ac:picMk id="110" creationId="{54A75B0C-AD90-45F8-AE4B-DB0ABDB99321}"/>
          </ac:picMkLst>
        </pc:picChg>
        <pc:picChg chg="add">
          <ac:chgData name="Daniele, L.M. (Laura)" userId="fd7970a2-7a0c-4b70-8263-dcc64c0076cf" providerId="ADAL" clId="{2E30AC29-01AD-49FF-A187-E210449B43FC}" dt="2020-06-24T11:43:16.858" v="4092"/>
          <ac:picMkLst>
            <pc:docMk/>
            <pc:sldMk cId="1032200011" sldId="309"/>
            <ac:picMk id="112" creationId="{E991A480-8C7C-4F92-9889-ACBACA31083D}"/>
          </ac:picMkLst>
        </pc:picChg>
      </pc:sldChg>
      <pc:sldChg chg="addSp delSp modSp add">
        <pc:chgData name="Daniele, L.M. (Laura)" userId="fd7970a2-7a0c-4b70-8263-dcc64c0076cf" providerId="ADAL" clId="{2E30AC29-01AD-49FF-A187-E210449B43FC}" dt="2020-06-24T12:27:02.171" v="4602"/>
        <pc:sldMkLst>
          <pc:docMk/>
          <pc:sldMk cId="3626708755" sldId="310"/>
        </pc:sldMkLst>
        <pc:spChg chg="del">
          <ac:chgData name="Daniele, L.M. (Laura)" userId="fd7970a2-7a0c-4b70-8263-dcc64c0076cf" providerId="ADAL" clId="{2E30AC29-01AD-49FF-A187-E210449B43FC}" dt="2020-06-24T11:42:11.596" v="4067" actId="478"/>
          <ac:spMkLst>
            <pc:docMk/>
            <pc:sldMk cId="3626708755" sldId="310"/>
            <ac:spMk id="4" creationId="{00000000-0000-0000-0000-000000000000}"/>
          </ac:spMkLst>
        </pc:spChg>
        <pc:spChg chg="add mod">
          <ac:chgData name="Daniele, L.M. (Laura)" userId="fd7970a2-7a0c-4b70-8263-dcc64c0076cf" providerId="ADAL" clId="{2E30AC29-01AD-49FF-A187-E210449B43FC}" dt="2020-06-24T12:27:02.171" v="4602"/>
          <ac:spMkLst>
            <pc:docMk/>
            <pc:sldMk cId="3626708755" sldId="310"/>
            <ac:spMk id="70" creationId="{19E323D0-7397-4FA2-9693-F742C72DA415}"/>
          </ac:spMkLst>
        </pc:spChg>
        <pc:picChg chg="add">
          <ac:chgData name="Daniele, L.M. (Laura)" userId="fd7970a2-7a0c-4b70-8263-dcc64c0076cf" providerId="ADAL" clId="{2E30AC29-01AD-49FF-A187-E210449B43FC}" dt="2020-06-24T11:42:53.250" v="4088"/>
          <ac:picMkLst>
            <pc:docMk/>
            <pc:sldMk cId="3626708755" sldId="310"/>
            <ac:picMk id="71" creationId="{3A4072F1-8829-417A-BE88-04D2D967C6BA}"/>
          </ac:picMkLst>
        </pc:picChg>
        <pc:picChg chg="add">
          <ac:chgData name="Daniele, L.M. (Laura)" userId="fd7970a2-7a0c-4b70-8263-dcc64c0076cf" providerId="ADAL" clId="{2E30AC29-01AD-49FF-A187-E210449B43FC}" dt="2020-06-24T11:43:20.151" v="4093"/>
          <ac:picMkLst>
            <pc:docMk/>
            <pc:sldMk cId="3626708755" sldId="310"/>
            <ac:picMk id="72" creationId="{15026F38-3E97-481A-96C9-CB0B3F28798C}"/>
          </ac:picMkLst>
        </pc:picChg>
      </pc:sldChg>
      <pc:sldChg chg="addSp delSp modSp add">
        <pc:chgData name="Daniele, L.M. (Laura)" userId="fd7970a2-7a0c-4b70-8263-dcc64c0076cf" providerId="ADAL" clId="{2E30AC29-01AD-49FF-A187-E210449B43FC}" dt="2020-06-24T12:27:10.020" v="4603"/>
        <pc:sldMkLst>
          <pc:docMk/>
          <pc:sldMk cId="3095986199" sldId="311"/>
        </pc:sldMkLst>
        <pc:spChg chg="del">
          <ac:chgData name="Daniele, L.M. (Laura)" userId="fd7970a2-7a0c-4b70-8263-dcc64c0076cf" providerId="ADAL" clId="{2E30AC29-01AD-49FF-A187-E210449B43FC}" dt="2020-06-24T11:42:15.971" v="4069" actId="478"/>
          <ac:spMkLst>
            <pc:docMk/>
            <pc:sldMk cId="3095986199" sldId="311"/>
            <ac:spMk id="4" creationId="{00000000-0000-0000-0000-000000000000}"/>
          </ac:spMkLst>
        </pc:spChg>
        <pc:spChg chg="add mod">
          <ac:chgData name="Daniele, L.M. (Laura)" userId="fd7970a2-7a0c-4b70-8263-dcc64c0076cf" providerId="ADAL" clId="{2E30AC29-01AD-49FF-A187-E210449B43FC}" dt="2020-06-24T12:27:10.020" v="4603"/>
          <ac:spMkLst>
            <pc:docMk/>
            <pc:sldMk cId="3095986199" sldId="311"/>
            <ac:spMk id="36" creationId="{23579E82-C4F0-49AD-800A-2A34D3F9DD55}"/>
          </ac:spMkLst>
        </pc:spChg>
        <pc:spChg chg="mod">
          <ac:chgData name="Daniele, L.M. (Laura)" userId="fd7970a2-7a0c-4b70-8263-dcc64c0076cf" providerId="ADAL" clId="{2E30AC29-01AD-49FF-A187-E210449B43FC}" dt="2020-06-24T11:38:21.593" v="4002" actId="20577"/>
          <ac:spMkLst>
            <pc:docMk/>
            <pc:sldMk cId="3095986199" sldId="311"/>
            <ac:spMk id="80" creationId="{00000000-0000-0000-0000-000000000000}"/>
          </ac:spMkLst>
        </pc:spChg>
        <pc:spChg chg="mod">
          <ac:chgData name="Daniele, L.M. (Laura)" userId="fd7970a2-7a0c-4b70-8263-dcc64c0076cf" providerId="ADAL" clId="{2E30AC29-01AD-49FF-A187-E210449B43FC}" dt="2020-06-24T11:38:17.339" v="3998" actId="20577"/>
          <ac:spMkLst>
            <pc:docMk/>
            <pc:sldMk cId="3095986199" sldId="311"/>
            <ac:spMk id="81" creationId="{00000000-0000-0000-0000-000000000000}"/>
          </ac:spMkLst>
        </pc:spChg>
        <pc:spChg chg="mod">
          <ac:chgData name="Daniele, L.M. (Laura)" userId="fd7970a2-7a0c-4b70-8263-dcc64c0076cf" providerId="ADAL" clId="{2E30AC29-01AD-49FF-A187-E210449B43FC}" dt="2020-06-24T11:38:11.833" v="3994" actId="20577"/>
          <ac:spMkLst>
            <pc:docMk/>
            <pc:sldMk cId="3095986199" sldId="311"/>
            <ac:spMk id="85" creationId="{00000000-0000-0000-0000-000000000000}"/>
          </ac:spMkLst>
        </pc:spChg>
        <pc:picChg chg="add">
          <ac:chgData name="Daniele, L.M. (Laura)" userId="fd7970a2-7a0c-4b70-8263-dcc64c0076cf" providerId="ADAL" clId="{2E30AC29-01AD-49FF-A187-E210449B43FC}" dt="2020-06-24T11:42:55.648" v="4089"/>
          <ac:picMkLst>
            <pc:docMk/>
            <pc:sldMk cId="3095986199" sldId="311"/>
            <ac:picMk id="37" creationId="{2116E774-F081-4BC0-A900-C40ED85CE28A}"/>
          </ac:picMkLst>
        </pc:picChg>
        <pc:picChg chg="add">
          <ac:chgData name="Daniele, L.M. (Laura)" userId="fd7970a2-7a0c-4b70-8263-dcc64c0076cf" providerId="ADAL" clId="{2E30AC29-01AD-49FF-A187-E210449B43FC}" dt="2020-06-24T11:43:22.578" v="4094"/>
          <ac:picMkLst>
            <pc:docMk/>
            <pc:sldMk cId="3095986199" sldId="311"/>
            <ac:picMk id="38" creationId="{C19D5721-448E-4CF4-A7A3-A8568A1FA7B4}"/>
          </ac:picMkLst>
        </pc:picChg>
      </pc:sldChg>
      <pc:sldChg chg="addSp delSp modSp add del ord">
        <pc:chgData name="Daniele, L.M. (Laura)" userId="fd7970a2-7a0c-4b70-8263-dcc64c0076cf" providerId="ADAL" clId="{2E30AC29-01AD-49FF-A187-E210449B43FC}" dt="2020-06-24T12:28:39.497" v="4638"/>
        <pc:sldMkLst>
          <pc:docMk/>
          <pc:sldMk cId="2140948625" sldId="314"/>
        </pc:sldMkLst>
        <pc:spChg chg="del">
          <ac:chgData name="Daniele, L.M. (Laura)" userId="fd7970a2-7a0c-4b70-8263-dcc64c0076cf" providerId="ADAL" clId="{2E30AC29-01AD-49FF-A187-E210449B43FC}" dt="2020-06-24T11:52:30.085" v="4251" actId="478"/>
          <ac:spMkLst>
            <pc:docMk/>
            <pc:sldMk cId="2140948625" sldId="314"/>
            <ac:spMk id="8" creationId="{00000000-0000-0000-0000-000000000000}"/>
          </ac:spMkLst>
        </pc:spChg>
        <pc:spChg chg="mod">
          <ac:chgData name="Daniele, L.M. (Laura)" userId="fd7970a2-7a0c-4b70-8263-dcc64c0076cf" providerId="ADAL" clId="{2E30AC29-01AD-49FF-A187-E210449B43FC}" dt="2020-06-24T11:48:34.109" v="4152" actId="20577"/>
          <ac:spMkLst>
            <pc:docMk/>
            <pc:sldMk cId="2140948625" sldId="314"/>
            <ac:spMk id="68" creationId="{00000000-0000-0000-0000-000000000000}"/>
          </ac:spMkLst>
        </pc:spChg>
        <pc:spChg chg="mod">
          <ac:chgData name="Daniele, L.M. (Laura)" userId="fd7970a2-7a0c-4b70-8263-dcc64c0076cf" providerId="ADAL" clId="{2E30AC29-01AD-49FF-A187-E210449B43FC}" dt="2020-06-24T11:48:33.448" v="4150" actId="20577"/>
          <ac:spMkLst>
            <pc:docMk/>
            <pc:sldMk cId="2140948625" sldId="314"/>
            <ac:spMk id="79" creationId="{00000000-0000-0000-0000-000000000000}"/>
          </ac:spMkLst>
        </pc:spChg>
        <pc:spChg chg="mod">
          <ac:chgData name="Daniele, L.M. (Laura)" userId="fd7970a2-7a0c-4b70-8263-dcc64c0076cf" providerId="ADAL" clId="{2E30AC29-01AD-49FF-A187-E210449B43FC}" dt="2020-06-24T11:48:32.825" v="4148" actId="20577"/>
          <ac:spMkLst>
            <pc:docMk/>
            <pc:sldMk cId="2140948625" sldId="314"/>
            <ac:spMk id="80" creationId="{00000000-0000-0000-0000-000000000000}"/>
          </ac:spMkLst>
        </pc:spChg>
        <pc:spChg chg="mod">
          <ac:chgData name="Daniele, L.M. (Laura)" userId="fd7970a2-7a0c-4b70-8263-dcc64c0076cf" providerId="ADAL" clId="{2E30AC29-01AD-49FF-A187-E210449B43FC}" dt="2020-06-24T11:48:32.249" v="4146" actId="20577"/>
          <ac:spMkLst>
            <pc:docMk/>
            <pc:sldMk cId="2140948625" sldId="314"/>
            <ac:spMk id="81" creationId="{00000000-0000-0000-0000-000000000000}"/>
          </ac:spMkLst>
        </pc:spChg>
        <pc:spChg chg="mod">
          <ac:chgData name="Daniele, L.M. (Laura)" userId="fd7970a2-7a0c-4b70-8263-dcc64c0076cf" providerId="ADAL" clId="{2E30AC29-01AD-49FF-A187-E210449B43FC}" dt="2020-06-24T11:48:30.869" v="4142" actId="20577"/>
          <ac:spMkLst>
            <pc:docMk/>
            <pc:sldMk cId="2140948625" sldId="314"/>
            <ac:spMk id="82" creationId="{00000000-0000-0000-0000-000000000000}"/>
          </ac:spMkLst>
        </pc:spChg>
        <pc:spChg chg="mod">
          <ac:chgData name="Daniele, L.M. (Laura)" userId="fd7970a2-7a0c-4b70-8263-dcc64c0076cf" providerId="ADAL" clId="{2E30AC29-01AD-49FF-A187-E210449B43FC}" dt="2020-06-24T11:48:31.530" v="4144" actId="20577"/>
          <ac:spMkLst>
            <pc:docMk/>
            <pc:sldMk cId="2140948625" sldId="314"/>
            <ac:spMk id="83" creationId="{00000000-0000-0000-0000-000000000000}"/>
          </ac:spMkLst>
        </pc:spChg>
        <pc:spChg chg="add mod">
          <ac:chgData name="Daniele, L.M. (Laura)" userId="fd7970a2-7a0c-4b70-8263-dcc64c0076cf" providerId="ADAL" clId="{2E30AC29-01AD-49FF-A187-E210449B43FC}" dt="2020-06-24T12:28:39.497" v="4638"/>
          <ac:spMkLst>
            <pc:docMk/>
            <pc:sldMk cId="2140948625" sldId="314"/>
            <ac:spMk id="86" creationId="{90DF7290-5942-412C-A8AE-CB6938A25B3B}"/>
          </ac:spMkLst>
        </pc:spChg>
        <pc:spChg chg="mod">
          <ac:chgData name="Daniele, L.M. (Laura)" userId="fd7970a2-7a0c-4b70-8263-dcc64c0076cf" providerId="ADAL" clId="{2E30AC29-01AD-49FF-A187-E210449B43FC}" dt="2020-06-24T11:48:39.409" v="4156" actId="20577"/>
          <ac:spMkLst>
            <pc:docMk/>
            <pc:sldMk cId="2140948625" sldId="314"/>
            <ac:spMk id="90" creationId="{00000000-0000-0000-0000-000000000000}"/>
          </ac:spMkLst>
        </pc:spChg>
        <pc:picChg chg="add del">
          <ac:chgData name="Daniele, L.M. (Laura)" userId="fd7970a2-7a0c-4b70-8263-dcc64c0076cf" providerId="ADAL" clId="{2E30AC29-01AD-49FF-A187-E210449B43FC}" dt="2020-06-24T11:49:22.824" v="4161" actId="478"/>
          <ac:picMkLst>
            <pc:docMk/>
            <pc:sldMk cId="2140948625" sldId="314"/>
            <ac:picMk id="9" creationId="{DB29DEA1-60D3-4CAB-AE85-E8979008548D}"/>
          </ac:picMkLst>
        </pc:picChg>
        <pc:picChg chg="add del">
          <ac:chgData name="Daniele, L.M. (Laura)" userId="fd7970a2-7a0c-4b70-8263-dcc64c0076cf" providerId="ADAL" clId="{2E30AC29-01AD-49FF-A187-E210449B43FC}" dt="2020-06-24T11:48:40.066" v="4157"/>
          <ac:picMkLst>
            <pc:docMk/>
            <pc:sldMk cId="2140948625" sldId="314"/>
            <ac:picMk id="70" creationId="{7B11DA6A-CC6D-4B4D-B6D5-7F55C61E5D63}"/>
          </ac:picMkLst>
        </pc:picChg>
        <pc:picChg chg="add">
          <ac:chgData name="Daniele, L.M. (Laura)" userId="fd7970a2-7a0c-4b70-8263-dcc64c0076cf" providerId="ADAL" clId="{2E30AC29-01AD-49FF-A187-E210449B43FC}" dt="2020-06-24T11:49:24.543" v="4162"/>
          <ac:picMkLst>
            <pc:docMk/>
            <pc:sldMk cId="2140948625" sldId="314"/>
            <ac:picMk id="70" creationId="{8E9C246E-AF3B-4C73-8116-5BF2B5306E0F}"/>
          </ac:picMkLst>
        </pc:picChg>
        <pc:picChg chg="add">
          <ac:chgData name="Daniele, L.M. (Laura)" userId="fd7970a2-7a0c-4b70-8263-dcc64c0076cf" providerId="ADAL" clId="{2E30AC29-01AD-49FF-A187-E210449B43FC}" dt="2020-06-24T11:49:24.543" v="4162"/>
          <ac:picMkLst>
            <pc:docMk/>
            <pc:sldMk cId="2140948625" sldId="314"/>
            <ac:picMk id="74" creationId="{10BD70C1-2130-4E2D-9A20-3C9ED16C67EA}"/>
          </ac:picMkLst>
        </pc:picChg>
        <pc:picChg chg="add del">
          <ac:chgData name="Daniele, L.M. (Laura)" userId="fd7970a2-7a0c-4b70-8263-dcc64c0076cf" providerId="ADAL" clId="{2E30AC29-01AD-49FF-A187-E210449B43FC}" dt="2020-06-24T11:48:40.066" v="4157"/>
          <ac:picMkLst>
            <pc:docMk/>
            <pc:sldMk cId="2140948625" sldId="314"/>
            <ac:picMk id="74" creationId="{4370A070-646A-46FE-A14B-A94C00011B61}"/>
          </ac:picMkLst>
        </pc:picChg>
      </pc:sldChg>
      <pc:sldChg chg="addSp delSp modSp add ord">
        <pc:chgData name="Daniele, L.M. (Laura)" userId="fd7970a2-7a0c-4b70-8263-dcc64c0076cf" providerId="ADAL" clId="{2E30AC29-01AD-49FF-A187-E210449B43FC}" dt="2020-06-24T12:28:48.006" v="4640" actId="403"/>
        <pc:sldMkLst>
          <pc:docMk/>
          <pc:sldMk cId="4113947120" sldId="315"/>
        </pc:sldMkLst>
        <pc:spChg chg="mod">
          <ac:chgData name="Daniele, L.M. (Laura)" userId="fd7970a2-7a0c-4b70-8263-dcc64c0076cf" providerId="ADAL" clId="{2E30AC29-01AD-49FF-A187-E210449B43FC}" dt="2020-06-24T12:28:48.006" v="4640" actId="403"/>
          <ac:spMkLst>
            <pc:docMk/>
            <pc:sldMk cId="4113947120" sldId="315"/>
            <ac:spMk id="7" creationId="{00000000-0000-0000-0000-000000000000}"/>
          </ac:spMkLst>
        </pc:spChg>
        <pc:picChg chg="del">
          <ac:chgData name="Daniele, L.M. (Laura)" userId="fd7970a2-7a0c-4b70-8263-dcc64c0076cf" providerId="ADAL" clId="{2E30AC29-01AD-49FF-A187-E210449B43FC}" dt="2020-06-24T11:50:12.338" v="4166" actId="478"/>
          <ac:picMkLst>
            <pc:docMk/>
            <pc:sldMk cId="4113947120" sldId="315"/>
            <ac:picMk id="8" creationId="{DB29DEA1-60D3-4CAB-AE85-E8979008548D}"/>
          </ac:picMkLst>
        </pc:picChg>
        <pc:picChg chg="add">
          <ac:chgData name="Daniele, L.M. (Laura)" userId="fd7970a2-7a0c-4b70-8263-dcc64c0076cf" providerId="ADAL" clId="{2E30AC29-01AD-49FF-A187-E210449B43FC}" dt="2020-06-24T11:50:12.856" v="4167"/>
          <ac:picMkLst>
            <pc:docMk/>
            <pc:sldMk cId="4113947120" sldId="315"/>
            <ac:picMk id="9" creationId="{4ADE904B-3A41-4F8D-99CB-042E9EF749E9}"/>
          </ac:picMkLst>
        </pc:picChg>
        <pc:picChg chg="add">
          <ac:chgData name="Daniele, L.M. (Laura)" userId="fd7970a2-7a0c-4b70-8263-dcc64c0076cf" providerId="ADAL" clId="{2E30AC29-01AD-49FF-A187-E210449B43FC}" dt="2020-06-24T11:50:12.856" v="4167"/>
          <ac:picMkLst>
            <pc:docMk/>
            <pc:sldMk cId="4113947120" sldId="315"/>
            <ac:picMk id="10" creationId="{D53E38E8-BFE9-40D2-A7B6-14BCBBED19CF}"/>
          </ac:picMkLst>
        </pc:picChg>
      </pc:sldChg>
      <pc:sldChg chg="addSp delSp modSp add ord">
        <pc:chgData name="Daniele, L.M. (Laura)" userId="fd7970a2-7a0c-4b70-8263-dcc64c0076cf" providerId="ADAL" clId="{2E30AC29-01AD-49FF-A187-E210449B43FC}" dt="2020-06-24T12:28:54.129" v="4642" actId="403"/>
        <pc:sldMkLst>
          <pc:docMk/>
          <pc:sldMk cId="3982905815" sldId="316"/>
        </pc:sldMkLst>
        <pc:spChg chg="mod">
          <ac:chgData name="Daniele, L.M. (Laura)" userId="fd7970a2-7a0c-4b70-8263-dcc64c0076cf" providerId="ADAL" clId="{2E30AC29-01AD-49FF-A187-E210449B43FC}" dt="2020-06-24T12:28:54.129" v="4642" actId="403"/>
          <ac:spMkLst>
            <pc:docMk/>
            <pc:sldMk cId="3982905815" sldId="316"/>
            <ac:spMk id="7" creationId="{00000000-0000-0000-0000-000000000000}"/>
          </ac:spMkLst>
        </pc:spChg>
        <pc:picChg chg="add">
          <ac:chgData name="Daniele, L.M. (Laura)" userId="fd7970a2-7a0c-4b70-8263-dcc64c0076cf" providerId="ADAL" clId="{2E30AC29-01AD-49FF-A187-E210449B43FC}" dt="2020-06-24T11:50:15.985" v="4169"/>
          <ac:picMkLst>
            <pc:docMk/>
            <pc:sldMk cId="3982905815" sldId="316"/>
            <ac:picMk id="8" creationId="{975C8945-2AC4-473F-848A-0915FB20D35A}"/>
          </ac:picMkLst>
        </pc:picChg>
        <pc:picChg chg="del">
          <ac:chgData name="Daniele, L.M. (Laura)" userId="fd7970a2-7a0c-4b70-8263-dcc64c0076cf" providerId="ADAL" clId="{2E30AC29-01AD-49FF-A187-E210449B43FC}" dt="2020-06-24T11:50:15.702" v="4168" actId="478"/>
          <ac:picMkLst>
            <pc:docMk/>
            <pc:sldMk cId="3982905815" sldId="316"/>
            <ac:picMk id="9" creationId="{DB29DEA1-60D3-4CAB-AE85-E8979008548D}"/>
          </ac:picMkLst>
        </pc:picChg>
        <pc:picChg chg="add">
          <ac:chgData name="Daniele, L.M. (Laura)" userId="fd7970a2-7a0c-4b70-8263-dcc64c0076cf" providerId="ADAL" clId="{2E30AC29-01AD-49FF-A187-E210449B43FC}" dt="2020-06-24T11:50:15.985" v="4169"/>
          <ac:picMkLst>
            <pc:docMk/>
            <pc:sldMk cId="3982905815" sldId="316"/>
            <ac:picMk id="10" creationId="{73ADB6CD-CD57-41EF-B4EE-BD0FF273237D}"/>
          </ac:picMkLst>
        </pc:picChg>
      </pc:sldChg>
      <pc:sldChg chg="addSp delSp modSp add">
        <pc:chgData name="Daniele, L.M. (Laura)" userId="fd7970a2-7a0c-4b70-8263-dcc64c0076cf" providerId="ADAL" clId="{2E30AC29-01AD-49FF-A187-E210449B43FC}" dt="2020-06-24T09:39:12.355" v="1089" actId="20577"/>
        <pc:sldMkLst>
          <pc:docMk/>
          <pc:sldMk cId="3780837865" sldId="319"/>
        </pc:sldMkLst>
        <pc:spChg chg="mod">
          <ac:chgData name="Daniele, L.M. (Laura)" userId="fd7970a2-7a0c-4b70-8263-dcc64c0076cf" providerId="ADAL" clId="{2E30AC29-01AD-49FF-A187-E210449B43FC}" dt="2020-06-24T09:39:12.355" v="1089" actId="20577"/>
          <ac:spMkLst>
            <pc:docMk/>
            <pc:sldMk cId="3780837865" sldId="319"/>
            <ac:spMk id="5" creationId="{00000000-0000-0000-0000-000000000000}"/>
          </ac:spMkLst>
        </pc:spChg>
        <pc:picChg chg="del">
          <ac:chgData name="Daniele, L.M. (Laura)" userId="fd7970a2-7a0c-4b70-8263-dcc64c0076cf" providerId="ADAL" clId="{2E30AC29-01AD-49FF-A187-E210449B43FC}" dt="2020-06-24T09:39:00.474" v="1087" actId="478"/>
          <ac:picMkLst>
            <pc:docMk/>
            <pc:sldMk cId="3780837865" sldId="319"/>
            <ac:picMk id="7" creationId="{47DD129D-D622-4D3D-B849-3DE356AB2832}"/>
          </ac:picMkLst>
        </pc:picChg>
        <pc:picChg chg="add">
          <ac:chgData name="Daniele, L.M. (Laura)" userId="fd7970a2-7a0c-4b70-8263-dcc64c0076cf" providerId="ADAL" clId="{2E30AC29-01AD-49FF-A187-E210449B43FC}" dt="2020-06-24T09:39:06.745" v="1088"/>
          <ac:picMkLst>
            <pc:docMk/>
            <pc:sldMk cId="3780837865" sldId="319"/>
            <ac:picMk id="128" creationId="{23CC111E-D003-40D5-979C-51D60A496A31}"/>
          </ac:picMkLst>
        </pc:picChg>
      </pc:sldChg>
      <pc:sldChg chg="addSp delSp add">
        <pc:chgData name="Daniele, L.M. (Laura)" userId="fd7970a2-7a0c-4b70-8263-dcc64c0076cf" providerId="ADAL" clId="{2E30AC29-01AD-49FF-A187-E210449B43FC}" dt="2020-06-24T09:40:06.656" v="1092"/>
        <pc:sldMkLst>
          <pc:docMk/>
          <pc:sldMk cId="1388823628" sldId="320"/>
        </pc:sldMkLst>
        <pc:picChg chg="add">
          <ac:chgData name="Daniele, L.M. (Laura)" userId="fd7970a2-7a0c-4b70-8263-dcc64c0076cf" providerId="ADAL" clId="{2E30AC29-01AD-49FF-A187-E210449B43FC}" dt="2020-06-24T09:40:06.656" v="1092"/>
          <ac:picMkLst>
            <pc:docMk/>
            <pc:sldMk cId="1388823628" sldId="320"/>
            <ac:picMk id="31" creationId="{CEC772AD-017A-461C-A4B1-D753463D3BA5}"/>
          </ac:picMkLst>
        </pc:picChg>
        <pc:picChg chg="del">
          <ac:chgData name="Daniele, L.M. (Laura)" userId="fd7970a2-7a0c-4b70-8263-dcc64c0076cf" providerId="ADAL" clId="{2E30AC29-01AD-49FF-A187-E210449B43FC}" dt="2020-06-24T09:40:00.066" v="1091" actId="478"/>
          <ac:picMkLst>
            <pc:docMk/>
            <pc:sldMk cId="1388823628" sldId="320"/>
            <ac:picMk id="45" creationId="{47DD129D-D622-4D3D-B849-3DE356AB2832}"/>
          </ac:picMkLst>
        </pc:picChg>
      </pc:sldChg>
      <pc:sldChg chg="addSp delSp add">
        <pc:chgData name="Daniele, L.M. (Laura)" userId="fd7970a2-7a0c-4b70-8263-dcc64c0076cf" providerId="ADAL" clId="{2E30AC29-01AD-49FF-A187-E210449B43FC}" dt="2020-06-24T09:44:54.408" v="1096" actId="478"/>
        <pc:sldMkLst>
          <pc:docMk/>
          <pc:sldMk cId="3487076396" sldId="321"/>
        </pc:sldMkLst>
        <pc:picChg chg="del">
          <ac:chgData name="Daniele, L.M. (Laura)" userId="fd7970a2-7a0c-4b70-8263-dcc64c0076cf" providerId="ADAL" clId="{2E30AC29-01AD-49FF-A187-E210449B43FC}" dt="2020-06-24T09:44:54.408" v="1096" actId="478"/>
          <ac:picMkLst>
            <pc:docMk/>
            <pc:sldMk cId="3487076396" sldId="321"/>
            <ac:picMk id="9" creationId="{47DD129D-D622-4D3D-B849-3DE356AB2832}"/>
          </ac:picMkLst>
        </pc:picChg>
        <pc:picChg chg="add">
          <ac:chgData name="Daniele, L.M. (Laura)" userId="fd7970a2-7a0c-4b70-8263-dcc64c0076cf" providerId="ADAL" clId="{2E30AC29-01AD-49FF-A187-E210449B43FC}" dt="2020-06-24T09:44:52.667" v="1095"/>
          <ac:picMkLst>
            <pc:docMk/>
            <pc:sldMk cId="3487076396" sldId="321"/>
            <ac:picMk id="12" creationId="{4F8E1101-C228-487B-9903-6CB60DFA6CC3}"/>
          </ac:picMkLst>
        </pc:picChg>
      </pc:sldChg>
      <pc:sldChg chg="addSp delSp modSp add del ord">
        <pc:chgData name="Daniele, L.M. (Laura)" userId="fd7970a2-7a0c-4b70-8263-dcc64c0076cf" providerId="ADAL" clId="{2E30AC29-01AD-49FF-A187-E210449B43FC}" dt="2020-06-24T12:38:27.768" v="4714" actId="15"/>
        <pc:sldMkLst>
          <pc:docMk/>
          <pc:sldMk cId="2885217444" sldId="323"/>
        </pc:sldMkLst>
        <pc:spChg chg="mod">
          <ac:chgData name="Daniele, L.M. (Laura)" userId="fd7970a2-7a0c-4b70-8263-dcc64c0076cf" providerId="ADAL" clId="{2E30AC29-01AD-49FF-A187-E210449B43FC}" dt="2020-06-24T12:38:27.768" v="4714" actId="15"/>
          <ac:spMkLst>
            <pc:docMk/>
            <pc:sldMk cId="2885217444" sldId="323"/>
            <ac:spMk id="3" creationId="{607B5DE4-0B72-4020-A9A9-47355718224D}"/>
          </ac:spMkLst>
        </pc:spChg>
        <pc:picChg chg="del">
          <ac:chgData name="Daniele, L.M. (Laura)" userId="fd7970a2-7a0c-4b70-8263-dcc64c0076cf" providerId="ADAL" clId="{2E30AC29-01AD-49FF-A187-E210449B43FC}" dt="2020-06-24T09:46:42.352" v="1102" actId="478"/>
          <ac:picMkLst>
            <pc:docMk/>
            <pc:sldMk cId="2885217444" sldId="323"/>
            <ac:picMk id="6" creationId="{47DD129D-D622-4D3D-B849-3DE356AB2832}"/>
          </ac:picMkLst>
        </pc:picChg>
        <pc:picChg chg="add">
          <ac:chgData name="Daniele, L.M. (Laura)" userId="fd7970a2-7a0c-4b70-8263-dcc64c0076cf" providerId="ADAL" clId="{2E30AC29-01AD-49FF-A187-E210449B43FC}" dt="2020-06-24T09:46:51.008" v="1103"/>
          <ac:picMkLst>
            <pc:docMk/>
            <pc:sldMk cId="2885217444" sldId="323"/>
            <ac:picMk id="7" creationId="{EEC7BB6E-FA6B-4F53-A7D0-C89F3D3B3434}"/>
          </ac:picMkLst>
        </pc:picChg>
      </pc:sldChg>
      <pc:sldChg chg="add del ord">
        <pc:chgData name="Daniele, L.M. (Laura)" userId="fd7970a2-7a0c-4b70-8263-dcc64c0076cf" providerId="ADAL" clId="{2E30AC29-01AD-49FF-A187-E210449B43FC}" dt="2020-06-24T10:11:23.627" v="1695" actId="2696"/>
        <pc:sldMkLst>
          <pc:docMk/>
          <pc:sldMk cId="2478555275" sldId="324"/>
        </pc:sldMkLst>
      </pc:sldChg>
      <pc:sldChg chg="addSp delSp add">
        <pc:chgData name="Daniele, L.M. (Laura)" userId="fd7970a2-7a0c-4b70-8263-dcc64c0076cf" providerId="ADAL" clId="{2E30AC29-01AD-49FF-A187-E210449B43FC}" dt="2020-06-24T11:29:48.196" v="3962" actId="478"/>
        <pc:sldMkLst>
          <pc:docMk/>
          <pc:sldMk cId="2958499155" sldId="326"/>
        </pc:sldMkLst>
        <pc:picChg chg="del">
          <ac:chgData name="Daniele, L.M. (Laura)" userId="fd7970a2-7a0c-4b70-8263-dcc64c0076cf" providerId="ADAL" clId="{2E30AC29-01AD-49FF-A187-E210449B43FC}" dt="2020-06-24T11:29:48.196" v="3962" actId="478"/>
          <ac:picMkLst>
            <pc:docMk/>
            <pc:sldMk cId="2958499155" sldId="326"/>
            <ac:picMk id="21" creationId="{47DD129D-D622-4D3D-B849-3DE356AB2832}"/>
          </ac:picMkLst>
        </pc:picChg>
        <pc:picChg chg="add">
          <ac:chgData name="Daniele, L.M. (Laura)" userId="fd7970a2-7a0c-4b70-8263-dcc64c0076cf" providerId="ADAL" clId="{2E30AC29-01AD-49FF-A187-E210449B43FC}" dt="2020-06-24T11:28:19.641" v="3960"/>
          <ac:picMkLst>
            <pc:docMk/>
            <pc:sldMk cId="2958499155" sldId="326"/>
            <ac:picMk id="22" creationId="{FEBD6742-0AF8-401C-970C-11098AD50F31}"/>
          </ac:picMkLst>
        </pc:picChg>
      </pc:sldChg>
      <pc:sldChg chg="add">
        <pc:chgData name="Daniele, L.M. (Laura)" userId="fd7970a2-7a0c-4b70-8263-dcc64c0076cf" providerId="ADAL" clId="{2E30AC29-01AD-49FF-A187-E210449B43FC}" dt="2020-06-22T13:18:24.823" v="0"/>
        <pc:sldMkLst>
          <pc:docMk/>
          <pc:sldMk cId="3914540068" sldId="333"/>
        </pc:sldMkLst>
      </pc:sldChg>
      <pc:sldChg chg="add">
        <pc:chgData name="Daniele, L.M. (Laura)" userId="fd7970a2-7a0c-4b70-8263-dcc64c0076cf" providerId="ADAL" clId="{2E30AC29-01AD-49FF-A187-E210449B43FC}" dt="2020-06-22T13:20:13.043" v="8"/>
        <pc:sldMkLst>
          <pc:docMk/>
          <pc:sldMk cId="2864083599" sldId="337"/>
        </pc:sldMkLst>
      </pc:sldChg>
      <pc:sldChg chg="del">
        <pc:chgData name="Daniele, L.M. (Laura)" userId="fd7970a2-7a0c-4b70-8263-dcc64c0076cf" providerId="ADAL" clId="{2E30AC29-01AD-49FF-A187-E210449B43FC}" dt="2020-06-24T11:46:52.840" v="4121" actId="2696"/>
        <pc:sldMkLst>
          <pc:docMk/>
          <pc:sldMk cId="3754676377" sldId="339"/>
        </pc:sldMkLst>
      </pc:sldChg>
      <pc:sldChg chg="add">
        <pc:chgData name="Daniele, L.M. (Laura)" userId="fd7970a2-7a0c-4b70-8263-dcc64c0076cf" providerId="ADAL" clId="{2E30AC29-01AD-49FF-A187-E210449B43FC}" dt="2020-06-22T13:27:19.122" v="99"/>
        <pc:sldMkLst>
          <pc:docMk/>
          <pc:sldMk cId="1246878623" sldId="340"/>
        </pc:sldMkLst>
      </pc:sldChg>
      <pc:sldChg chg="add">
        <pc:chgData name="Daniele, L.M. (Laura)" userId="fd7970a2-7a0c-4b70-8263-dcc64c0076cf" providerId="ADAL" clId="{2E30AC29-01AD-49FF-A187-E210449B43FC}" dt="2020-06-22T13:27:52.843" v="101"/>
        <pc:sldMkLst>
          <pc:docMk/>
          <pc:sldMk cId="789875590" sldId="341"/>
        </pc:sldMkLst>
      </pc:sldChg>
      <pc:sldChg chg="addSp modSp add">
        <pc:chgData name="Daniele, L.M. (Laura)" userId="fd7970a2-7a0c-4b70-8263-dcc64c0076cf" providerId="ADAL" clId="{2E30AC29-01AD-49FF-A187-E210449B43FC}" dt="2020-06-22T13:54:34.901" v="215" actId="20577"/>
        <pc:sldMkLst>
          <pc:docMk/>
          <pc:sldMk cId="2420802151" sldId="342"/>
        </pc:sldMkLst>
        <pc:spChg chg="mod">
          <ac:chgData name="Daniele, L.M. (Laura)" userId="fd7970a2-7a0c-4b70-8263-dcc64c0076cf" providerId="ADAL" clId="{2E30AC29-01AD-49FF-A187-E210449B43FC}" dt="2020-06-22T13:54:34.901" v="215" actId="20577"/>
          <ac:spMkLst>
            <pc:docMk/>
            <pc:sldMk cId="2420802151" sldId="342"/>
            <ac:spMk id="7" creationId="{00000000-0000-0000-0000-000000000000}"/>
          </ac:spMkLst>
        </pc:spChg>
        <pc:spChg chg="add mod">
          <ac:chgData name="Daniele, L.M. (Laura)" userId="fd7970a2-7a0c-4b70-8263-dcc64c0076cf" providerId="ADAL" clId="{2E30AC29-01AD-49FF-A187-E210449B43FC}" dt="2020-06-22T13:50:10.449" v="173" actId="20577"/>
          <ac:spMkLst>
            <pc:docMk/>
            <pc:sldMk cId="2420802151" sldId="342"/>
            <ac:spMk id="8" creationId="{3BAFF289-7F34-4537-9FCF-660D67049714}"/>
          </ac:spMkLst>
        </pc:spChg>
      </pc:sldChg>
      <pc:sldChg chg="delSp add">
        <pc:chgData name="Daniele, L.M. (Laura)" userId="fd7970a2-7a0c-4b70-8263-dcc64c0076cf" providerId="ADAL" clId="{2E30AC29-01AD-49FF-A187-E210449B43FC}" dt="2020-06-22T13:55:56.034" v="216" actId="478"/>
        <pc:sldMkLst>
          <pc:docMk/>
          <pc:sldMk cId="2038538317" sldId="343"/>
        </pc:sldMkLst>
        <pc:picChg chg="del">
          <ac:chgData name="Daniele, L.M. (Laura)" userId="fd7970a2-7a0c-4b70-8263-dcc64c0076cf" providerId="ADAL" clId="{2E30AC29-01AD-49FF-A187-E210449B43FC}" dt="2020-06-22T13:55:56.034" v="216" actId="478"/>
          <ac:picMkLst>
            <pc:docMk/>
            <pc:sldMk cId="2038538317" sldId="343"/>
            <ac:picMk id="5" creationId="{59D5CCF0-35ED-4072-A96A-3986BB6F8C3E}"/>
          </ac:picMkLst>
        </pc:picChg>
      </pc:sldChg>
      <pc:sldChg chg="add">
        <pc:chgData name="Daniele, L.M. (Laura)" userId="fd7970a2-7a0c-4b70-8263-dcc64c0076cf" providerId="ADAL" clId="{2E30AC29-01AD-49FF-A187-E210449B43FC}" dt="2020-06-22T13:27:52.843" v="101"/>
        <pc:sldMkLst>
          <pc:docMk/>
          <pc:sldMk cId="3120104066" sldId="344"/>
        </pc:sldMkLst>
      </pc:sldChg>
      <pc:sldChg chg="addSp delSp modSp add">
        <pc:chgData name="Daniele, L.M. (Laura)" userId="fd7970a2-7a0c-4b70-8263-dcc64c0076cf" providerId="ADAL" clId="{2E30AC29-01AD-49FF-A187-E210449B43FC}" dt="2020-06-22T14:01:32.941" v="258" actId="1076"/>
        <pc:sldMkLst>
          <pc:docMk/>
          <pc:sldMk cId="3612183425" sldId="347"/>
        </pc:sldMkLst>
        <pc:spChg chg="add del">
          <ac:chgData name="Daniele, L.M. (Laura)" userId="fd7970a2-7a0c-4b70-8263-dcc64c0076cf" providerId="ADAL" clId="{2E30AC29-01AD-49FF-A187-E210449B43FC}" dt="2020-06-22T14:00:34.143" v="251" actId="478"/>
          <ac:spMkLst>
            <pc:docMk/>
            <pc:sldMk cId="3612183425" sldId="347"/>
            <ac:spMk id="10" creationId="{8B931C60-B751-4D40-A679-4B6147277B01}"/>
          </ac:spMkLst>
        </pc:spChg>
        <pc:spChg chg="mod">
          <ac:chgData name="Daniele, L.M. (Laura)" userId="fd7970a2-7a0c-4b70-8263-dcc64c0076cf" providerId="ADAL" clId="{2E30AC29-01AD-49FF-A187-E210449B43FC}" dt="2020-06-22T14:01:32.941" v="258" actId="1076"/>
          <ac:spMkLst>
            <pc:docMk/>
            <pc:sldMk cId="3612183425" sldId="347"/>
            <ac:spMk id="11" creationId="{8B931C60-B751-4D40-A679-4B6147277B01}"/>
          </ac:spMkLst>
        </pc:spChg>
        <pc:picChg chg="del">
          <ac:chgData name="Daniele, L.M. (Laura)" userId="fd7970a2-7a0c-4b70-8263-dcc64c0076cf" providerId="ADAL" clId="{2E30AC29-01AD-49FF-A187-E210449B43FC}" dt="2020-06-22T14:00:41.479" v="252" actId="478"/>
          <ac:picMkLst>
            <pc:docMk/>
            <pc:sldMk cId="3612183425" sldId="347"/>
            <ac:picMk id="8" creationId="{DB29DEA1-60D3-4CAB-AE85-E8979008548D}"/>
          </ac:picMkLst>
        </pc:picChg>
        <pc:picChg chg="del">
          <ac:chgData name="Daniele, L.M. (Laura)" userId="fd7970a2-7a0c-4b70-8263-dcc64c0076cf" providerId="ADAL" clId="{2E30AC29-01AD-49FF-A187-E210449B43FC}" dt="2020-06-22T14:00:42.352" v="253" actId="478"/>
          <ac:picMkLst>
            <pc:docMk/>
            <pc:sldMk cId="3612183425" sldId="347"/>
            <ac:picMk id="9" creationId="{11A7B3A8-21BE-49B7-B51B-E3176A0CCC42}"/>
          </ac:picMkLst>
        </pc:picChg>
        <pc:picChg chg="del">
          <ac:chgData name="Daniele, L.M. (Laura)" userId="fd7970a2-7a0c-4b70-8263-dcc64c0076cf" providerId="ADAL" clId="{2E30AC29-01AD-49FF-A187-E210449B43FC}" dt="2020-06-22T14:01:06.196" v="255" actId="478"/>
          <ac:picMkLst>
            <pc:docMk/>
            <pc:sldMk cId="3612183425" sldId="347"/>
            <ac:picMk id="14" creationId="{DB29DEA1-60D3-4CAB-AE85-E8979008548D}"/>
          </ac:picMkLst>
        </pc:picChg>
        <pc:picChg chg="add del mod">
          <ac:chgData name="Daniele, L.M. (Laura)" userId="fd7970a2-7a0c-4b70-8263-dcc64c0076cf" providerId="ADAL" clId="{2E30AC29-01AD-49FF-A187-E210449B43FC}" dt="2020-06-22T14:00:33.290" v="250"/>
          <ac:picMkLst>
            <pc:docMk/>
            <pc:sldMk cId="3612183425" sldId="347"/>
            <ac:picMk id="15" creationId="{F3CAE012-1564-4234-AEE2-4D5436B27E5B}"/>
          </ac:picMkLst>
        </pc:picChg>
        <pc:picChg chg="add">
          <ac:chgData name="Daniele, L.M. (Laura)" userId="fd7970a2-7a0c-4b70-8263-dcc64c0076cf" providerId="ADAL" clId="{2E30AC29-01AD-49FF-A187-E210449B43FC}" dt="2020-06-22T14:01:06.940" v="256"/>
          <ac:picMkLst>
            <pc:docMk/>
            <pc:sldMk cId="3612183425" sldId="347"/>
            <ac:picMk id="16" creationId="{814A04DB-C943-44C0-8086-A2ADDB0CF09A}"/>
          </ac:picMkLst>
        </pc:picChg>
      </pc:sldChg>
      <pc:sldChg chg="addSp delSp modSp add">
        <pc:chgData name="Daniele, L.M. (Laura)" userId="fd7970a2-7a0c-4b70-8263-dcc64c0076cf" providerId="ADAL" clId="{2E30AC29-01AD-49FF-A187-E210449B43FC}" dt="2020-06-22T14:03:13.593" v="316"/>
        <pc:sldMkLst>
          <pc:docMk/>
          <pc:sldMk cId="1616497565" sldId="348"/>
        </pc:sldMkLst>
        <pc:spChg chg="mod">
          <ac:chgData name="Daniele, L.M. (Laura)" userId="fd7970a2-7a0c-4b70-8263-dcc64c0076cf" providerId="ADAL" clId="{2E30AC29-01AD-49FF-A187-E210449B43FC}" dt="2020-06-22T14:02:43.443" v="264" actId="20577"/>
          <ac:spMkLst>
            <pc:docMk/>
            <pc:sldMk cId="1616497565" sldId="348"/>
            <ac:spMk id="2" creationId="{9B71C370-D5AD-4285-B597-DF811FF69E0D}"/>
          </ac:spMkLst>
        </pc:spChg>
        <pc:picChg chg="add del mod">
          <ac:chgData name="Daniele, L.M. (Laura)" userId="fd7970a2-7a0c-4b70-8263-dcc64c0076cf" providerId="ADAL" clId="{2E30AC29-01AD-49FF-A187-E210449B43FC}" dt="2020-06-22T14:03:00.978" v="315" actId="478"/>
          <ac:picMkLst>
            <pc:docMk/>
            <pc:sldMk cId="1616497565" sldId="348"/>
            <ac:picMk id="9" creationId="{3696A0DD-B6EE-4138-B0AF-76FD4D22FAE9}"/>
          </ac:picMkLst>
        </pc:picChg>
        <pc:picChg chg="del">
          <ac:chgData name="Daniele, L.M. (Laura)" userId="fd7970a2-7a0c-4b70-8263-dcc64c0076cf" providerId="ADAL" clId="{2E30AC29-01AD-49FF-A187-E210449B43FC}" dt="2020-06-22T14:02:18.036" v="260" actId="478"/>
          <ac:picMkLst>
            <pc:docMk/>
            <pc:sldMk cId="1616497565" sldId="348"/>
            <ac:picMk id="11" creationId="{DB29DEA1-60D3-4CAB-AE85-E8979008548D}"/>
          </ac:picMkLst>
        </pc:picChg>
        <pc:picChg chg="add">
          <ac:chgData name="Daniele, L.M. (Laura)" userId="fd7970a2-7a0c-4b70-8263-dcc64c0076cf" providerId="ADAL" clId="{2E30AC29-01AD-49FF-A187-E210449B43FC}" dt="2020-06-22T14:03:13.593" v="316"/>
          <ac:picMkLst>
            <pc:docMk/>
            <pc:sldMk cId="1616497565" sldId="348"/>
            <ac:picMk id="12" creationId="{537E4225-0204-441F-B8A9-353D4BB4CDB8}"/>
          </ac:picMkLst>
        </pc:picChg>
        <pc:picChg chg="add">
          <ac:chgData name="Daniele, L.M. (Laura)" userId="fd7970a2-7a0c-4b70-8263-dcc64c0076cf" providerId="ADAL" clId="{2E30AC29-01AD-49FF-A187-E210449B43FC}" dt="2020-06-22T14:03:13.593" v="316"/>
          <ac:picMkLst>
            <pc:docMk/>
            <pc:sldMk cId="1616497565" sldId="348"/>
            <ac:picMk id="13" creationId="{1CCB69A4-4F05-4B26-9482-F208C5B28BC9}"/>
          </ac:picMkLst>
        </pc:picChg>
      </pc:sldChg>
      <pc:sldChg chg="addSp delSp add">
        <pc:chgData name="Daniele, L.M. (Laura)" userId="fd7970a2-7a0c-4b70-8263-dcc64c0076cf" providerId="ADAL" clId="{2E30AC29-01AD-49FF-A187-E210449B43FC}" dt="2020-06-22T14:04:37.943" v="321"/>
        <pc:sldMkLst>
          <pc:docMk/>
          <pc:sldMk cId="2938454441" sldId="349"/>
        </pc:sldMkLst>
        <pc:picChg chg="add">
          <ac:chgData name="Daniele, L.M. (Laura)" userId="fd7970a2-7a0c-4b70-8263-dcc64c0076cf" providerId="ADAL" clId="{2E30AC29-01AD-49FF-A187-E210449B43FC}" dt="2020-06-22T14:04:37.943" v="321"/>
          <ac:picMkLst>
            <pc:docMk/>
            <pc:sldMk cId="2938454441" sldId="349"/>
            <ac:picMk id="8" creationId="{DD7DEE87-6FFB-4B99-B935-B9B7337AFF55}"/>
          </ac:picMkLst>
        </pc:picChg>
        <pc:picChg chg="add">
          <ac:chgData name="Daniele, L.M. (Laura)" userId="fd7970a2-7a0c-4b70-8263-dcc64c0076cf" providerId="ADAL" clId="{2E30AC29-01AD-49FF-A187-E210449B43FC}" dt="2020-06-22T14:04:37.943" v="321"/>
          <ac:picMkLst>
            <pc:docMk/>
            <pc:sldMk cId="2938454441" sldId="349"/>
            <ac:picMk id="11" creationId="{38F95046-B48B-4E62-8D5F-373D4F04327C}"/>
          </ac:picMkLst>
        </pc:picChg>
        <pc:picChg chg="del">
          <ac:chgData name="Daniele, L.M. (Laura)" userId="fd7970a2-7a0c-4b70-8263-dcc64c0076cf" providerId="ADAL" clId="{2E30AC29-01AD-49FF-A187-E210449B43FC}" dt="2020-06-22T14:04:37.242" v="320" actId="478"/>
          <ac:picMkLst>
            <pc:docMk/>
            <pc:sldMk cId="2938454441" sldId="349"/>
            <ac:picMk id="13" creationId="{DB29DEA1-60D3-4CAB-AE85-E8979008548D}"/>
          </ac:picMkLst>
        </pc:picChg>
      </pc:sldChg>
      <pc:sldChg chg="addSp delSp modSp add">
        <pc:chgData name="Daniele, L.M. (Laura)" userId="fd7970a2-7a0c-4b70-8263-dcc64c0076cf" providerId="ADAL" clId="{2E30AC29-01AD-49FF-A187-E210449B43FC}" dt="2020-06-22T14:05:14.102" v="328" actId="20577"/>
        <pc:sldMkLst>
          <pc:docMk/>
          <pc:sldMk cId="3600942984" sldId="350"/>
        </pc:sldMkLst>
        <pc:spChg chg="mod">
          <ac:chgData name="Daniele, L.M. (Laura)" userId="fd7970a2-7a0c-4b70-8263-dcc64c0076cf" providerId="ADAL" clId="{2E30AC29-01AD-49FF-A187-E210449B43FC}" dt="2020-06-22T14:05:14.102" v="328" actId="20577"/>
          <ac:spMkLst>
            <pc:docMk/>
            <pc:sldMk cId="3600942984" sldId="350"/>
            <ac:spMk id="2" creationId="{9B71C370-D5AD-4285-B597-DF811FF69E0D}"/>
          </ac:spMkLst>
        </pc:spChg>
        <pc:picChg chg="add">
          <ac:chgData name="Daniele, L.M. (Laura)" userId="fd7970a2-7a0c-4b70-8263-dcc64c0076cf" providerId="ADAL" clId="{2E30AC29-01AD-49FF-A187-E210449B43FC}" dt="2020-06-22T14:04:49.500" v="323"/>
          <ac:picMkLst>
            <pc:docMk/>
            <pc:sldMk cId="3600942984" sldId="350"/>
            <ac:picMk id="8" creationId="{B0F3CBF2-0BF2-4122-BCBB-5F469812E9A0}"/>
          </ac:picMkLst>
        </pc:picChg>
        <pc:picChg chg="add">
          <ac:chgData name="Daniele, L.M. (Laura)" userId="fd7970a2-7a0c-4b70-8263-dcc64c0076cf" providerId="ADAL" clId="{2E30AC29-01AD-49FF-A187-E210449B43FC}" dt="2020-06-22T14:04:49.500" v="323"/>
          <ac:picMkLst>
            <pc:docMk/>
            <pc:sldMk cId="3600942984" sldId="350"/>
            <ac:picMk id="9" creationId="{11312B0B-DB01-4F02-9B5A-2E880B6CD237}"/>
          </ac:picMkLst>
        </pc:picChg>
        <pc:picChg chg="del">
          <ac:chgData name="Daniele, L.M. (Laura)" userId="fd7970a2-7a0c-4b70-8263-dcc64c0076cf" providerId="ADAL" clId="{2E30AC29-01AD-49FF-A187-E210449B43FC}" dt="2020-06-22T14:04:46.605" v="322" actId="478"/>
          <ac:picMkLst>
            <pc:docMk/>
            <pc:sldMk cId="3600942984" sldId="350"/>
            <ac:picMk id="14" creationId="{DB29DEA1-60D3-4CAB-AE85-E8979008548D}"/>
          </ac:picMkLst>
        </pc:picChg>
      </pc:sldChg>
      <pc:sldChg chg="addSp delSp add">
        <pc:chgData name="Daniele, L.M. (Laura)" userId="fd7970a2-7a0c-4b70-8263-dcc64c0076cf" providerId="ADAL" clId="{2E30AC29-01AD-49FF-A187-E210449B43FC}" dt="2020-06-22T14:05:26.047" v="330"/>
        <pc:sldMkLst>
          <pc:docMk/>
          <pc:sldMk cId="1403988697" sldId="351"/>
        </pc:sldMkLst>
        <pc:picChg chg="add">
          <ac:chgData name="Daniele, L.M. (Laura)" userId="fd7970a2-7a0c-4b70-8263-dcc64c0076cf" providerId="ADAL" clId="{2E30AC29-01AD-49FF-A187-E210449B43FC}" dt="2020-06-22T14:05:26.047" v="330"/>
          <ac:picMkLst>
            <pc:docMk/>
            <pc:sldMk cId="1403988697" sldId="351"/>
            <ac:picMk id="8" creationId="{B36E5BF2-E1D8-4E13-AB25-472936E77F8C}"/>
          </ac:picMkLst>
        </pc:picChg>
        <pc:picChg chg="add">
          <ac:chgData name="Daniele, L.M. (Laura)" userId="fd7970a2-7a0c-4b70-8263-dcc64c0076cf" providerId="ADAL" clId="{2E30AC29-01AD-49FF-A187-E210449B43FC}" dt="2020-06-22T14:05:26.047" v="330"/>
          <ac:picMkLst>
            <pc:docMk/>
            <pc:sldMk cId="1403988697" sldId="351"/>
            <ac:picMk id="10" creationId="{25AAA914-798C-4B89-AD05-A2505380C2AB}"/>
          </ac:picMkLst>
        </pc:picChg>
        <pc:picChg chg="del">
          <ac:chgData name="Daniele, L.M. (Laura)" userId="fd7970a2-7a0c-4b70-8263-dcc64c0076cf" providerId="ADAL" clId="{2E30AC29-01AD-49FF-A187-E210449B43FC}" dt="2020-06-22T14:05:25.053" v="329" actId="478"/>
          <ac:picMkLst>
            <pc:docMk/>
            <pc:sldMk cId="1403988697" sldId="351"/>
            <ac:picMk id="14" creationId="{DB29DEA1-60D3-4CAB-AE85-E8979008548D}"/>
          </ac:picMkLst>
        </pc:picChg>
      </pc:sldChg>
      <pc:sldChg chg="add">
        <pc:chgData name="Daniele, L.M. (Laura)" userId="fd7970a2-7a0c-4b70-8263-dcc64c0076cf" providerId="ADAL" clId="{2E30AC29-01AD-49FF-A187-E210449B43FC}" dt="2020-06-22T14:06:49.761" v="333"/>
        <pc:sldMkLst>
          <pc:docMk/>
          <pc:sldMk cId="798142591" sldId="352"/>
        </pc:sldMkLst>
      </pc:sldChg>
      <pc:sldChg chg="del">
        <pc:chgData name="Daniele, L.M. (Laura)" userId="fd7970a2-7a0c-4b70-8263-dcc64c0076cf" providerId="ADAL" clId="{2E30AC29-01AD-49FF-A187-E210449B43FC}" dt="2020-06-24T11:43:45.181" v="4096" actId="2696"/>
        <pc:sldMkLst>
          <pc:docMk/>
          <pc:sldMk cId="730599042" sldId="353"/>
        </pc:sldMkLst>
      </pc:sldChg>
      <pc:sldChg chg="del">
        <pc:chgData name="Daniele, L.M. (Laura)" userId="fd7970a2-7a0c-4b70-8263-dcc64c0076cf" providerId="ADAL" clId="{2E30AC29-01AD-49FF-A187-E210449B43FC}" dt="2020-06-24T11:49:36.297" v="4163" actId="2696"/>
        <pc:sldMkLst>
          <pc:docMk/>
          <pc:sldMk cId="2334441306" sldId="354"/>
        </pc:sldMkLst>
      </pc:sldChg>
      <pc:sldChg chg="del">
        <pc:chgData name="Daniele, L.M. (Laura)" userId="fd7970a2-7a0c-4b70-8263-dcc64c0076cf" providerId="ADAL" clId="{2E30AC29-01AD-49FF-A187-E210449B43FC}" dt="2020-06-24T11:35:16.540" v="3983" actId="2696"/>
        <pc:sldMkLst>
          <pc:docMk/>
          <pc:sldMk cId="2061997831" sldId="355"/>
        </pc:sldMkLst>
      </pc:sldChg>
      <pc:sldChg chg="del">
        <pc:chgData name="Daniele, L.M. (Laura)" userId="fd7970a2-7a0c-4b70-8263-dcc64c0076cf" providerId="ADAL" clId="{2E30AC29-01AD-49FF-A187-E210449B43FC}" dt="2020-06-24T11:37:15.009" v="3987" actId="2696"/>
        <pc:sldMkLst>
          <pc:docMk/>
          <pc:sldMk cId="3601009273" sldId="356"/>
        </pc:sldMkLst>
      </pc:sldChg>
      <pc:sldChg chg="del">
        <pc:chgData name="Daniele, L.M. (Laura)" userId="fd7970a2-7a0c-4b70-8263-dcc64c0076cf" providerId="ADAL" clId="{2E30AC29-01AD-49FF-A187-E210449B43FC}" dt="2020-06-24T11:38:34.395" v="4003" actId="2696"/>
        <pc:sldMkLst>
          <pc:docMk/>
          <pc:sldMk cId="1118053174" sldId="357"/>
        </pc:sldMkLst>
      </pc:sldChg>
      <pc:sldChg chg="del">
        <pc:chgData name="Daniele, L.M. (Laura)" userId="fd7970a2-7a0c-4b70-8263-dcc64c0076cf" providerId="ADAL" clId="{2E30AC29-01AD-49FF-A187-E210449B43FC}" dt="2020-06-24T11:37:18.659" v="3988" actId="2696"/>
        <pc:sldMkLst>
          <pc:docMk/>
          <pc:sldMk cId="934273704" sldId="358"/>
        </pc:sldMkLst>
      </pc:sldChg>
      <pc:sldChg chg="del">
        <pc:chgData name="Daniele, L.M. (Laura)" userId="fd7970a2-7a0c-4b70-8263-dcc64c0076cf" providerId="ADAL" clId="{2E30AC29-01AD-49FF-A187-E210449B43FC}" dt="2020-06-24T11:38:35.408" v="4004" actId="2696"/>
        <pc:sldMkLst>
          <pc:docMk/>
          <pc:sldMk cId="3686011078" sldId="359"/>
        </pc:sldMkLst>
      </pc:sldChg>
      <pc:sldChg chg="del">
        <pc:chgData name="Daniele, L.M. (Laura)" userId="fd7970a2-7a0c-4b70-8263-dcc64c0076cf" providerId="ADAL" clId="{2E30AC29-01AD-49FF-A187-E210449B43FC}" dt="2020-06-24T11:38:36.483" v="4005" actId="2696"/>
        <pc:sldMkLst>
          <pc:docMk/>
          <pc:sldMk cId="1953591420" sldId="360"/>
        </pc:sldMkLst>
      </pc:sldChg>
      <pc:sldChg chg="del">
        <pc:chgData name="Daniele, L.M. (Laura)" userId="fd7970a2-7a0c-4b70-8263-dcc64c0076cf" providerId="ADAL" clId="{2E30AC29-01AD-49FF-A187-E210449B43FC}" dt="2020-06-24T11:54:23.026" v="4270" actId="2696"/>
        <pc:sldMkLst>
          <pc:docMk/>
          <pc:sldMk cId="3837350264" sldId="361"/>
        </pc:sldMkLst>
      </pc:sldChg>
      <pc:sldChg chg="addSp delSp modSp">
        <pc:chgData name="Daniele, L.M. (Laura)" userId="fd7970a2-7a0c-4b70-8263-dcc64c0076cf" providerId="ADAL" clId="{2E30AC29-01AD-49FF-A187-E210449B43FC}" dt="2020-06-24T12:31:34.086" v="4682" actId="20577"/>
        <pc:sldMkLst>
          <pc:docMk/>
          <pc:sldMk cId="281294950" sldId="362"/>
        </pc:sldMkLst>
        <pc:spChg chg="add del">
          <ac:chgData name="Daniele, L.M. (Laura)" userId="fd7970a2-7a0c-4b70-8263-dcc64c0076cf" providerId="ADAL" clId="{2E30AC29-01AD-49FF-A187-E210449B43FC}" dt="2020-06-24T11:57:03.424" v="4275"/>
          <ac:spMkLst>
            <pc:docMk/>
            <pc:sldMk cId="281294950" sldId="362"/>
            <ac:spMk id="3" creationId="{A45E3489-5C9C-445F-88C9-D77A582547A6}"/>
          </ac:spMkLst>
        </pc:spChg>
        <pc:spChg chg="del">
          <ac:chgData name="Daniele, L.M. (Laura)" userId="fd7970a2-7a0c-4b70-8263-dcc64c0076cf" providerId="ADAL" clId="{2E30AC29-01AD-49FF-A187-E210449B43FC}" dt="2020-06-24T11:57:16.894" v="4277" actId="478"/>
          <ac:spMkLst>
            <pc:docMk/>
            <pc:sldMk cId="281294950" sldId="362"/>
            <ac:spMk id="7" creationId="{2F2F6198-C824-4D01-AA4B-9F9E804DEB68}"/>
          </ac:spMkLst>
        </pc:spChg>
        <pc:spChg chg="add del mod">
          <ac:chgData name="Daniele, L.M. (Laura)" userId="fd7970a2-7a0c-4b70-8263-dcc64c0076cf" providerId="ADAL" clId="{2E30AC29-01AD-49FF-A187-E210449B43FC}" dt="2020-06-24T12:31:25.144" v="4677" actId="478"/>
          <ac:spMkLst>
            <pc:docMk/>
            <pc:sldMk cId="281294950" sldId="362"/>
            <ac:spMk id="9" creationId="{3012DFB2-12E2-42C7-8D09-FF29DEB266C0}"/>
          </ac:spMkLst>
        </pc:spChg>
        <pc:spChg chg="add mod">
          <ac:chgData name="Daniele, L.M. (Laura)" userId="fd7970a2-7a0c-4b70-8263-dcc64c0076cf" providerId="ADAL" clId="{2E30AC29-01AD-49FF-A187-E210449B43FC}" dt="2020-06-24T12:31:34.086" v="4682" actId="20577"/>
          <ac:spMkLst>
            <pc:docMk/>
            <pc:sldMk cId="281294950" sldId="362"/>
            <ac:spMk id="12" creationId="{BEA895BA-2874-4F1A-AC57-0648DB13859C}"/>
          </ac:spMkLst>
        </pc:spChg>
        <pc:picChg chg="mod">
          <ac:chgData name="Daniele, L.M. (Laura)" userId="fd7970a2-7a0c-4b70-8263-dcc64c0076cf" providerId="ADAL" clId="{2E30AC29-01AD-49FF-A187-E210449B43FC}" dt="2020-06-24T12:13:55.871" v="4360" actId="1076"/>
          <ac:picMkLst>
            <pc:docMk/>
            <pc:sldMk cId="281294950" sldId="362"/>
            <ac:picMk id="6" creationId="{C42315FC-B8CA-409A-89CC-8D3ABA9CD01F}"/>
          </ac:picMkLst>
        </pc:picChg>
        <pc:picChg chg="del">
          <ac:chgData name="Daniele, L.M. (Laura)" userId="fd7970a2-7a0c-4b70-8263-dcc64c0076cf" providerId="ADAL" clId="{2E30AC29-01AD-49FF-A187-E210449B43FC}" dt="2020-06-24T11:57:40.462" v="4278" actId="478"/>
          <ac:picMkLst>
            <pc:docMk/>
            <pc:sldMk cId="281294950" sldId="362"/>
            <ac:picMk id="8" creationId="{A0E83C2D-43C3-4FFB-A5E1-FB92C82F978B}"/>
          </ac:picMkLst>
        </pc:picChg>
        <pc:picChg chg="add">
          <ac:chgData name="Daniele, L.M. (Laura)" userId="fd7970a2-7a0c-4b70-8263-dcc64c0076cf" providerId="ADAL" clId="{2E30AC29-01AD-49FF-A187-E210449B43FC}" dt="2020-06-24T11:58:55.846" v="4304"/>
          <ac:picMkLst>
            <pc:docMk/>
            <pc:sldMk cId="281294950" sldId="362"/>
            <ac:picMk id="10" creationId="{0FDC283E-8748-40D2-81DF-A5862B033C32}"/>
          </ac:picMkLst>
        </pc:picChg>
        <pc:picChg chg="add">
          <ac:chgData name="Daniele, L.M. (Laura)" userId="fd7970a2-7a0c-4b70-8263-dcc64c0076cf" providerId="ADAL" clId="{2E30AC29-01AD-49FF-A187-E210449B43FC}" dt="2020-06-24T11:58:55.846" v="4304"/>
          <ac:picMkLst>
            <pc:docMk/>
            <pc:sldMk cId="281294950" sldId="362"/>
            <ac:picMk id="11" creationId="{2A7088F4-BF8E-4310-A0A0-25BD59BE5B95}"/>
          </ac:picMkLst>
        </pc:picChg>
      </pc:sldChg>
      <pc:sldChg chg="modSp add">
        <pc:chgData name="Daniele, L.M. (Laura)" userId="fd7970a2-7a0c-4b70-8263-dcc64c0076cf" providerId="ADAL" clId="{2E30AC29-01AD-49FF-A187-E210449B43FC}" dt="2020-06-24T12:19:35.362" v="4430" actId="20577"/>
        <pc:sldMkLst>
          <pc:docMk/>
          <pc:sldMk cId="3271480201" sldId="363"/>
        </pc:sldMkLst>
        <pc:spChg chg="mod">
          <ac:chgData name="Daniele, L.M. (Laura)" userId="fd7970a2-7a0c-4b70-8263-dcc64c0076cf" providerId="ADAL" clId="{2E30AC29-01AD-49FF-A187-E210449B43FC}" dt="2020-06-24T12:19:35.362" v="4430" actId="20577"/>
          <ac:spMkLst>
            <pc:docMk/>
            <pc:sldMk cId="3271480201" sldId="363"/>
            <ac:spMk id="15" creationId="{00000000-0000-0000-0000-000000000000}"/>
          </ac:spMkLst>
        </pc:spChg>
      </pc:sldChg>
      <pc:sldChg chg="del">
        <pc:chgData name="Daniele, L.M. (Laura)" userId="fd7970a2-7a0c-4b70-8263-dcc64c0076cf" providerId="ADAL" clId="{2E30AC29-01AD-49FF-A187-E210449B43FC}" dt="2020-06-22T13:28:36.485" v="105" actId="2696"/>
        <pc:sldMkLst>
          <pc:docMk/>
          <pc:sldMk cId="802480430" sldId="364"/>
        </pc:sldMkLst>
      </pc:sldChg>
      <pc:sldChg chg="addSp delSp modSp add">
        <pc:chgData name="Daniele, L.M. (Laura)" userId="fd7970a2-7a0c-4b70-8263-dcc64c0076cf" providerId="ADAL" clId="{2E30AC29-01AD-49FF-A187-E210449B43FC}" dt="2020-06-22T14:51:50.450" v="626"/>
        <pc:sldMkLst>
          <pc:docMk/>
          <pc:sldMk cId="1134708713" sldId="364"/>
        </pc:sldMkLst>
        <pc:spChg chg="mod">
          <ac:chgData name="Daniele, L.M. (Laura)" userId="fd7970a2-7a0c-4b70-8263-dcc64c0076cf" providerId="ADAL" clId="{2E30AC29-01AD-49FF-A187-E210449B43FC}" dt="2020-06-22T14:45:46.460" v="624" actId="1076"/>
          <ac:spMkLst>
            <pc:docMk/>
            <pc:sldMk cId="1134708713" sldId="364"/>
            <ac:spMk id="6" creationId="{00000000-0000-0000-0000-000000000000}"/>
          </ac:spMkLst>
        </pc:spChg>
        <pc:spChg chg="del mod">
          <ac:chgData name="Daniele, L.M. (Laura)" userId="fd7970a2-7a0c-4b70-8263-dcc64c0076cf" providerId="ADAL" clId="{2E30AC29-01AD-49FF-A187-E210449B43FC}" dt="2020-06-22T14:51:49.753" v="625" actId="478"/>
          <ac:spMkLst>
            <pc:docMk/>
            <pc:sldMk cId="1134708713" sldId="364"/>
            <ac:spMk id="7" creationId="{CEF0BBC7-5C21-4F59-A03E-F65EEA955A10}"/>
          </ac:spMkLst>
        </pc:spChg>
        <pc:spChg chg="add">
          <ac:chgData name="Daniele, L.M. (Laura)" userId="fd7970a2-7a0c-4b70-8263-dcc64c0076cf" providerId="ADAL" clId="{2E30AC29-01AD-49FF-A187-E210449B43FC}" dt="2020-06-22T14:51:50.450" v="626"/>
          <ac:spMkLst>
            <pc:docMk/>
            <pc:sldMk cId="1134708713" sldId="364"/>
            <ac:spMk id="8" creationId="{8F4AD3A5-6C57-473D-A01F-AD2F4CC9E3EF}"/>
          </ac:spMkLst>
        </pc:spChg>
      </pc:sldChg>
      <pc:sldChg chg="addSp delSp modSp">
        <pc:chgData name="Daniele, L.M. (Laura)" userId="fd7970a2-7a0c-4b70-8263-dcc64c0076cf" providerId="ADAL" clId="{2E30AC29-01AD-49FF-A187-E210449B43FC}" dt="2020-06-22T13:58:42.194" v="242" actId="1076"/>
        <pc:sldMkLst>
          <pc:docMk/>
          <pc:sldMk cId="1422724938" sldId="365"/>
        </pc:sldMkLst>
        <pc:spChg chg="del">
          <ac:chgData name="Daniele, L.M. (Laura)" userId="fd7970a2-7a0c-4b70-8263-dcc64c0076cf" providerId="ADAL" clId="{2E30AC29-01AD-49FF-A187-E210449B43FC}" dt="2020-06-22T13:57:49.072" v="220" actId="478"/>
          <ac:spMkLst>
            <pc:docMk/>
            <pc:sldMk cId="1422724938" sldId="365"/>
            <ac:spMk id="6" creationId="{770B1F2E-C82F-409D-8056-03F4377DA737}"/>
          </ac:spMkLst>
        </pc:spChg>
        <pc:spChg chg="add">
          <ac:chgData name="Daniele, L.M. (Laura)" userId="fd7970a2-7a0c-4b70-8263-dcc64c0076cf" providerId="ADAL" clId="{2E30AC29-01AD-49FF-A187-E210449B43FC}" dt="2020-06-22T13:57:20.991" v="218"/>
          <ac:spMkLst>
            <pc:docMk/>
            <pc:sldMk cId="1422724938" sldId="365"/>
            <ac:spMk id="10" creationId="{7E077C56-6C4F-4D7E-BCD9-26F3B4424786}"/>
          </ac:spMkLst>
        </pc:spChg>
        <pc:spChg chg="add">
          <ac:chgData name="Daniele, L.M. (Laura)" userId="fd7970a2-7a0c-4b70-8263-dcc64c0076cf" providerId="ADAL" clId="{2E30AC29-01AD-49FF-A187-E210449B43FC}" dt="2020-06-22T13:57:49.967" v="221"/>
          <ac:spMkLst>
            <pc:docMk/>
            <pc:sldMk cId="1422724938" sldId="365"/>
            <ac:spMk id="11" creationId="{4C0490AA-7912-40B0-9B96-319A8122CE01}"/>
          </ac:spMkLst>
        </pc:spChg>
        <pc:spChg chg="del">
          <ac:chgData name="Daniele, L.M. (Laura)" userId="fd7970a2-7a0c-4b70-8263-dcc64c0076cf" providerId="ADAL" clId="{2E30AC29-01AD-49FF-A187-E210449B43FC}" dt="2020-06-22T13:57:19.004" v="217" actId="478"/>
          <ac:spMkLst>
            <pc:docMk/>
            <pc:sldMk cId="1422724938" sldId="365"/>
            <ac:spMk id="13" creationId="{A0092BA1-734C-4F6D-86F9-99A4E71A9AC5}"/>
          </ac:spMkLst>
        </pc:spChg>
        <pc:picChg chg="mod">
          <ac:chgData name="Daniele, L.M. (Laura)" userId="fd7970a2-7a0c-4b70-8263-dcc64c0076cf" providerId="ADAL" clId="{2E30AC29-01AD-49FF-A187-E210449B43FC}" dt="2020-06-22T13:58:42.194" v="242" actId="1076"/>
          <ac:picMkLst>
            <pc:docMk/>
            <pc:sldMk cId="1422724938" sldId="365"/>
            <ac:picMk id="5" creationId="{A2617F31-8467-4815-BFD1-E29230D27B9B}"/>
          </ac:picMkLst>
        </pc:picChg>
        <pc:picChg chg="del">
          <ac:chgData name="Daniele, L.M. (Laura)" userId="fd7970a2-7a0c-4b70-8263-dcc64c0076cf" providerId="ADAL" clId="{2E30AC29-01AD-49FF-A187-E210449B43FC}" dt="2020-06-22T13:57:54.042" v="223" actId="478"/>
          <ac:picMkLst>
            <pc:docMk/>
            <pc:sldMk cId="1422724938" sldId="365"/>
            <ac:picMk id="8" creationId="{DB29DEA1-60D3-4CAB-AE85-E8979008548D}"/>
          </ac:picMkLst>
        </pc:picChg>
        <pc:picChg chg="del">
          <ac:chgData name="Daniele, L.M. (Laura)" userId="fd7970a2-7a0c-4b70-8263-dcc64c0076cf" providerId="ADAL" clId="{2E30AC29-01AD-49FF-A187-E210449B43FC}" dt="2020-06-22T13:57:52.859" v="222" actId="478"/>
          <ac:picMkLst>
            <pc:docMk/>
            <pc:sldMk cId="1422724938" sldId="365"/>
            <ac:picMk id="9" creationId="{11A7B3A8-21BE-49B7-B51B-E3176A0CCC42}"/>
          </ac:picMkLst>
        </pc:picChg>
        <pc:picChg chg="add">
          <ac:chgData name="Daniele, L.M. (Laura)" userId="fd7970a2-7a0c-4b70-8263-dcc64c0076cf" providerId="ADAL" clId="{2E30AC29-01AD-49FF-A187-E210449B43FC}" dt="2020-06-22T13:58:06.872" v="224"/>
          <ac:picMkLst>
            <pc:docMk/>
            <pc:sldMk cId="1422724938" sldId="365"/>
            <ac:picMk id="12" creationId="{07510467-2EA0-4F2B-9303-E203A654C2AA}"/>
          </ac:picMkLst>
        </pc:picChg>
        <pc:picChg chg="add mod">
          <ac:chgData name="Daniele, L.M. (Laura)" userId="fd7970a2-7a0c-4b70-8263-dcc64c0076cf" providerId="ADAL" clId="{2E30AC29-01AD-49FF-A187-E210449B43FC}" dt="2020-06-22T13:58:30.123" v="240" actId="1036"/>
          <ac:picMkLst>
            <pc:docMk/>
            <pc:sldMk cId="1422724938" sldId="365"/>
            <ac:picMk id="14" creationId="{6457AF83-A474-4424-B1E3-4016BE457C26}"/>
          </ac:picMkLst>
        </pc:picChg>
      </pc:sldChg>
      <pc:sldChg chg="addSp modSp add">
        <pc:chgData name="Daniele, L.M. (Laura)" userId="fd7970a2-7a0c-4b70-8263-dcc64c0076cf" providerId="ADAL" clId="{2E30AC29-01AD-49FF-A187-E210449B43FC}" dt="2020-06-22T15:05:46.138" v="796" actId="20577"/>
        <pc:sldMkLst>
          <pc:docMk/>
          <pc:sldMk cId="1667887265" sldId="366"/>
        </pc:sldMkLst>
        <pc:spChg chg="add mod">
          <ac:chgData name="Daniele, L.M. (Laura)" userId="fd7970a2-7a0c-4b70-8263-dcc64c0076cf" providerId="ADAL" clId="{2E30AC29-01AD-49FF-A187-E210449B43FC}" dt="2020-06-22T15:05:46.138" v="796" actId="20577"/>
          <ac:spMkLst>
            <pc:docMk/>
            <pc:sldMk cId="1667887265" sldId="366"/>
            <ac:spMk id="6" creationId="{7437D406-9045-4B18-835C-C7697172FABC}"/>
          </ac:spMkLst>
        </pc:spChg>
        <pc:spChg chg="mod">
          <ac:chgData name="Daniele, L.M. (Laura)" userId="fd7970a2-7a0c-4b70-8263-dcc64c0076cf" providerId="ADAL" clId="{2E30AC29-01AD-49FF-A187-E210449B43FC}" dt="2020-06-22T15:03:04.535" v="783" actId="20577"/>
          <ac:spMkLst>
            <pc:docMk/>
            <pc:sldMk cId="1667887265" sldId="366"/>
            <ac:spMk id="13" creationId="{00000000-0000-0000-0000-000000000000}"/>
          </ac:spMkLst>
        </pc:spChg>
      </pc:sldChg>
      <pc:sldChg chg="del">
        <pc:chgData name="Daniele, L.M. (Laura)" userId="fd7970a2-7a0c-4b70-8263-dcc64c0076cf" providerId="ADAL" clId="{2E30AC29-01AD-49FF-A187-E210449B43FC}" dt="2020-06-22T14:03:36.449" v="317" actId="2696"/>
        <pc:sldMkLst>
          <pc:docMk/>
          <pc:sldMk cId="2415796511" sldId="366"/>
        </pc:sldMkLst>
      </pc:sldChg>
      <pc:sldChg chg="del">
        <pc:chgData name="Daniele, L.M. (Laura)" userId="fd7970a2-7a0c-4b70-8263-dcc64c0076cf" providerId="ADAL" clId="{2E30AC29-01AD-49FF-A187-E210449B43FC}" dt="2020-06-22T14:04:22.586" v="319" actId="2696"/>
        <pc:sldMkLst>
          <pc:docMk/>
          <pc:sldMk cId="787657119" sldId="367"/>
        </pc:sldMkLst>
      </pc:sldChg>
      <pc:sldChg chg="addSp delSp modSp add">
        <pc:chgData name="Daniele, L.M. (Laura)" userId="fd7970a2-7a0c-4b70-8263-dcc64c0076cf" providerId="ADAL" clId="{2E30AC29-01AD-49FF-A187-E210449B43FC}" dt="2020-06-22T15:12:56.815" v="930" actId="1036"/>
        <pc:sldMkLst>
          <pc:docMk/>
          <pc:sldMk cId="2567963221" sldId="367"/>
        </pc:sldMkLst>
        <pc:spChg chg="mod">
          <ac:chgData name="Daniele, L.M. (Laura)" userId="fd7970a2-7a0c-4b70-8263-dcc64c0076cf" providerId="ADAL" clId="{2E30AC29-01AD-49FF-A187-E210449B43FC}" dt="2020-06-22T14:57:29.621" v="664" actId="1037"/>
          <ac:spMkLst>
            <pc:docMk/>
            <pc:sldMk cId="2567963221" sldId="367"/>
            <ac:spMk id="3" creationId="{00000000-0000-0000-0000-000000000000}"/>
          </ac:spMkLst>
        </pc:spChg>
        <pc:spChg chg="del">
          <ac:chgData name="Daniele, L.M. (Laura)" userId="fd7970a2-7a0c-4b70-8263-dcc64c0076cf" providerId="ADAL" clId="{2E30AC29-01AD-49FF-A187-E210449B43FC}" dt="2020-06-22T14:56:06.225" v="639" actId="478"/>
          <ac:spMkLst>
            <pc:docMk/>
            <pc:sldMk cId="2567963221" sldId="367"/>
            <ac:spMk id="6" creationId="{00000000-0000-0000-0000-000000000000}"/>
          </ac:spMkLst>
        </pc:spChg>
        <pc:spChg chg="mod">
          <ac:chgData name="Daniele, L.M. (Laura)" userId="fd7970a2-7a0c-4b70-8263-dcc64c0076cf" providerId="ADAL" clId="{2E30AC29-01AD-49FF-A187-E210449B43FC}" dt="2020-06-22T15:12:56.815" v="930" actId="1036"/>
          <ac:spMkLst>
            <pc:docMk/>
            <pc:sldMk cId="2567963221" sldId="367"/>
            <ac:spMk id="10" creationId="{3B5F2428-A663-4FB4-AF23-766591C01BDC}"/>
          </ac:spMkLst>
        </pc:spChg>
        <pc:spChg chg="del">
          <ac:chgData name="Daniele, L.M. (Laura)" userId="fd7970a2-7a0c-4b70-8263-dcc64c0076cf" providerId="ADAL" clId="{2E30AC29-01AD-49FF-A187-E210449B43FC}" dt="2020-06-22T14:57:14.064" v="653" actId="478"/>
          <ac:spMkLst>
            <pc:docMk/>
            <pc:sldMk cId="2567963221" sldId="367"/>
            <ac:spMk id="13" creationId="{3B5F2428-A663-4FB4-AF23-766591C01BDC}"/>
          </ac:spMkLst>
        </pc:spChg>
        <pc:spChg chg="del mod">
          <ac:chgData name="Daniele, L.M. (Laura)" userId="fd7970a2-7a0c-4b70-8263-dcc64c0076cf" providerId="ADAL" clId="{2E30AC29-01AD-49FF-A187-E210449B43FC}" dt="2020-06-22T14:58:21.130" v="675" actId="478"/>
          <ac:spMkLst>
            <pc:docMk/>
            <pc:sldMk cId="2567963221" sldId="367"/>
            <ac:spMk id="14" creationId="{00000000-0000-0000-0000-000000000000}"/>
          </ac:spMkLst>
        </pc:spChg>
        <pc:spChg chg="mod">
          <ac:chgData name="Daniele, L.M. (Laura)" userId="fd7970a2-7a0c-4b70-8263-dcc64c0076cf" providerId="ADAL" clId="{2E30AC29-01AD-49FF-A187-E210449B43FC}" dt="2020-06-22T15:12:56.815" v="930" actId="1036"/>
          <ac:spMkLst>
            <pc:docMk/>
            <pc:sldMk cId="2567963221" sldId="367"/>
            <ac:spMk id="15" creationId="{3B5F2428-A663-4FB4-AF23-766591C01BDC}"/>
          </ac:spMkLst>
        </pc:spChg>
        <pc:spChg chg="mod">
          <ac:chgData name="Daniele, L.M. (Laura)" userId="fd7970a2-7a0c-4b70-8263-dcc64c0076cf" providerId="ADAL" clId="{2E30AC29-01AD-49FF-A187-E210449B43FC}" dt="2020-06-22T15:12:56.815" v="930" actId="1036"/>
          <ac:spMkLst>
            <pc:docMk/>
            <pc:sldMk cId="2567963221" sldId="367"/>
            <ac:spMk id="16" creationId="{3B5F2428-A663-4FB4-AF23-766591C01BDC}"/>
          </ac:spMkLst>
        </pc:spChg>
        <pc:spChg chg="del mod">
          <ac:chgData name="Daniele, L.M. (Laura)" userId="fd7970a2-7a0c-4b70-8263-dcc64c0076cf" providerId="ADAL" clId="{2E30AC29-01AD-49FF-A187-E210449B43FC}" dt="2020-06-22T15:02:06.937" v="779" actId="478"/>
          <ac:spMkLst>
            <pc:docMk/>
            <pc:sldMk cId="2567963221" sldId="367"/>
            <ac:spMk id="17" creationId="{CDA610A2-BB05-4B89-8849-50EA689095F1}"/>
          </ac:spMkLst>
        </pc:spChg>
        <pc:spChg chg="mod">
          <ac:chgData name="Daniele, L.M. (Laura)" userId="fd7970a2-7a0c-4b70-8263-dcc64c0076cf" providerId="ADAL" clId="{2E30AC29-01AD-49FF-A187-E210449B43FC}" dt="2020-06-22T15:12:56.815" v="930" actId="1036"/>
          <ac:spMkLst>
            <pc:docMk/>
            <pc:sldMk cId="2567963221" sldId="367"/>
            <ac:spMk id="19" creationId="{3B5F2428-A663-4FB4-AF23-766591C01BDC}"/>
          </ac:spMkLst>
        </pc:spChg>
        <pc:spChg chg="del">
          <ac:chgData name="Daniele, L.M. (Laura)" userId="fd7970a2-7a0c-4b70-8263-dcc64c0076cf" providerId="ADAL" clId="{2E30AC29-01AD-49FF-A187-E210449B43FC}" dt="2020-06-22T14:56:21.137" v="644" actId="478"/>
          <ac:spMkLst>
            <pc:docMk/>
            <pc:sldMk cId="2567963221" sldId="367"/>
            <ac:spMk id="20" creationId="{3B5F2428-A663-4FB4-AF23-766591C01BDC}"/>
          </ac:spMkLst>
        </pc:spChg>
        <pc:spChg chg="del mod">
          <ac:chgData name="Daniele, L.M. (Laura)" userId="fd7970a2-7a0c-4b70-8263-dcc64c0076cf" providerId="ADAL" clId="{2E30AC29-01AD-49FF-A187-E210449B43FC}" dt="2020-06-22T14:56:18.944" v="643" actId="478"/>
          <ac:spMkLst>
            <pc:docMk/>
            <pc:sldMk cId="2567963221" sldId="367"/>
            <ac:spMk id="21" creationId="{3B5F2428-A663-4FB4-AF23-766591C01BDC}"/>
          </ac:spMkLst>
        </pc:spChg>
        <pc:spChg chg="mod">
          <ac:chgData name="Daniele, L.M. (Laura)" userId="fd7970a2-7a0c-4b70-8263-dcc64c0076cf" providerId="ADAL" clId="{2E30AC29-01AD-49FF-A187-E210449B43FC}" dt="2020-06-22T15:12:56.815" v="930" actId="1036"/>
          <ac:spMkLst>
            <pc:docMk/>
            <pc:sldMk cId="2567963221" sldId="367"/>
            <ac:spMk id="22" creationId="{3B5F2428-A663-4FB4-AF23-766591C01BDC}"/>
          </ac:spMkLst>
        </pc:spChg>
        <pc:spChg chg="del mod">
          <ac:chgData name="Daniele, L.M. (Laura)" userId="fd7970a2-7a0c-4b70-8263-dcc64c0076cf" providerId="ADAL" clId="{2E30AC29-01AD-49FF-A187-E210449B43FC}" dt="2020-06-22T14:56:14.140" v="641" actId="478"/>
          <ac:spMkLst>
            <pc:docMk/>
            <pc:sldMk cId="2567963221" sldId="367"/>
            <ac:spMk id="28" creationId="{00000000-0000-0000-0000-000000000000}"/>
          </ac:spMkLst>
        </pc:spChg>
        <pc:spChg chg="mod">
          <ac:chgData name="Daniele, L.M. (Laura)" userId="fd7970a2-7a0c-4b70-8263-dcc64c0076cf" providerId="ADAL" clId="{2E30AC29-01AD-49FF-A187-E210449B43FC}" dt="2020-06-22T15:12:56.815" v="930" actId="1036"/>
          <ac:spMkLst>
            <pc:docMk/>
            <pc:sldMk cId="2567963221" sldId="367"/>
            <ac:spMk id="30" creationId="{3B5F2428-A663-4FB4-AF23-766591C01BDC}"/>
          </ac:spMkLst>
        </pc:spChg>
        <pc:spChg chg="mod">
          <ac:chgData name="Daniele, L.M. (Laura)" userId="fd7970a2-7a0c-4b70-8263-dcc64c0076cf" providerId="ADAL" clId="{2E30AC29-01AD-49FF-A187-E210449B43FC}" dt="2020-06-22T15:12:56.815" v="930" actId="1036"/>
          <ac:spMkLst>
            <pc:docMk/>
            <pc:sldMk cId="2567963221" sldId="367"/>
            <ac:spMk id="31" creationId="{3B5F2428-A663-4FB4-AF23-766591C01BDC}"/>
          </ac:spMkLst>
        </pc:spChg>
        <pc:spChg chg="add del mod">
          <ac:chgData name="Daniele, L.M. (Laura)" userId="fd7970a2-7a0c-4b70-8263-dcc64c0076cf" providerId="ADAL" clId="{2E30AC29-01AD-49FF-A187-E210449B43FC}" dt="2020-06-22T15:01:14.139" v="762"/>
          <ac:spMkLst>
            <pc:docMk/>
            <pc:sldMk cId="2567963221" sldId="367"/>
            <ac:spMk id="32" creationId="{60EA1E44-AE8A-4D39-AB5F-42167004F8EA}"/>
          </ac:spMkLst>
        </pc:spChg>
        <pc:spChg chg="add del mod">
          <ac:chgData name="Daniele, L.M. (Laura)" userId="fd7970a2-7a0c-4b70-8263-dcc64c0076cf" providerId="ADAL" clId="{2E30AC29-01AD-49FF-A187-E210449B43FC}" dt="2020-06-22T15:01:54.420" v="770" actId="478"/>
          <ac:spMkLst>
            <pc:docMk/>
            <pc:sldMk cId="2567963221" sldId="367"/>
            <ac:spMk id="33" creationId="{CDA610A2-BB05-4B89-8849-50EA689095F1}"/>
          </ac:spMkLst>
        </pc:spChg>
        <pc:spChg chg="add del mod">
          <ac:chgData name="Daniele, L.M. (Laura)" userId="fd7970a2-7a0c-4b70-8263-dcc64c0076cf" providerId="ADAL" clId="{2E30AC29-01AD-49FF-A187-E210449B43FC}" dt="2020-06-22T15:01:25.543" v="765" actId="478"/>
          <ac:spMkLst>
            <pc:docMk/>
            <pc:sldMk cId="2567963221" sldId="367"/>
            <ac:spMk id="34" creationId="{2B8D79F7-12E3-4153-8559-C7E3AFF98259}"/>
          </ac:spMkLst>
        </pc:spChg>
        <pc:spChg chg="add mod">
          <ac:chgData name="Daniele, L.M. (Laura)" userId="fd7970a2-7a0c-4b70-8263-dcc64c0076cf" providerId="ADAL" clId="{2E30AC29-01AD-49FF-A187-E210449B43FC}" dt="2020-06-22T15:12:56.815" v="930" actId="1036"/>
          <ac:spMkLst>
            <pc:docMk/>
            <pc:sldMk cId="2567963221" sldId="367"/>
            <ac:spMk id="35" creationId="{43F2C889-45D6-4E24-9707-3E7883D80F2F}"/>
          </ac:spMkLst>
        </pc:spChg>
        <pc:spChg chg="add mod">
          <ac:chgData name="Daniele, L.M. (Laura)" userId="fd7970a2-7a0c-4b70-8263-dcc64c0076cf" providerId="ADAL" clId="{2E30AC29-01AD-49FF-A187-E210449B43FC}" dt="2020-06-22T15:12:56.815" v="930" actId="1036"/>
          <ac:spMkLst>
            <pc:docMk/>
            <pc:sldMk cId="2567963221" sldId="367"/>
            <ac:spMk id="36" creationId="{3F384911-7CE1-4B51-BF51-7E43D190D03A}"/>
          </ac:spMkLst>
        </pc:spChg>
        <pc:grpChg chg="del">
          <ac:chgData name="Daniele, L.M. (Laura)" userId="fd7970a2-7a0c-4b70-8263-dcc64c0076cf" providerId="ADAL" clId="{2E30AC29-01AD-49FF-A187-E210449B43FC}" dt="2020-06-22T14:54:27.663" v="630" actId="478"/>
          <ac:grpSpMkLst>
            <pc:docMk/>
            <pc:sldMk cId="2567963221" sldId="367"/>
            <ac:grpSpMk id="23" creationId="{14E48010-362D-4F7B-81F1-B234BC46F8C6}"/>
          </ac:grpSpMkLst>
        </pc:grpChg>
        <pc:picChg chg="mod">
          <ac:chgData name="Daniele, L.M. (Laura)" userId="fd7970a2-7a0c-4b70-8263-dcc64c0076cf" providerId="ADAL" clId="{2E30AC29-01AD-49FF-A187-E210449B43FC}" dt="2020-06-22T15:12:56.815" v="930" actId="1036"/>
          <ac:picMkLst>
            <pc:docMk/>
            <pc:sldMk cId="2567963221" sldId="367"/>
            <ac:picMk id="11" creationId="{263E1EA3-4168-446D-9A16-FB2BDF76383A}"/>
          </ac:picMkLst>
        </pc:picChg>
        <pc:picChg chg="add">
          <ac:chgData name="Daniele, L.M. (Laura)" userId="fd7970a2-7a0c-4b70-8263-dcc64c0076cf" providerId="ADAL" clId="{2E30AC29-01AD-49FF-A187-E210449B43FC}" dt="2020-06-22T14:55:13.494" v="638"/>
          <ac:picMkLst>
            <pc:docMk/>
            <pc:sldMk cId="2567963221" sldId="367"/>
            <ac:picMk id="29" creationId="{B7121B6F-4FBA-4CD2-96D7-DD188F861C0A}"/>
          </ac:picMkLst>
        </pc:picChg>
        <pc:picChg chg="del">
          <ac:chgData name="Daniele, L.M. (Laura)" userId="fd7970a2-7a0c-4b70-8263-dcc64c0076cf" providerId="ADAL" clId="{2E30AC29-01AD-49FF-A187-E210449B43FC}" dt="2020-06-22T14:54:59.678" v="636" actId="478"/>
          <ac:picMkLst>
            <pc:docMk/>
            <pc:sldMk cId="2567963221" sldId="367"/>
            <ac:picMk id="41" creationId="{2D2FCBF3-BE0C-4351-8116-69160F3956C9}"/>
          </ac:picMkLst>
        </pc:picChg>
        <pc:cxnChg chg="del">
          <ac:chgData name="Daniele, L.M. (Laura)" userId="fd7970a2-7a0c-4b70-8263-dcc64c0076cf" providerId="ADAL" clId="{2E30AC29-01AD-49FF-A187-E210449B43FC}" dt="2020-06-22T14:59:26.856" v="715" actId="478"/>
          <ac:cxnSpMkLst>
            <pc:docMk/>
            <pc:sldMk cId="2567963221" sldId="367"/>
            <ac:cxnSpMk id="9" creationId="{00000000-0000-0000-0000-000000000000}"/>
          </ac:cxnSpMkLst>
        </pc:cxnChg>
        <pc:cxnChg chg="mod">
          <ac:chgData name="Daniele, L.M. (Laura)" userId="fd7970a2-7a0c-4b70-8263-dcc64c0076cf" providerId="ADAL" clId="{2E30AC29-01AD-49FF-A187-E210449B43FC}" dt="2020-06-22T15:12:56.815" v="930" actId="1036"/>
          <ac:cxnSpMkLst>
            <pc:docMk/>
            <pc:sldMk cId="2567963221" sldId="367"/>
            <ac:cxnSpMk id="40" creationId="{00000000-0000-0000-0000-000000000000}"/>
          </ac:cxnSpMkLst>
        </pc:cxnChg>
      </pc:sldChg>
      <pc:sldChg chg="addSp delSp modSp add">
        <pc:chgData name="Daniele, L.M. (Laura)" userId="fd7970a2-7a0c-4b70-8263-dcc64c0076cf" providerId="ADAL" clId="{2E30AC29-01AD-49FF-A187-E210449B43FC}" dt="2020-06-22T15:15:31.902" v="948" actId="1076"/>
        <pc:sldMkLst>
          <pc:docMk/>
          <pc:sldMk cId="1970804048" sldId="368"/>
        </pc:sldMkLst>
        <pc:spChg chg="mod">
          <ac:chgData name="Daniele, L.M. (Laura)" userId="fd7970a2-7a0c-4b70-8263-dcc64c0076cf" providerId="ADAL" clId="{2E30AC29-01AD-49FF-A187-E210449B43FC}" dt="2020-06-22T15:14:27.644" v="939" actId="1076"/>
          <ac:spMkLst>
            <pc:docMk/>
            <pc:sldMk cId="1970804048" sldId="368"/>
            <ac:spMk id="11" creationId="{66BA3C99-C58C-4C61-B3C3-EEA308AC1992}"/>
          </ac:spMkLst>
        </pc:spChg>
        <pc:spChg chg="add del mod">
          <ac:chgData name="Daniele, L.M. (Laura)" userId="fd7970a2-7a0c-4b70-8263-dcc64c0076cf" providerId="ADAL" clId="{2E30AC29-01AD-49FF-A187-E210449B43FC}" dt="2020-06-22T15:07:16.009" v="804"/>
          <ac:spMkLst>
            <pc:docMk/>
            <pc:sldMk cId="1970804048" sldId="368"/>
            <ac:spMk id="12" creationId="{5C322500-9745-4F2D-910C-BEA69CCFC056}"/>
          </ac:spMkLst>
        </pc:spChg>
        <pc:spChg chg="add mod">
          <ac:chgData name="Daniele, L.M. (Laura)" userId="fd7970a2-7a0c-4b70-8263-dcc64c0076cf" providerId="ADAL" clId="{2E30AC29-01AD-49FF-A187-E210449B43FC}" dt="2020-06-22T15:15:31.902" v="948" actId="1076"/>
          <ac:spMkLst>
            <pc:docMk/>
            <pc:sldMk cId="1970804048" sldId="368"/>
            <ac:spMk id="13" creationId="{9C78AA8D-886D-4CAF-9571-656A08B90672}"/>
          </ac:spMkLst>
        </pc:spChg>
        <pc:spChg chg="add del">
          <ac:chgData name="Daniele, L.M. (Laura)" userId="fd7970a2-7a0c-4b70-8263-dcc64c0076cf" providerId="ADAL" clId="{2E30AC29-01AD-49FF-A187-E210449B43FC}" dt="2020-06-22T15:07:41.530" v="812"/>
          <ac:spMkLst>
            <pc:docMk/>
            <pc:sldMk cId="1970804048" sldId="368"/>
            <ac:spMk id="14" creationId="{0A99CA8D-4422-4891-8890-10409CA56BBA}"/>
          </ac:spMkLst>
        </pc:spChg>
        <pc:spChg chg="add mod">
          <ac:chgData name="Daniele, L.M. (Laura)" userId="fd7970a2-7a0c-4b70-8263-dcc64c0076cf" providerId="ADAL" clId="{2E30AC29-01AD-49FF-A187-E210449B43FC}" dt="2020-06-22T15:15:31.220" v="947" actId="1076"/>
          <ac:spMkLst>
            <pc:docMk/>
            <pc:sldMk cId="1970804048" sldId="368"/>
            <ac:spMk id="15" creationId="{87BE5CCB-98D0-4C26-8AE7-9B2C254ABF9D}"/>
          </ac:spMkLst>
        </pc:spChg>
        <pc:spChg chg="add mod ord">
          <ac:chgData name="Daniele, L.M. (Laura)" userId="fd7970a2-7a0c-4b70-8263-dcc64c0076cf" providerId="ADAL" clId="{2E30AC29-01AD-49FF-A187-E210449B43FC}" dt="2020-06-22T15:14:10.680" v="937" actId="1076"/>
          <ac:spMkLst>
            <pc:docMk/>
            <pc:sldMk cId="1970804048" sldId="368"/>
            <ac:spMk id="16" creationId="{0BA9536A-1928-40EA-8719-A61BF54ED0D2}"/>
          </ac:spMkLst>
        </pc:spChg>
        <pc:spChg chg="mod">
          <ac:chgData name="Daniele, L.M. (Laura)" userId="fd7970a2-7a0c-4b70-8263-dcc64c0076cf" providerId="ADAL" clId="{2E30AC29-01AD-49FF-A187-E210449B43FC}" dt="2020-06-22T15:14:10.680" v="937" actId="1076"/>
          <ac:spMkLst>
            <pc:docMk/>
            <pc:sldMk cId="1970804048" sldId="368"/>
            <ac:spMk id="19" creationId="{66BA3C99-C58C-4C61-B3C3-EEA308AC1992}"/>
          </ac:spMkLst>
        </pc:spChg>
        <pc:spChg chg="add del mod">
          <ac:chgData name="Daniele, L.M. (Laura)" userId="fd7970a2-7a0c-4b70-8263-dcc64c0076cf" providerId="ADAL" clId="{2E30AC29-01AD-49FF-A187-E210449B43FC}" dt="2020-06-22T15:10:21.086" v="884" actId="478"/>
          <ac:spMkLst>
            <pc:docMk/>
            <pc:sldMk cId="1970804048" sldId="368"/>
            <ac:spMk id="20" creationId="{66BA3C99-C58C-4C61-B3C3-EEA308AC1992}"/>
          </ac:spMkLst>
        </pc:spChg>
        <pc:spChg chg="add del">
          <ac:chgData name="Daniele, L.M. (Laura)" userId="fd7970a2-7a0c-4b70-8263-dcc64c0076cf" providerId="ADAL" clId="{2E30AC29-01AD-49FF-A187-E210449B43FC}" dt="2020-06-22T15:07:52.474" v="816" actId="478"/>
          <ac:spMkLst>
            <pc:docMk/>
            <pc:sldMk cId="1970804048" sldId="368"/>
            <ac:spMk id="22" creationId="{CDA610A2-BB05-4B89-8849-50EA689095F1}"/>
          </ac:spMkLst>
        </pc:spChg>
        <pc:spChg chg="add del mod">
          <ac:chgData name="Daniele, L.M. (Laura)" userId="fd7970a2-7a0c-4b70-8263-dcc64c0076cf" providerId="ADAL" clId="{2E30AC29-01AD-49FF-A187-E210449B43FC}" dt="2020-06-22T15:07:24.783" v="808" actId="478"/>
          <ac:spMkLst>
            <pc:docMk/>
            <pc:sldMk cId="1970804048" sldId="368"/>
            <ac:spMk id="23" creationId="{CDA610A2-BB05-4B89-8849-50EA689095F1}"/>
          </ac:spMkLst>
        </pc:spChg>
        <pc:spChg chg="del">
          <ac:chgData name="Daniele, L.M. (Laura)" userId="fd7970a2-7a0c-4b70-8263-dcc64c0076cf" providerId="ADAL" clId="{2E30AC29-01AD-49FF-A187-E210449B43FC}" dt="2020-06-22T15:10:24.202" v="885" actId="478"/>
          <ac:spMkLst>
            <pc:docMk/>
            <pc:sldMk cId="1970804048" sldId="368"/>
            <ac:spMk id="26" creationId="{3B5F2428-A663-4FB4-AF23-766591C01BDC}"/>
          </ac:spMkLst>
        </pc:spChg>
        <pc:picChg chg="del">
          <ac:chgData name="Daniele, L.M. (Laura)" userId="fd7970a2-7a0c-4b70-8263-dcc64c0076cf" providerId="ADAL" clId="{2E30AC29-01AD-49FF-A187-E210449B43FC}" dt="2020-06-22T15:10:28.581" v="887" actId="478"/>
          <ac:picMkLst>
            <pc:docMk/>
            <pc:sldMk cId="1970804048" sldId="368"/>
            <ac:picMk id="7" creationId="{2D2FCBF3-BE0C-4351-8116-69160F3956C9}"/>
          </ac:picMkLst>
        </pc:picChg>
        <pc:picChg chg="add">
          <ac:chgData name="Daniele, L.M. (Laura)" userId="fd7970a2-7a0c-4b70-8263-dcc64c0076cf" providerId="ADAL" clId="{2E30AC29-01AD-49FF-A187-E210449B43FC}" dt="2020-06-22T15:10:37.425" v="888"/>
          <ac:picMkLst>
            <pc:docMk/>
            <pc:sldMk cId="1970804048" sldId="368"/>
            <ac:picMk id="17" creationId="{D29F17DD-6C73-4A0A-9094-B5DFAEC3BF61}"/>
          </ac:picMkLst>
        </pc:picChg>
      </pc:sldChg>
      <pc:sldChg chg="del">
        <pc:chgData name="Daniele, L.M. (Laura)" userId="fd7970a2-7a0c-4b70-8263-dcc64c0076cf" providerId="ADAL" clId="{2E30AC29-01AD-49FF-A187-E210449B43FC}" dt="2020-06-22T14:00:57.162" v="254" actId="2696"/>
        <pc:sldMkLst>
          <pc:docMk/>
          <pc:sldMk cId="2018758032" sldId="368"/>
        </pc:sldMkLst>
      </pc:sldChg>
      <pc:sldChg chg="del">
        <pc:chgData name="Daniele, L.M. (Laura)" userId="fd7970a2-7a0c-4b70-8263-dcc64c0076cf" providerId="ADAL" clId="{2E30AC29-01AD-49FF-A187-E210449B43FC}" dt="2020-06-22T14:30:35.516" v="466" actId="2696"/>
        <pc:sldMkLst>
          <pc:docMk/>
          <pc:sldMk cId="1689786166" sldId="370"/>
        </pc:sldMkLst>
      </pc:sldChg>
      <pc:sldChg chg="addSp delSp modSp add ord">
        <pc:chgData name="Daniele, L.M. (Laura)" userId="fd7970a2-7a0c-4b70-8263-dcc64c0076cf" providerId="ADAL" clId="{2E30AC29-01AD-49FF-A187-E210449B43FC}" dt="2020-06-24T09:18:26.323" v="969" actId="14100"/>
        <pc:sldMkLst>
          <pc:docMk/>
          <pc:sldMk cId="2539712533" sldId="370"/>
        </pc:sldMkLst>
        <pc:spChg chg="mod">
          <ac:chgData name="Daniele, L.M. (Laura)" userId="fd7970a2-7a0c-4b70-8263-dcc64c0076cf" providerId="ADAL" clId="{2E30AC29-01AD-49FF-A187-E210449B43FC}" dt="2020-06-24T09:18:26.323" v="969" actId="14100"/>
          <ac:spMkLst>
            <pc:docMk/>
            <pc:sldMk cId="2539712533" sldId="370"/>
            <ac:spMk id="6" creationId="{00000000-0000-0000-0000-000000000000}"/>
          </ac:spMkLst>
        </pc:spChg>
        <pc:picChg chg="del">
          <ac:chgData name="Daniele, L.M. (Laura)" userId="fd7970a2-7a0c-4b70-8263-dcc64c0076cf" providerId="ADAL" clId="{2E30AC29-01AD-49FF-A187-E210449B43FC}" dt="2020-06-24T09:17:49.650" v="952" actId="478"/>
          <ac:picMkLst>
            <pc:docMk/>
            <pc:sldMk cId="2539712533" sldId="370"/>
            <ac:picMk id="7" creationId="{55F0630C-1AB6-4679-AC05-E97488F9F2FC}"/>
          </ac:picMkLst>
        </pc:picChg>
        <pc:picChg chg="add">
          <ac:chgData name="Daniele, L.M. (Laura)" userId="fd7970a2-7a0c-4b70-8263-dcc64c0076cf" providerId="ADAL" clId="{2E30AC29-01AD-49FF-A187-E210449B43FC}" dt="2020-06-24T09:17:47.428" v="951"/>
          <ac:picMkLst>
            <pc:docMk/>
            <pc:sldMk cId="2539712533" sldId="370"/>
            <ac:picMk id="8" creationId="{F762175E-9FFA-4067-956D-26E20DACDBFB}"/>
          </ac:picMkLst>
        </pc:picChg>
      </pc:sldChg>
      <pc:sldChg chg="addSp delSp modSp add">
        <pc:chgData name="Daniele, L.M. (Laura)" userId="fd7970a2-7a0c-4b70-8263-dcc64c0076cf" providerId="ADAL" clId="{2E30AC29-01AD-49FF-A187-E210449B43FC}" dt="2020-06-24T09:23:37.318" v="1031" actId="20577"/>
        <pc:sldMkLst>
          <pc:docMk/>
          <pc:sldMk cId="1655090370" sldId="371"/>
        </pc:sldMkLst>
        <pc:spChg chg="mod">
          <ac:chgData name="Daniele, L.M. (Laura)" userId="fd7970a2-7a0c-4b70-8263-dcc64c0076cf" providerId="ADAL" clId="{2E30AC29-01AD-49FF-A187-E210449B43FC}" dt="2020-06-24T09:23:37.318" v="1031" actId="20577"/>
          <ac:spMkLst>
            <pc:docMk/>
            <pc:sldMk cId="1655090370" sldId="371"/>
            <ac:spMk id="6" creationId="{00000000-0000-0000-0000-000000000000}"/>
          </ac:spMkLst>
        </pc:spChg>
        <pc:picChg chg="del">
          <ac:chgData name="Daniele, L.M. (Laura)" userId="fd7970a2-7a0c-4b70-8263-dcc64c0076cf" providerId="ADAL" clId="{2E30AC29-01AD-49FF-A187-E210449B43FC}" dt="2020-06-24T09:19:13.416" v="970" actId="478"/>
          <ac:picMkLst>
            <pc:docMk/>
            <pc:sldMk cId="1655090370" sldId="371"/>
            <ac:picMk id="7" creationId="{55F0630C-1AB6-4679-AC05-E97488F9F2FC}"/>
          </ac:picMkLst>
        </pc:picChg>
        <pc:picChg chg="add">
          <ac:chgData name="Daniele, L.M. (Laura)" userId="fd7970a2-7a0c-4b70-8263-dcc64c0076cf" providerId="ADAL" clId="{2E30AC29-01AD-49FF-A187-E210449B43FC}" dt="2020-06-24T09:19:15.220" v="971"/>
          <ac:picMkLst>
            <pc:docMk/>
            <pc:sldMk cId="1655090370" sldId="371"/>
            <ac:picMk id="8" creationId="{9695A4B1-BC30-45CA-AF6C-C3FDE6E54BF4}"/>
          </ac:picMkLst>
        </pc:picChg>
      </pc:sldChg>
      <pc:sldChg chg="del">
        <pc:chgData name="Daniele, L.M. (Laura)" userId="fd7970a2-7a0c-4b70-8263-dcc64c0076cf" providerId="ADAL" clId="{2E30AC29-01AD-49FF-A187-E210449B43FC}" dt="2020-06-22T14:30:36.139" v="467" actId="2696"/>
        <pc:sldMkLst>
          <pc:docMk/>
          <pc:sldMk cId="3142690285" sldId="371"/>
        </pc:sldMkLst>
      </pc:sldChg>
      <pc:sldChg chg="add">
        <pc:chgData name="Daniele, L.M. (Laura)" userId="fd7970a2-7a0c-4b70-8263-dcc64c0076cf" providerId="ADAL" clId="{2E30AC29-01AD-49FF-A187-E210449B43FC}" dt="2020-06-24T09:25:28.525" v="1034"/>
        <pc:sldMkLst>
          <pc:docMk/>
          <pc:sldMk cId="1152350143" sldId="372"/>
        </pc:sldMkLst>
      </pc:sldChg>
      <pc:sldChg chg="add ord">
        <pc:chgData name="Daniele, L.M. (Laura)" userId="fd7970a2-7a0c-4b70-8263-dcc64c0076cf" providerId="ADAL" clId="{2E30AC29-01AD-49FF-A187-E210449B43FC}" dt="2020-06-24T09:26:38.584" v="1038"/>
        <pc:sldMkLst>
          <pc:docMk/>
          <pc:sldMk cId="2986085715" sldId="373"/>
        </pc:sldMkLst>
      </pc:sldChg>
      <pc:sldChg chg="add del">
        <pc:chgData name="Daniele, L.M. (Laura)" userId="fd7970a2-7a0c-4b70-8263-dcc64c0076cf" providerId="ADAL" clId="{2E30AC29-01AD-49FF-A187-E210449B43FC}" dt="2020-06-24T09:29:46.176" v="1047" actId="2696"/>
        <pc:sldMkLst>
          <pc:docMk/>
          <pc:sldMk cId="4159816920" sldId="374"/>
        </pc:sldMkLst>
      </pc:sldChg>
      <pc:sldChg chg="addSp delSp modSp add">
        <pc:chgData name="Daniele, L.M. (Laura)" userId="fd7970a2-7a0c-4b70-8263-dcc64c0076cf" providerId="ADAL" clId="{2E30AC29-01AD-49FF-A187-E210449B43FC}" dt="2020-06-24T09:33:44.287" v="1071" actId="478"/>
        <pc:sldMkLst>
          <pc:docMk/>
          <pc:sldMk cId="3536507459" sldId="375"/>
        </pc:sldMkLst>
        <pc:spChg chg="mod">
          <ac:chgData name="Daniele, L.M. (Laura)" userId="fd7970a2-7a0c-4b70-8263-dcc64c0076cf" providerId="ADAL" clId="{2E30AC29-01AD-49FF-A187-E210449B43FC}" dt="2020-06-24T09:31:50.964" v="1055" actId="20577"/>
          <ac:spMkLst>
            <pc:docMk/>
            <pc:sldMk cId="3536507459" sldId="375"/>
            <ac:spMk id="72" creationId="{00000000-0000-0000-0000-000000000000}"/>
          </ac:spMkLst>
        </pc:spChg>
        <pc:spChg chg="mod">
          <ac:chgData name="Daniele, L.M. (Laura)" userId="fd7970a2-7a0c-4b70-8263-dcc64c0076cf" providerId="ADAL" clId="{2E30AC29-01AD-49FF-A187-E210449B43FC}" dt="2020-06-24T09:31:12.346" v="1052" actId="20577"/>
          <ac:spMkLst>
            <pc:docMk/>
            <pc:sldMk cId="3536507459" sldId="375"/>
            <ac:spMk id="75" creationId="{00000000-0000-0000-0000-000000000000}"/>
          </ac:spMkLst>
        </pc:spChg>
        <pc:spChg chg="mod">
          <ac:chgData name="Daniele, L.M. (Laura)" userId="fd7970a2-7a0c-4b70-8263-dcc64c0076cf" providerId="ADAL" clId="{2E30AC29-01AD-49FF-A187-E210449B43FC}" dt="2020-06-24T09:31:16.725" v="1054" actId="20577"/>
          <ac:spMkLst>
            <pc:docMk/>
            <pc:sldMk cId="3536507459" sldId="375"/>
            <ac:spMk id="76" creationId="{00000000-0000-0000-0000-000000000000}"/>
          </ac:spMkLst>
        </pc:spChg>
        <pc:spChg chg="mod">
          <ac:chgData name="Daniele, L.M. (Laura)" userId="fd7970a2-7a0c-4b70-8263-dcc64c0076cf" providerId="ADAL" clId="{2E30AC29-01AD-49FF-A187-E210449B43FC}" dt="2020-06-24T09:30:43.812" v="1051" actId="20577"/>
          <ac:spMkLst>
            <pc:docMk/>
            <pc:sldMk cId="3536507459" sldId="375"/>
            <ac:spMk id="77" creationId="{00000000-0000-0000-0000-000000000000}"/>
          </ac:spMkLst>
        </pc:spChg>
        <pc:picChg chg="del mod">
          <ac:chgData name="Daniele, L.M. (Laura)" userId="fd7970a2-7a0c-4b70-8263-dcc64c0076cf" providerId="ADAL" clId="{2E30AC29-01AD-49FF-A187-E210449B43FC}" dt="2020-06-24T09:33:44.287" v="1071" actId="478"/>
          <ac:picMkLst>
            <pc:docMk/>
            <pc:sldMk cId="3536507459" sldId="375"/>
            <ac:picMk id="5" creationId="{64FCBC55-DEA8-4DE6-9D47-80E1A8967A7D}"/>
          </ac:picMkLst>
        </pc:picChg>
        <pc:picChg chg="add">
          <ac:chgData name="Daniele, L.M. (Laura)" userId="fd7970a2-7a0c-4b70-8263-dcc64c0076cf" providerId="ADAL" clId="{2E30AC29-01AD-49FF-A187-E210449B43FC}" dt="2020-06-24T09:30:22.902" v="1049"/>
          <ac:picMkLst>
            <pc:docMk/>
            <pc:sldMk cId="3536507459" sldId="375"/>
            <ac:picMk id="28" creationId="{9A4AB848-2834-48B7-B736-E110582A1C28}"/>
          </ac:picMkLst>
        </pc:picChg>
      </pc:sldChg>
      <pc:sldChg chg="addSp delSp modSp add">
        <pc:chgData name="Daniele, L.M. (Laura)" userId="fd7970a2-7a0c-4b70-8263-dcc64c0076cf" providerId="ADAL" clId="{2E30AC29-01AD-49FF-A187-E210449B43FC}" dt="2020-06-24T09:33:46.988" v="1072"/>
        <pc:sldMkLst>
          <pc:docMk/>
          <pc:sldMk cId="2862939164" sldId="376"/>
        </pc:sldMkLst>
        <pc:spChg chg="mod">
          <ac:chgData name="Daniele, L.M. (Laura)" userId="fd7970a2-7a0c-4b70-8263-dcc64c0076cf" providerId="ADAL" clId="{2E30AC29-01AD-49FF-A187-E210449B43FC}" dt="2020-06-24T09:33:31.589" v="1068" actId="20577"/>
          <ac:spMkLst>
            <pc:docMk/>
            <pc:sldMk cId="2862939164" sldId="376"/>
            <ac:spMk id="31" creationId="{00000000-0000-0000-0000-000000000000}"/>
          </ac:spMkLst>
        </pc:spChg>
        <pc:spChg chg="mod">
          <ac:chgData name="Daniele, L.M. (Laura)" userId="fd7970a2-7a0c-4b70-8263-dcc64c0076cf" providerId="ADAL" clId="{2E30AC29-01AD-49FF-A187-E210449B43FC}" dt="2020-06-24T09:32:58.093" v="1065" actId="20577"/>
          <ac:spMkLst>
            <pc:docMk/>
            <pc:sldMk cId="2862939164" sldId="376"/>
            <ac:spMk id="39" creationId="{00000000-0000-0000-0000-000000000000}"/>
          </ac:spMkLst>
        </pc:spChg>
        <pc:picChg chg="add">
          <ac:chgData name="Daniele, L.M. (Laura)" userId="fd7970a2-7a0c-4b70-8263-dcc64c0076cf" providerId="ADAL" clId="{2E30AC29-01AD-49FF-A187-E210449B43FC}" dt="2020-06-24T09:33:46.988" v="1072"/>
          <ac:picMkLst>
            <pc:docMk/>
            <pc:sldMk cId="2862939164" sldId="376"/>
            <ac:picMk id="34" creationId="{D9553DC7-AF32-4E6C-9553-113F4E398721}"/>
          </ac:picMkLst>
        </pc:picChg>
        <pc:picChg chg="del">
          <ac:chgData name="Daniele, L.M. (Laura)" userId="fd7970a2-7a0c-4b70-8263-dcc64c0076cf" providerId="ADAL" clId="{2E30AC29-01AD-49FF-A187-E210449B43FC}" dt="2020-06-24T09:33:39.175" v="1069" actId="478"/>
          <ac:picMkLst>
            <pc:docMk/>
            <pc:sldMk cId="2862939164" sldId="376"/>
            <ac:picMk id="35" creationId="{162A4962-9871-4F39-A010-4931F57C406B}"/>
          </ac:picMkLst>
        </pc:picChg>
      </pc:sldChg>
      <pc:sldChg chg="addSp delSp modSp add">
        <pc:chgData name="Daniele, L.M. (Laura)" userId="fd7970a2-7a0c-4b70-8263-dcc64c0076cf" providerId="ADAL" clId="{2E30AC29-01AD-49FF-A187-E210449B43FC}" dt="2020-06-24T10:07:10.123" v="1580" actId="20577"/>
        <pc:sldMkLst>
          <pc:docMk/>
          <pc:sldMk cId="1862502639" sldId="377"/>
        </pc:sldMkLst>
        <pc:spChg chg="mod">
          <ac:chgData name="Daniele, L.M. (Laura)" userId="fd7970a2-7a0c-4b70-8263-dcc64c0076cf" providerId="ADAL" clId="{2E30AC29-01AD-49FF-A187-E210449B43FC}" dt="2020-06-24T10:07:10.123" v="1580" actId="20577"/>
          <ac:spMkLst>
            <pc:docMk/>
            <pc:sldMk cId="1862502639" sldId="377"/>
            <ac:spMk id="22" creationId="{00000000-0000-0000-0000-000000000000}"/>
          </ac:spMkLst>
        </pc:spChg>
        <pc:spChg chg="mod">
          <ac:chgData name="Daniele, L.M. (Laura)" userId="fd7970a2-7a0c-4b70-8263-dcc64c0076cf" providerId="ADAL" clId="{2E30AC29-01AD-49FF-A187-E210449B43FC}" dt="2020-06-24T09:34:51.631" v="1080" actId="20577"/>
          <ac:spMkLst>
            <pc:docMk/>
            <pc:sldMk cId="1862502639" sldId="377"/>
            <ac:spMk id="53" creationId="{00000000-0000-0000-0000-000000000000}"/>
          </ac:spMkLst>
        </pc:spChg>
        <pc:picChg chg="del">
          <ac:chgData name="Daniele, L.M. (Laura)" userId="fd7970a2-7a0c-4b70-8263-dcc64c0076cf" providerId="ADAL" clId="{2E30AC29-01AD-49FF-A187-E210449B43FC}" dt="2020-06-24T09:34:19.011" v="1075" actId="478"/>
          <ac:picMkLst>
            <pc:docMk/>
            <pc:sldMk cId="1862502639" sldId="377"/>
            <ac:picMk id="24" creationId="{AFB4AB7E-6483-44BF-BD26-678C7F27D308}"/>
          </ac:picMkLst>
        </pc:picChg>
        <pc:picChg chg="add">
          <ac:chgData name="Daniele, L.M. (Laura)" userId="fd7970a2-7a0c-4b70-8263-dcc64c0076cf" providerId="ADAL" clId="{2E30AC29-01AD-49FF-A187-E210449B43FC}" dt="2020-06-24T09:34:24.670" v="1076"/>
          <ac:picMkLst>
            <pc:docMk/>
            <pc:sldMk cId="1862502639" sldId="377"/>
            <ac:picMk id="33" creationId="{8CB1B8D8-FD70-412D-9E99-6D3665094E13}"/>
          </ac:picMkLst>
        </pc:picChg>
      </pc:sldChg>
      <pc:sldChg chg="del">
        <pc:chgData name="Daniele, L.M. (Laura)" userId="fd7970a2-7a0c-4b70-8263-dcc64c0076cf" providerId="ADAL" clId="{2E30AC29-01AD-49FF-A187-E210449B43FC}" dt="2020-06-24T11:35:12.233" v="3982" actId="2696"/>
        <pc:sldMkLst>
          <pc:docMk/>
          <pc:sldMk cId="1962837557" sldId="378"/>
        </pc:sldMkLst>
      </pc:sldChg>
      <pc:sldChg chg="del">
        <pc:chgData name="Daniele, L.M. (Laura)" userId="fd7970a2-7a0c-4b70-8263-dcc64c0076cf" providerId="ADAL" clId="{2E30AC29-01AD-49FF-A187-E210449B43FC}" dt="2020-06-24T11:50:31.752" v="4171" actId="2696"/>
        <pc:sldMkLst>
          <pc:docMk/>
          <pc:sldMk cId="2158472954" sldId="379"/>
        </pc:sldMkLst>
      </pc:sldChg>
      <pc:sldChg chg="addSp delSp modSp add ord">
        <pc:chgData name="Daniele, L.M. (Laura)" userId="fd7970a2-7a0c-4b70-8263-dcc64c0076cf" providerId="ADAL" clId="{2E30AC29-01AD-49FF-A187-E210449B43FC}" dt="2020-06-24T12:28:23.487" v="4636" actId="403"/>
        <pc:sldMkLst>
          <pc:docMk/>
          <pc:sldMk cId="3405721985" sldId="381"/>
        </pc:sldMkLst>
        <pc:spChg chg="mod">
          <ac:chgData name="Daniele, L.M. (Laura)" userId="fd7970a2-7a0c-4b70-8263-dcc64c0076cf" providerId="ADAL" clId="{2E30AC29-01AD-49FF-A187-E210449B43FC}" dt="2020-06-24T11:46:25.434" v="4118" actId="20577"/>
          <ac:spMkLst>
            <pc:docMk/>
            <pc:sldMk cId="3405721985" sldId="381"/>
            <ac:spMk id="2" creationId="{35258151-2BDA-420A-B170-6C531CD4A7E6}"/>
          </ac:spMkLst>
        </pc:spChg>
        <pc:spChg chg="add mod">
          <ac:chgData name="Daniele, L.M. (Laura)" userId="fd7970a2-7a0c-4b70-8263-dcc64c0076cf" providerId="ADAL" clId="{2E30AC29-01AD-49FF-A187-E210449B43FC}" dt="2020-06-24T12:28:23.487" v="4636" actId="403"/>
          <ac:spMkLst>
            <pc:docMk/>
            <pc:sldMk cId="3405721985" sldId="381"/>
            <ac:spMk id="9" creationId="{CCBD97FC-976C-45E3-8375-D5799E91E75E}"/>
          </ac:spMkLst>
        </pc:spChg>
        <pc:spChg chg="mod">
          <ac:chgData name="Daniele, L.M. (Laura)" userId="fd7970a2-7a0c-4b70-8263-dcc64c0076cf" providerId="ADAL" clId="{2E30AC29-01AD-49FF-A187-E210449B43FC}" dt="2020-06-24T11:45:27.332" v="4107" actId="6549"/>
          <ac:spMkLst>
            <pc:docMk/>
            <pc:sldMk cId="3405721985" sldId="381"/>
            <ac:spMk id="10" creationId="{00000000-0000-0000-0000-000000000000}"/>
          </ac:spMkLst>
        </pc:spChg>
        <pc:picChg chg="add">
          <ac:chgData name="Daniele, L.M. (Laura)" userId="fd7970a2-7a0c-4b70-8263-dcc64c0076cf" providerId="ADAL" clId="{2E30AC29-01AD-49FF-A187-E210449B43FC}" dt="2020-06-24T11:45:02.222" v="4103"/>
          <ac:picMkLst>
            <pc:docMk/>
            <pc:sldMk cId="3405721985" sldId="381"/>
            <ac:picMk id="6" creationId="{4B647BB9-FB63-46A9-9A0A-014E6EDE5104}"/>
          </ac:picMkLst>
        </pc:picChg>
        <pc:picChg chg="del">
          <ac:chgData name="Daniele, L.M. (Laura)" userId="fd7970a2-7a0c-4b70-8263-dcc64c0076cf" providerId="ADAL" clId="{2E30AC29-01AD-49FF-A187-E210449B43FC}" dt="2020-06-24T11:45:01.848" v="4102" actId="478"/>
          <ac:picMkLst>
            <pc:docMk/>
            <pc:sldMk cId="3405721985" sldId="381"/>
            <ac:picMk id="7" creationId="{DB29DEA1-60D3-4CAB-AE85-E8979008548D}"/>
          </ac:picMkLst>
        </pc:picChg>
        <pc:picChg chg="add">
          <ac:chgData name="Daniele, L.M. (Laura)" userId="fd7970a2-7a0c-4b70-8263-dcc64c0076cf" providerId="ADAL" clId="{2E30AC29-01AD-49FF-A187-E210449B43FC}" dt="2020-06-24T11:45:08.162" v="4104"/>
          <ac:picMkLst>
            <pc:docMk/>
            <pc:sldMk cId="3405721985" sldId="381"/>
            <ac:picMk id="8" creationId="{89D99AF5-FD06-44AA-BB9F-C33F5BA2CBF2}"/>
          </ac:picMkLst>
        </pc:picChg>
      </pc:sldChg>
      <pc:sldChg chg="del">
        <pc:chgData name="Daniele, L.M. (Laura)" userId="fd7970a2-7a0c-4b70-8263-dcc64c0076cf" providerId="ADAL" clId="{2E30AC29-01AD-49FF-A187-E210449B43FC}" dt="2020-06-24T11:43:40.490" v="4095" actId="2696"/>
        <pc:sldMkLst>
          <pc:docMk/>
          <pc:sldMk cId="1852731312" sldId="383"/>
        </pc:sldMkLst>
      </pc:sldChg>
      <pc:sldChg chg="addSp modSp add ord">
        <pc:chgData name="Daniele, L.M. (Laura)" userId="fd7970a2-7a0c-4b70-8263-dcc64c0076cf" providerId="ADAL" clId="{2E30AC29-01AD-49FF-A187-E210449B43FC}" dt="2020-06-24T12:29:45.342" v="4659" actId="20577"/>
        <pc:sldMkLst>
          <pc:docMk/>
          <pc:sldMk cId="3147913272" sldId="384"/>
        </pc:sldMkLst>
        <pc:spChg chg="mod">
          <ac:chgData name="Daniele, L.M. (Laura)" userId="fd7970a2-7a0c-4b70-8263-dcc64c0076cf" providerId="ADAL" clId="{2E30AC29-01AD-49FF-A187-E210449B43FC}" dt="2020-06-24T11:58:34.714" v="4303" actId="20577"/>
          <ac:spMkLst>
            <pc:docMk/>
            <pc:sldMk cId="3147913272" sldId="384"/>
            <ac:spMk id="2" creationId="{00000000-0000-0000-0000-000000000000}"/>
          </ac:spMkLst>
        </pc:spChg>
        <pc:spChg chg="mod">
          <ac:chgData name="Daniele, L.M. (Laura)" userId="fd7970a2-7a0c-4b70-8263-dcc64c0076cf" providerId="ADAL" clId="{2E30AC29-01AD-49FF-A187-E210449B43FC}" dt="2020-06-24T12:29:45.342" v="4659" actId="20577"/>
          <ac:spMkLst>
            <pc:docMk/>
            <pc:sldMk cId="3147913272" sldId="384"/>
            <ac:spMk id="5" creationId="{00000000-0000-0000-0000-000000000000}"/>
          </ac:spMkLst>
        </pc:spChg>
        <pc:picChg chg="add">
          <ac:chgData name="Daniele, L.M. (Laura)" userId="fd7970a2-7a0c-4b70-8263-dcc64c0076cf" providerId="ADAL" clId="{2E30AC29-01AD-49FF-A187-E210449B43FC}" dt="2020-06-24T11:55:39.769" v="4273"/>
          <ac:picMkLst>
            <pc:docMk/>
            <pc:sldMk cId="3147913272" sldId="384"/>
            <ac:picMk id="107" creationId="{46D2AEEA-BF4A-4D06-B642-18A59C2730C5}"/>
          </ac:picMkLst>
        </pc:picChg>
        <pc:picChg chg="add">
          <ac:chgData name="Daniele, L.M. (Laura)" userId="fd7970a2-7a0c-4b70-8263-dcc64c0076cf" providerId="ADAL" clId="{2E30AC29-01AD-49FF-A187-E210449B43FC}" dt="2020-06-24T11:55:39.769" v="4273"/>
          <ac:picMkLst>
            <pc:docMk/>
            <pc:sldMk cId="3147913272" sldId="384"/>
            <ac:picMk id="108" creationId="{C063A020-DB91-4355-A918-CE0C3D2C18D9}"/>
          </ac:picMkLst>
        </pc:picChg>
      </pc:sldChg>
      <pc:sldChg chg="del">
        <pc:chgData name="Daniele, L.M. (Laura)" userId="fd7970a2-7a0c-4b70-8263-dcc64c0076cf" providerId="ADAL" clId="{2E30AC29-01AD-49FF-A187-E210449B43FC}" dt="2020-06-24T11:44:51.756" v="4101" actId="2696"/>
        <pc:sldMkLst>
          <pc:docMk/>
          <pc:sldMk cId="4014903802" sldId="384"/>
        </pc:sldMkLst>
      </pc:sldChg>
      <pc:sldChg chg="del">
        <pc:chgData name="Daniele, L.M. (Laura)" userId="fd7970a2-7a0c-4b70-8263-dcc64c0076cf" providerId="ADAL" clId="{2E30AC29-01AD-49FF-A187-E210449B43FC}" dt="2020-06-24T11:50:30.183" v="4170" actId="2696"/>
        <pc:sldMkLst>
          <pc:docMk/>
          <pc:sldMk cId="2138000111" sldId="385"/>
        </pc:sldMkLst>
      </pc:sldChg>
      <pc:sldChg chg="del">
        <pc:chgData name="Daniele, L.M. (Laura)" userId="fd7970a2-7a0c-4b70-8263-dcc64c0076cf" providerId="ADAL" clId="{2E30AC29-01AD-49FF-A187-E210449B43FC}" dt="2020-06-22T13:28:25.808" v="102" actId="2696"/>
        <pc:sldMkLst>
          <pc:docMk/>
          <pc:sldMk cId="3838318886" sldId="386"/>
        </pc:sldMkLst>
      </pc:sldChg>
      <pc:sldChg chg="del">
        <pc:chgData name="Daniele, L.M. (Laura)" userId="fd7970a2-7a0c-4b70-8263-dcc64c0076cf" providerId="ADAL" clId="{2E30AC29-01AD-49FF-A187-E210449B43FC}" dt="2020-06-22T13:28:32.459" v="104" actId="2696"/>
        <pc:sldMkLst>
          <pc:docMk/>
          <pc:sldMk cId="3907524559" sldId="387"/>
        </pc:sldMkLst>
      </pc:sldChg>
      <pc:sldChg chg="del">
        <pc:chgData name="Daniele, L.M. (Laura)" userId="fd7970a2-7a0c-4b70-8263-dcc64c0076cf" providerId="ADAL" clId="{2E30AC29-01AD-49FF-A187-E210449B43FC}" dt="2020-06-22T14:30:34.530" v="465" actId="2696"/>
        <pc:sldMkLst>
          <pc:docMk/>
          <pc:sldMk cId="1016425826" sldId="390"/>
        </pc:sldMkLst>
      </pc:sldChg>
      <pc:sldChg chg="del">
        <pc:chgData name="Daniele, L.M. (Laura)" userId="fd7970a2-7a0c-4b70-8263-dcc64c0076cf" providerId="ADAL" clId="{2E30AC29-01AD-49FF-A187-E210449B43FC}" dt="2020-06-22T13:28:27.014" v="103" actId="2696"/>
        <pc:sldMkLst>
          <pc:docMk/>
          <pc:sldMk cId="3729947378" sldId="391"/>
        </pc:sldMkLst>
      </pc:sldChg>
      <pc:sldChg chg="del">
        <pc:chgData name="Daniele, L.M. (Laura)" userId="fd7970a2-7a0c-4b70-8263-dcc64c0076cf" providerId="ADAL" clId="{2E30AC29-01AD-49FF-A187-E210449B43FC}" dt="2020-06-22T14:30:43.997" v="469" actId="2696"/>
        <pc:sldMkLst>
          <pc:docMk/>
          <pc:sldMk cId="4079506863" sldId="393"/>
        </pc:sldMkLst>
      </pc:sldChg>
      <pc:sldChg chg="addSp del">
        <pc:chgData name="Daniele, L.M. (Laura)" userId="fd7970a2-7a0c-4b70-8263-dcc64c0076cf" providerId="ADAL" clId="{2E30AC29-01AD-49FF-A187-E210449B43FC}" dt="2020-06-22T15:06:18.556" v="797" actId="2696"/>
        <pc:sldMkLst>
          <pc:docMk/>
          <pc:sldMk cId="3000624446" sldId="397"/>
        </pc:sldMkLst>
        <pc:picChg chg="add">
          <ac:chgData name="Daniele, L.M. (Laura)" userId="fd7970a2-7a0c-4b70-8263-dcc64c0076cf" providerId="ADAL" clId="{2E30AC29-01AD-49FF-A187-E210449B43FC}" dt="2020-06-22T14:55:09.296" v="637"/>
          <ac:picMkLst>
            <pc:docMk/>
            <pc:sldMk cId="3000624446" sldId="397"/>
            <ac:picMk id="9" creationId="{B8CA4829-CA48-447E-BCD8-D690E127348B}"/>
          </ac:picMkLst>
        </pc:picChg>
      </pc:sldChg>
      <pc:sldChg chg="del">
        <pc:chgData name="Daniele, L.M. (Laura)" userId="fd7970a2-7a0c-4b70-8263-dcc64c0076cf" providerId="ADAL" clId="{2E30AC29-01AD-49FF-A187-E210449B43FC}" dt="2020-06-24T11:54:12.768" v="4269" actId="2696"/>
        <pc:sldMkLst>
          <pc:docMk/>
          <pc:sldMk cId="1952874718" sldId="399"/>
        </pc:sldMkLst>
      </pc:sldChg>
      <pc:sldChg chg="del">
        <pc:chgData name="Daniele, L.M. (Laura)" userId="fd7970a2-7a0c-4b70-8263-dcc64c0076cf" providerId="ADAL" clId="{2E30AC29-01AD-49FF-A187-E210449B43FC}" dt="2020-06-24T11:55:26.361" v="4272" actId="2696"/>
        <pc:sldMkLst>
          <pc:docMk/>
          <pc:sldMk cId="1502353771" sldId="400"/>
        </pc:sldMkLst>
      </pc:sldChg>
      <pc:sldChg chg="del">
        <pc:chgData name="Daniele, L.M. (Laura)" userId="fd7970a2-7a0c-4b70-8263-dcc64c0076cf" providerId="ADAL" clId="{2E30AC29-01AD-49FF-A187-E210449B43FC}" dt="2020-06-22T14:06:00.687" v="331" actId="2696"/>
        <pc:sldMkLst>
          <pc:docMk/>
          <pc:sldMk cId="1015997824" sldId="404"/>
        </pc:sldMkLst>
      </pc:sldChg>
      <pc:sldChg chg="del">
        <pc:chgData name="Daniele, L.M. (Laura)" userId="fd7970a2-7a0c-4b70-8263-dcc64c0076cf" providerId="ADAL" clId="{2E30AC29-01AD-49FF-A187-E210449B43FC}" dt="2020-06-24T09:24:33.856" v="1032" actId="2696"/>
        <pc:sldMkLst>
          <pc:docMk/>
          <pc:sldMk cId="1563841559" sldId="405"/>
        </pc:sldMkLst>
      </pc:sldChg>
      <pc:sldChg chg="del">
        <pc:chgData name="Daniele, L.M. (Laura)" userId="fd7970a2-7a0c-4b70-8263-dcc64c0076cf" providerId="ADAL" clId="{2E30AC29-01AD-49FF-A187-E210449B43FC}" dt="2020-06-22T14:53:02.310" v="628" actId="2696"/>
        <pc:sldMkLst>
          <pc:docMk/>
          <pc:sldMk cId="2195283639" sldId="407"/>
        </pc:sldMkLst>
      </pc:sldChg>
      <pc:sldChg chg="addSp delSp modSp">
        <pc:chgData name="Daniele, L.M. (Laura)" userId="fd7970a2-7a0c-4b70-8263-dcc64c0076cf" providerId="ADAL" clId="{2E30AC29-01AD-49FF-A187-E210449B43FC}" dt="2020-06-24T09:29:34.571" v="1046" actId="1076"/>
        <pc:sldMkLst>
          <pc:docMk/>
          <pc:sldMk cId="2236319315" sldId="408"/>
        </pc:sldMkLst>
        <pc:picChg chg="del">
          <ac:chgData name="Daniele, L.M. (Laura)" userId="fd7970a2-7a0c-4b70-8263-dcc64c0076cf" providerId="ADAL" clId="{2E30AC29-01AD-49FF-A187-E210449B43FC}" dt="2020-06-24T09:28:23.632" v="1040" actId="478"/>
          <ac:picMkLst>
            <pc:docMk/>
            <pc:sldMk cId="2236319315" sldId="408"/>
            <ac:picMk id="5" creationId="{0B9391D8-637D-425A-A5AB-34FA8C52F07A}"/>
          </ac:picMkLst>
        </pc:picChg>
        <pc:picChg chg="add">
          <ac:chgData name="Daniele, L.M. (Laura)" userId="fd7970a2-7a0c-4b70-8263-dcc64c0076cf" providerId="ADAL" clId="{2E30AC29-01AD-49FF-A187-E210449B43FC}" dt="2020-06-24T09:28:21.687" v="1039"/>
          <ac:picMkLst>
            <pc:docMk/>
            <pc:sldMk cId="2236319315" sldId="408"/>
            <ac:picMk id="6" creationId="{E41AC519-F24D-496F-A6D5-AB416CBFD21A}"/>
          </ac:picMkLst>
        </pc:picChg>
        <pc:picChg chg="mod">
          <ac:chgData name="Daniele, L.M. (Laura)" userId="fd7970a2-7a0c-4b70-8263-dcc64c0076cf" providerId="ADAL" clId="{2E30AC29-01AD-49FF-A187-E210449B43FC}" dt="2020-06-24T09:29:34.571" v="1046" actId="1076"/>
          <ac:picMkLst>
            <pc:docMk/>
            <pc:sldMk cId="2236319315" sldId="408"/>
            <ac:picMk id="3074" creationId="{182B3CC9-7E0C-453E-9D52-1CF44B822A6D}"/>
          </ac:picMkLst>
        </pc:picChg>
      </pc:sldChg>
      <pc:sldChg chg="del ord">
        <pc:chgData name="Daniele, L.M. (Laura)" userId="fd7970a2-7a0c-4b70-8263-dcc64c0076cf" providerId="ADAL" clId="{2E30AC29-01AD-49FF-A187-E210449B43FC}" dt="2020-06-24T09:32:07.224" v="1056" actId="2696"/>
        <pc:sldMkLst>
          <pc:docMk/>
          <pc:sldMk cId="3706392477" sldId="409"/>
        </pc:sldMkLst>
      </pc:sldChg>
      <pc:sldChg chg="del">
        <pc:chgData name="Daniele, L.M. (Laura)" userId="fd7970a2-7a0c-4b70-8263-dcc64c0076cf" providerId="ADAL" clId="{2E30AC29-01AD-49FF-A187-E210449B43FC}" dt="2020-06-22T15:14:37.562" v="940" actId="2696"/>
        <pc:sldMkLst>
          <pc:docMk/>
          <pc:sldMk cId="2240237392" sldId="413"/>
        </pc:sldMkLst>
      </pc:sldChg>
      <pc:sldChg chg="addSp delSp modSp">
        <pc:chgData name="Daniele, L.M. (Laura)" userId="fd7970a2-7a0c-4b70-8263-dcc64c0076cf" providerId="ADAL" clId="{2E30AC29-01AD-49FF-A187-E210449B43FC}" dt="2020-06-22T14:34:25.233" v="623" actId="20577"/>
        <pc:sldMkLst>
          <pc:docMk/>
          <pc:sldMk cId="2660859367" sldId="416"/>
        </pc:sldMkLst>
        <pc:spChg chg="mod">
          <ac:chgData name="Daniele, L.M. (Laura)" userId="fd7970a2-7a0c-4b70-8263-dcc64c0076cf" providerId="ADAL" clId="{2E30AC29-01AD-49FF-A187-E210449B43FC}" dt="2020-06-22T14:34:25.233" v="623" actId="20577"/>
          <ac:spMkLst>
            <pc:docMk/>
            <pc:sldMk cId="2660859367" sldId="416"/>
            <ac:spMk id="3" creationId="{70D40F4B-D3E4-4EDC-9626-C64976F80FA6}"/>
          </ac:spMkLst>
        </pc:spChg>
        <pc:spChg chg="add del mod">
          <ac:chgData name="Daniele, L.M. (Laura)" userId="fd7970a2-7a0c-4b70-8263-dcc64c0076cf" providerId="ADAL" clId="{2E30AC29-01AD-49FF-A187-E210449B43FC}" dt="2020-06-22T13:24:54.844" v="56" actId="1076"/>
          <ac:spMkLst>
            <pc:docMk/>
            <pc:sldMk cId="2660859367" sldId="416"/>
            <ac:spMk id="8" creationId="{CC5B90A9-EC8E-402F-BBF1-503739DD2B8D}"/>
          </ac:spMkLst>
        </pc:spChg>
        <pc:picChg chg="del">
          <ac:chgData name="Daniele, L.M. (Laura)" userId="fd7970a2-7a0c-4b70-8263-dcc64c0076cf" providerId="ADAL" clId="{2E30AC29-01AD-49FF-A187-E210449B43FC}" dt="2020-06-22T13:22:29.627" v="20" actId="478"/>
          <ac:picMkLst>
            <pc:docMk/>
            <pc:sldMk cId="2660859367" sldId="416"/>
            <ac:picMk id="5" creationId="{2ABB324A-AE2A-4D47-9D7F-AC777666729C}"/>
          </ac:picMkLst>
        </pc:picChg>
        <pc:picChg chg="mod">
          <ac:chgData name="Daniele, L.M. (Laura)" userId="fd7970a2-7a0c-4b70-8263-dcc64c0076cf" providerId="ADAL" clId="{2E30AC29-01AD-49FF-A187-E210449B43FC}" dt="2020-06-22T13:24:45.634" v="54" actId="1036"/>
          <ac:picMkLst>
            <pc:docMk/>
            <pc:sldMk cId="2660859367" sldId="416"/>
            <ac:picMk id="7" creationId="{9717A26A-6A47-42F8-B127-DBAB268439BF}"/>
          </ac:picMkLst>
        </pc:picChg>
        <pc:picChg chg="add">
          <ac:chgData name="Daniele, L.M. (Laura)" userId="fd7970a2-7a0c-4b70-8263-dcc64c0076cf" providerId="ADAL" clId="{2E30AC29-01AD-49FF-A187-E210449B43FC}" dt="2020-06-22T13:20:59.572" v="11"/>
          <ac:picMkLst>
            <pc:docMk/>
            <pc:sldMk cId="2660859367" sldId="416"/>
            <ac:picMk id="9" creationId="{1A2BA5B2-63D3-4407-A5D7-D58B481BC490}"/>
          </ac:picMkLst>
        </pc:picChg>
      </pc:sldChg>
      <pc:sldChg chg="del">
        <pc:chgData name="Daniele, L.M. (Laura)" userId="fd7970a2-7a0c-4b70-8263-dcc64c0076cf" providerId="ADAL" clId="{2E30AC29-01AD-49FF-A187-E210449B43FC}" dt="2020-06-22T13:20:31.168" v="9" actId="2696"/>
        <pc:sldMkLst>
          <pc:docMk/>
          <pc:sldMk cId="3738704137" sldId="417"/>
        </pc:sldMkLst>
      </pc:sldChg>
      <pc:sldChg chg="del">
        <pc:chgData name="Daniele, L.M. (Laura)" userId="fd7970a2-7a0c-4b70-8263-dcc64c0076cf" providerId="ADAL" clId="{2E30AC29-01AD-49FF-A187-E210449B43FC}" dt="2020-06-22T13:27:23.972" v="100" actId="2696"/>
        <pc:sldMkLst>
          <pc:docMk/>
          <pc:sldMk cId="2779001421" sldId="418"/>
        </pc:sldMkLst>
      </pc:sldChg>
      <pc:sldChg chg="del">
        <pc:chgData name="Daniele, L.M. (Laura)" userId="fd7970a2-7a0c-4b70-8263-dcc64c0076cf" providerId="ADAL" clId="{2E30AC29-01AD-49FF-A187-E210449B43FC}" dt="2020-06-22T13:20:45.164" v="10" actId="2696"/>
        <pc:sldMkLst>
          <pc:docMk/>
          <pc:sldMk cId="217146335" sldId="423"/>
        </pc:sldMkLst>
      </pc:sldChg>
      <pc:sldChg chg="del">
        <pc:chgData name="Daniele, L.M. (Laura)" userId="fd7970a2-7a0c-4b70-8263-dcc64c0076cf" providerId="ADAL" clId="{2E30AC29-01AD-49FF-A187-E210449B43FC}" dt="2020-06-22T13:26:02.419" v="58" actId="2696"/>
        <pc:sldMkLst>
          <pc:docMk/>
          <pc:sldMk cId="3014947721" sldId="424"/>
        </pc:sldMkLst>
      </pc:sldChg>
      <pc:sldChg chg="del">
        <pc:chgData name="Daniele, L.M. (Laura)" userId="fd7970a2-7a0c-4b70-8263-dcc64c0076cf" providerId="ADAL" clId="{2E30AC29-01AD-49FF-A187-E210449B43FC}" dt="2020-06-24T09:25:32.218" v="1035" actId="2696"/>
        <pc:sldMkLst>
          <pc:docMk/>
          <pc:sldMk cId="3349717016" sldId="425"/>
        </pc:sldMkLst>
      </pc:sldChg>
      <pc:sldChg chg="del">
        <pc:chgData name="Daniele, L.M. (Laura)" userId="fd7970a2-7a0c-4b70-8263-dcc64c0076cf" providerId="ADAL" clId="{2E30AC29-01AD-49FF-A187-E210449B43FC}" dt="2020-06-24T09:46:40.067" v="1101" actId="2696"/>
        <pc:sldMkLst>
          <pc:docMk/>
          <pc:sldMk cId="1831050166" sldId="427"/>
        </pc:sldMkLst>
      </pc:sldChg>
      <pc:sldChg chg="del">
        <pc:chgData name="Daniele, L.M. (Laura)" userId="fd7970a2-7a0c-4b70-8263-dcc64c0076cf" providerId="ADAL" clId="{2E30AC29-01AD-49FF-A187-E210449B43FC}" dt="2020-06-22T14:06:08.026" v="332" actId="2696"/>
        <pc:sldMkLst>
          <pc:docMk/>
          <pc:sldMk cId="2265129064" sldId="428"/>
        </pc:sldMkLst>
      </pc:sldChg>
      <pc:sldChg chg="del">
        <pc:chgData name="Daniele, L.M. (Laura)" userId="fd7970a2-7a0c-4b70-8263-dcc64c0076cf" providerId="ADAL" clId="{2E30AC29-01AD-49FF-A187-E210449B43FC}" dt="2020-06-22T14:15:56.075" v="358" actId="2696"/>
        <pc:sldMkLst>
          <pc:docMk/>
          <pc:sldMk cId="4017924090" sldId="429"/>
        </pc:sldMkLst>
      </pc:sldChg>
      <pc:sldChg chg="del">
        <pc:chgData name="Daniele, L.M. (Laura)" userId="fd7970a2-7a0c-4b70-8263-dcc64c0076cf" providerId="ADAL" clId="{2E30AC29-01AD-49FF-A187-E210449B43FC}" dt="2020-06-22T14:06:53.663" v="334" actId="2696"/>
        <pc:sldMkLst>
          <pc:docMk/>
          <pc:sldMk cId="3134864834" sldId="430"/>
        </pc:sldMkLst>
      </pc:sldChg>
      <pc:sldChg chg="del ord">
        <pc:chgData name="Daniele, L.M. (Laura)" userId="fd7970a2-7a0c-4b70-8263-dcc64c0076cf" providerId="ADAL" clId="{2E30AC29-01AD-49FF-A187-E210449B43FC}" dt="2020-06-22T14:15:37.256" v="357" actId="2696"/>
        <pc:sldMkLst>
          <pc:docMk/>
          <pc:sldMk cId="1243627536" sldId="431"/>
        </pc:sldMkLst>
      </pc:sldChg>
      <pc:sldChg chg="del">
        <pc:chgData name="Daniele, L.M. (Laura)" userId="fd7970a2-7a0c-4b70-8263-dcc64c0076cf" providerId="ADAL" clId="{2E30AC29-01AD-49FF-A187-E210449B43FC}" dt="2020-06-22T14:18:57.139" v="375" actId="2696"/>
        <pc:sldMkLst>
          <pc:docMk/>
          <pc:sldMk cId="3776632213" sldId="432"/>
        </pc:sldMkLst>
      </pc:sldChg>
      <pc:sldChg chg="del">
        <pc:chgData name="Daniele, L.M. (Laura)" userId="fd7970a2-7a0c-4b70-8263-dcc64c0076cf" providerId="ADAL" clId="{2E30AC29-01AD-49FF-A187-E210449B43FC}" dt="2020-06-24T11:31:27.587" v="3964" actId="2696"/>
        <pc:sldMkLst>
          <pc:docMk/>
          <pc:sldMk cId="87881137" sldId="433"/>
        </pc:sldMkLst>
      </pc:sldChg>
      <pc:sldChg chg="addSp delSp modSp">
        <pc:chgData name="Daniele, L.M. (Laura)" userId="fd7970a2-7a0c-4b70-8263-dcc64c0076cf" providerId="ADAL" clId="{2E30AC29-01AD-49FF-A187-E210449B43FC}" dt="2020-06-22T14:31:24.056" v="471"/>
        <pc:sldMkLst>
          <pc:docMk/>
          <pc:sldMk cId="1167962052" sldId="435"/>
        </pc:sldMkLst>
        <pc:spChg chg="add">
          <ac:chgData name="Daniele, L.M. (Laura)" userId="fd7970a2-7a0c-4b70-8263-dcc64c0076cf" providerId="ADAL" clId="{2E30AC29-01AD-49FF-A187-E210449B43FC}" dt="2020-06-22T14:10:39.907" v="342"/>
          <ac:spMkLst>
            <pc:docMk/>
            <pc:sldMk cId="1167962052" sldId="435"/>
            <ac:spMk id="6" creationId="{B4D7BB7C-E5F0-4CDE-BA8D-0CEC16FF38F1}"/>
          </ac:spMkLst>
        </pc:spChg>
        <pc:spChg chg="del">
          <ac:chgData name="Daniele, L.M. (Laura)" userId="fd7970a2-7a0c-4b70-8263-dcc64c0076cf" providerId="ADAL" clId="{2E30AC29-01AD-49FF-A187-E210449B43FC}" dt="2020-06-22T14:10:27.030" v="341" actId="478"/>
          <ac:spMkLst>
            <pc:docMk/>
            <pc:sldMk cId="1167962052" sldId="435"/>
            <ac:spMk id="8" creationId="{1EA86C4B-02B7-4DF9-824B-B6E56EF7143C}"/>
          </ac:spMkLst>
        </pc:spChg>
        <pc:picChg chg="mod">
          <ac:chgData name="Daniele, L.M. (Laura)" userId="fd7970a2-7a0c-4b70-8263-dcc64c0076cf" providerId="ADAL" clId="{2E30AC29-01AD-49FF-A187-E210449B43FC}" dt="2020-06-22T14:11:16.304" v="347" actId="1076"/>
          <ac:picMkLst>
            <pc:docMk/>
            <pc:sldMk cId="1167962052" sldId="435"/>
            <ac:picMk id="7" creationId="{8D18DEFD-B24E-4C23-8993-DDEA113E850A}"/>
          </ac:picMkLst>
        </pc:picChg>
        <pc:picChg chg="add">
          <ac:chgData name="Daniele, L.M. (Laura)" userId="fd7970a2-7a0c-4b70-8263-dcc64c0076cf" providerId="ADAL" clId="{2E30AC29-01AD-49FF-A187-E210449B43FC}" dt="2020-06-22T14:31:24.056" v="471"/>
          <ac:picMkLst>
            <pc:docMk/>
            <pc:sldMk cId="1167962052" sldId="435"/>
            <ac:picMk id="9" creationId="{4879A489-3B46-402A-9E1F-EB2CAECF3830}"/>
          </ac:picMkLst>
        </pc:picChg>
        <pc:picChg chg="add">
          <ac:chgData name="Daniele, L.M. (Laura)" userId="fd7970a2-7a0c-4b70-8263-dcc64c0076cf" providerId="ADAL" clId="{2E30AC29-01AD-49FF-A187-E210449B43FC}" dt="2020-06-22T14:31:24.056" v="471"/>
          <ac:picMkLst>
            <pc:docMk/>
            <pc:sldMk cId="1167962052" sldId="435"/>
            <ac:picMk id="10" creationId="{DC240A10-C5FD-4BD0-9BAD-A91432866DA3}"/>
          </ac:picMkLst>
        </pc:picChg>
      </pc:sldChg>
      <pc:sldChg chg="addSp modSp del">
        <pc:chgData name="Daniele, L.M. (Laura)" userId="fd7970a2-7a0c-4b70-8263-dcc64c0076cf" providerId="ADAL" clId="{2E30AC29-01AD-49FF-A187-E210449B43FC}" dt="2020-06-22T14:17:42.796" v="369" actId="2696"/>
        <pc:sldMkLst>
          <pc:docMk/>
          <pc:sldMk cId="3522285741" sldId="436"/>
        </pc:sldMkLst>
        <pc:picChg chg="ord">
          <ac:chgData name="Daniele, L.M. (Laura)" userId="fd7970a2-7a0c-4b70-8263-dcc64c0076cf" providerId="ADAL" clId="{2E30AC29-01AD-49FF-A187-E210449B43FC}" dt="2020-06-22T14:16:39.794" v="363" actId="167"/>
          <ac:picMkLst>
            <pc:docMk/>
            <pc:sldMk cId="3522285741" sldId="436"/>
            <ac:picMk id="5" creationId="{128FF765-D0F9-4D3C-ACFA-BB172FB33CA3}"/>
          </ac:picMkLst>
        </pc:picChg>
        <pc:picChg chg="add">
          <ac:chgData name="Daniele, L.M. (Laura)" userId="fd7970a2-7a0c-4b70-8263-dcc64c0076cf" providerId="ADAL" clId="{2E30AC29-01AD-49FF-A187-E210449B43FC}" dt="2020-06-22T14:16:30.758" v="362"/>
          <ac:picMkLst>
            <pc:docMk/>
            <pc:sldMk cId="3522285741" sldId="436"/>
            <ac:picMk id="8" creationId="{B2227381-DD01-43B1-83C9-BC2D860342A4}"/>
          </ac:picMkLst>
        </pc:picChg>
        <pc:picChg chg="add">
          <ac:chgData name="Daniele, L.M. (Laura)" userId="fd7970a2-7a0c-4b70-8263-dcc64c0076cf" providerId="ADAL" clId="{2E30AC29-01AD-49FF-A187-E210449B43FC}" dt="2020-06-22T14:16:30.758" v="362"/>
          <ac:picMkLst>
            <pc:docMk/>
            <pc:sldMk cId="3522285741" sldId="436"/>
            <ac:picMk id="9" creationId="{DCB68C10-47EF-4C46-87F3-2E807A86192C}"/>
          </ac:picMkLst>
        </pc:picChg>
      </pc:sldChg>
      <pc:sldChg chg="addSp delSp modSp">
        <pc:chgData name="Daniele, L.M. (Laura)" userId="fd7970a2-7a0c-4b70-8263-dcc64c0076cf" providerId="ADAL" clId="{2E30AC29-01AD-49FF-A187-E210449B43FC}" dt="2020-06-22T14:20:45.443" v="384" actId="207"/>
        <pc:sldMkLst>
          <pc:docMk/>
          <pc:sldMk cId="3788001141" sldId="437"/>
        </pc:sldMkLst>
        <pc:spChg chg="del">
          <ac:chgData name="Daniele, L.M. (Laura)" userId="fd7970a2-7a0c-4b70-8263-dcc64c0076cf" providerId="ADAL" clId="{2E30AC29-01AD-49FF-A187-E210449B43FC}" dt="2020-06-22T14:19:29.739" v="377" actId="478"/>
          <ac:spMkLst>
            <pc:docMk/>
            <pc:sldMk cId="3788001141" sldId="437"/>
            <ac:spMk id="8" creationId="{F5A3A2EA-5B46-4FF4-B2F0-5609A40B1FD7}"/>
          </ac:spMkLst>
        </pc:spChg>
        <pc:spChg chg="add mod">
          <ac:chgData name="Daniele, L.M. (Laura)" userId="fd7970a2-7a0c-4b70-8263-dcc64c0076cf" providerId="ADAL" clId="{2E30AC29-01AD-49FF-A187-E210449B43FC}" dt="2020-06-22T14:20:45.443" v="384" actId="207"/>
          <ac:spMkLst>
            <pc:docMk/>
            <pc:sldMk cId="3788001141" sldId="437"/>
            <ac:spMk id="10" creationId="{17841236-10E2-45DF-9E2B-95A5A7ACB959}"/>
          </ac:spMkLst>
        </pc:spChg>
        <pc:picChg chg="mod ord">
          <ac:chgData name="Daniele, L.M. (Laura)" userId="fd7970a2-7a0c-4b70-8263-dcc64c0076cf" providerId="ADAL" clId="{2E30AC29-01AD-49FF-A187-E210449B43FC}" dt="2020-06-22T14:20:22.475" v="383" actId="1076"/>
          <ac:picMkLst>
            <pc:docMk/>
            <pc:sldMk cId="3788001141" sldId="437"/>
            <ac:picMk id="5" creationId="{9B4B853A-5631-41E0-A77D-D46ED992FBC8}"/>
          </ac:picMkLst>
        </pc:picChg>
        <pc:picChg chg="del">
          <ac:chgData name="Daniele, L.M. (Laura)" userId="fd7970a2-7a0c-4b70-8263-dcc64c0076cf" providerId="ADAL" clId="{2E30AC29-01AD-49FF-A187-E210449B43FC}" dt="2020-06-22T14:19:25.663" v="376" actId="478"/>
          <ac:picMkLst>
            <pc:docMk/>
            <pc:sldMk cId="3788001141" sldId="437"/>
            <ac:picMk id="6" creationId="{F91B7C9B-A978-41E1-BAD5-780A0368E09D}"/>
          </ac:picMkLst>
        </pc:picChg>
        <pc:picChg chg="add">
          <ac:chgData name="Daniele, L.M. (Laura)" userId="fd7970a2-7a0c-4b70-8263-dcc64c0076cf" providerId="ADAL" clId="{2E30AC29-01AD-49FF-A187-E210449B43FC}" dt="2020-06-22T14:19:42.483" v="378"/>
          <ac:picMkLst>
            <pc:docMk/>
            <pc:sldMk cId="3788001141" sldId="437"/>
            <ac:picMk id="7" creationId="{5D3E7674-1B04-415A-B7CB-09284BAC24E7}"/>
          </ac:picMkLst>
        </pc:picChg>
        <pc:picChg chg="add">
          <ac:chgData name="Daniele, L.M. (Laura)" userId="fd7970a2-7a0c-4b70-8263-dcc64c0076cf" providerId="ADAL" clId="{2E30AC29-01AD-49FF-A187-E210449B43FC}" dt="2020-06-22T14:19:42.483" v="378"/>
          <ac:picMkLst>
            <pc:docMk/>
            <pc:sldMk cId="3788001141" sldId="437"/>
            <ac:picMk id="9" creationId="{DFE3BAB3-41D4-47FA-8EEE-F9C4F94B6009}"/>
          </ac:picMkLst>
        </pc:picChg>
      </pc:sldChg>
      <pc:sldChg chg="modSp">
        <pc:chgData name="Daniele, L.M. (Laura)" userId="fd7970a2-7a0c-4b70-8263-dcc64c0076cf" providerId="ADAL" clId="{2E30AC29-01AD-49FF-A187-E210449B43FC}" dt="2020-06-22T14:23:55.834" v="400" actId="20577"/>
        <pc:sldMkLst>
          <pc:docMk/>
          <pc:sldMk cId="3032933169" sldId="438"/>
        </pc:sldMkLst>
        <pc:spChg chg="mod">
          <ac:chgData name="Daniele, L.M. (Laura)" userId="fd7970a2-7a0c-4b70-8263-dcc64c0076cf" providerId="ADAL" clId="{2E30AC29-01AD-49FF-A187-E210449B43FC}" dt="2020-06-22T14:23:55.834" v="400" actId="20577"/>
          <ac:spMkLst>
            <pc:docMk/>
            <pc:sldMk cId="3032933169" sldId="438"/>
            <ac:spMk id="4" creationId="{00000000-0000-0000-0000-000000000000}"/>
          </ac:spMkLst>
        </pc:spChg>
      </pc:sldChg>
      <pc:sldChg chg="del">
        <pc:chgData name="Daniele, L.M. (Laura)" userId="fd7970a2-7a0c-4b70-8263-dcc64c0076cf" providerId="ADAL" clId="{2E30AC29-01AD-49FF-A187-E210449B43FC}" dt="2020-06-24T11:28:36.573" v="3961" actId="2696"/>
        <pc:sldMkLst>
          <pc:docMk/>
          <pc:sldMk cId="3290959556" sldId="439"/>
        </pc:sldMkLst>
      </pc:sldChg>
      <pc:sldChg chg="del">
        <pc:chgData name="Daniele, L.M. (Laura)" userId="fd7970a2-7a0c-4b70-8263-dcc64c0076cf" providerId="ADAL" clId="{2E30AC29-01AD-49FF-A187-E210449B43FC}" dt="2020-06-24T10:42:50.651" v="2950" actId="2696"/>
        <pc:sldMkLst>
          <pc:docMk/>
          <pc:sldMk cId="274570472" sldId="440"/>
        </pc:sldMkLst>
      </pc:sldChg>
      <pc:sldChg chg="del">
        <pc:chgData name="Daniele, L.M. (Laura)" userId="fd7970a2-7a0c-4b70-8263-dcc64c0076cf" providerId="ADAL" clId="{2E30AC29-01AD-49FF-A187-E210449B43FC}" dt="2020-06-24T09:24:44.585" v="1033" actId="2696"/>
        <pc:sldMkLst>
          <pc:docMk/>
          <pc:sldMk cId="3410276086" sldId="441"/>
        </pc:sldMkLst>
      </pc:sldChg>
      <pc:sldChg chg="modSp del">
        <pc:chgData name="Daniele, L.M. (Laura)" userId="fd7970a2-7a0c-4b70-8263-dcc64c0076cf" providerId="ADAL" clId="{2E30AC29-01AD-49FF-A187-E210449B43FC}" dt="2020-06-24T11:22:16.660" v="3824" actId="2696"/>
        <pc:sldMkLst>
          <pc:docMk/>
          <pc:sldMk cId="1191628387" sldId="442"/>
        </pc:sldMkLst>
        <pc:spChg chg="mod">
          <ac:chgData name="Daniele, L.M. (Laura)" userId="fd7970a2-7a0c-4b70-8263-dcc64c0076cf" providerId="ADAL" clId="{2E30AC29-01AD-49FF-A187-E210449B43FC}" dt="2020-06-24T10:48:36.031" v="3345" actId="20577"/>
          <ac:spMkLst>
            <pc:docMk/>
            <pc:sldMk cId="1191628387" sldId="442"/>
            <ac:spMk id="3" creationId="{607B5DE4-0B72-4020-A9A9-47355718224D}"/>
          </ac:spMkLst>
        </pc:spChg>
      </pc:sldChg>
      <pc:sldChg chg="add">
        <pc:chgData name="Daniele, L.M. (Laura)" userId="fd7970a2-7a0c-4b70-8263-dcc64c0076cf" providerId="ADAL" clId="{2E30AC29-01AD-49FF-A187-E210449B43FC}" dt="2020-06-22T13:20:13.043" v="8"/>
        <pc:sldMkLst>
          <pc:docMk/>
          <pc:sldMk cId="2277064603" sldId="443"/>
        </pc:sldMkLst>
      </pc:sldChg>
      <pc:sldChg chg="add del">
        <pc:chgData name="Daniele, L.M. (Laura)" userId="fd7970a2-7a0c-4b70-8263-dcc64c0076cf" providerId="ADAL" clId="{2E30AC29-01AD-49FF-A187-E210449B43FC}" dt="2020-06-22T13:19:19.211" v="3" actId="2696"/>
        <pc:sldMkLst>
          <pc:docMk/>
          <pc:sldMk cId="3042714913" sldId="443"/>
        </pc:sldMkLst>
      </pc:sldChg>
      <pc:sldChg chg="modSp add">
        <pc:chgData name="Daniele, L.M. (Laura)" userId="fd7970a2-7a0c-4b70-8263-dcc64c0076cf" providerId="ADAL" clId="{2E30AC29-01AD-49FF-A187-E210449B43FC}" dt="2020-06-22T13:26:28.950" v="98" actId="1036"/>
        <pc:sldMkLst>
          <pc:docMk/>
          <pc:sldMk cId="3196291251" sldId="444"/>
        </pc:sldMkLst>
        <pc:spChg chg="mod">
          <ac:chgData name="Daniele, L.M. (Laura)" userId="fd7970a2-7a0c-4b70-8263-dcc64c0076cf" providerId="ADAL" clId="{2E30AC29-01AD-49FF-A187-E210449B43FC}" dt="2020-06-22T13:26:28.950" v="98" actId="1036"/>
          <ac:spMkLst>
            <pc:docMk/>
            <pc:sldMk cId="3196291251" sldId="444"/>
            <ac:spMk id="21" creationId="{670222A4-1294-4E0F-86F6-DA42003BCBD6}"/>
          </ac:spMkLst>
        </pc:spChg>
      </pc:sldChg>
      <pc:sldChg chg="addSp delSp modSp add">
        <pc:chgData name="Daniele, L.M. (Laura)" userId="fd7970a2-7a0c-4b70-8263-dcc64c0076cf" providerId="ADAL" clId="{2E30AC29-01AD-49FF-A187-E210449B43FC}" dt="2020-06-22T14:09:49.674" v="340"/>
        <pc:sldMkLst>
          <pc:docMk/>
          <pc:sldMk cId="2554911166" sldId="445"/>
        </pc:sldMkLst>
        <pc:spChg chg="mod">
          <ac:chgData name="Daniele, L.M. (Laura)" userId="fd7970a2-7a0c-4b70-8263-dcc64c0076cf" providerId="ADAL" clId="{2E30AC29-01AD-49FF-A187-E210449B43FC}" dt="2020-06-22T14:08:50.894" v="338" actId="404"/>
          <ac:spMkLst>
            <pc:docMk/>
            <pc:sldMk cId="2554911166" sldId="445"/>
            <ac:spMk id="13" creationId="{8B931C60-B751-4D40-A679-4B6147277B01}"/>
          </ac:spMkLst>
        </pc:spChg>
        <pc:picChg chg="add">
          <ac:chgData name="Daniele, L.M. (Laura)" userId="fd7970a2-7a0c-4b70-8263-dcc64c0076cf" providerId="ADAL" clId="{2E30AC29-01AD-49FF-A187-E210449B43FC}" dt="2020-06-22T14:09:49.674" v="340"/>
          <ac:picMkLst>
            <pc:docMk/>
            <pc:sldMk cId="2554911166" sldId="445"/>
            <ac:picMk id="7" creationId="{4E284DC7-930B-4FE6-81D3-159FF0D0B7DA}"/>
          </ac:picMkLst>
        </pc:picChg>
        <pc:picChg chg="add">
          <ac:chgData name="Daniele, L.M. (Laura)" userId="fd7970a2-7a0c-4b70-8263-dcc64c0076cf" providerId="ADAL" clId="{2E30AC29-01AD-49FF-A187-E210449B43FC}" dt="2020-06-22T14:09:49.674" v="340"/>
          <ac:picMkLst>
            <pc:docMk/>
            <pc:sldMk cId="2554911166" sldId="445"/>
            <ac:picMk id="8" creationId="{FE1E8B6F-59DB-46E1-A2EC-91ADE2D5530E}"/>
          </ac:picMkLst>
        </pc:picChg>
        <pc:picChg chg="del">
          <ac:chgData name="Daniele, L.M. (Laura)" userId="fd7970a2-7a0c-4b70-8263-dcc64c0076cf" providerId="ADAL" clId="{2E30AC29-01AD-49FF-A187-E210449B43FC}" dt="2020-06-22T14:09:41.599" v="339" actId="478"/>
          <ac:picMkLst>
            <pc:docMk/>
            <pc:sldMk cId="2554911166" sldId="445"/>
            <ac:picMk id="10" creationId="{DB29DEA1-60D3-4CAB-AE85-E8979008548D}"/>
          </ac:picMkLst>
        </pc:picChg>
      </pc:sldChg>
      <pc:sldChg chg="addSp delSp modSp add">
        <pc:chgData name="Daniele, L.M. (Laura)" userId="fd7970a2-7a0c-4b70-8263-dcc64c0076cf" providerId="ADAL" clId="{2E30AC29-01AD-49FF-A187-E210449B43FC}" dt="2020-06-22T14:12:56.311" v="354"/>
        <pc:sldMkLst>
          <pc:docMk/>
          <pc:sldMk cId="2226996802" sldId="446"/>
        </pc:sldMkLst>
        <pc:spChg chg="mod">
          <ac:chgData name="Daniele, L.M. (Laura)" userId="fd7970a2-7a0c-4b70-8263-dcc64c0076cf" providerId="ADAL" clId="{2E30AC29-01AD-49FF-A187-E210449B43FC}" dt="2020-06-22T14:12:42.802" v="352" actId="404"/>
          <ac:spMkLst>
            <pc:docMk/>
            <pc:sldMk cId="2226996802" sldId="446"/>
            <ac:spMk id="13" creationId="{8B931C60-B751-4D40-A679-4B6147277B01}"/>
          </ac:spMkLst>
        </pc:spChg>
        <pc:picChg chg="add">
          <ac:chgData name="Daniele, L.M. (Laura)" userId="fd7970a2-7a0c-4b70-8263-dcc64c0076cf" providerId="ADAL" clId="{2E30AC29-01AD-49FF-A187-E210449B43FC}" dt="2020-06-22T14:12:56.311" v="354"/>
          <ac:picMkLst>
            <pc:docMk/>
            <pc:sldMk cId="2226996802" sldId="446"/>
            <ac:picMk id="7" creationId="{5027356D-B394-4A36-859B-5FC77C26542A}"/>
          </ac:picMkLst>
        </pc:picChg>
        <pc:picChg chg="add">
          <ac:chgData name="Daniele, L.M. (Laura)" userId="fd7970a2-7a0c-4b70-8263-dcc64c0076cf" providerId="ADAL" clId="{2E30AC29-01AD-49FF-A187-E210449B43FC}" dt="2020-06-22T14:12:56.311" v="354"/>
          <ac:picMkLst>
            <pc:docMk/>
            <pc:sldMk cId="2226996802" sldId="446"/>
            <ac:picMk id="8" creationId="{502695E8-ED0F-4D39-8B40-F18CE01272E0}"/>
          </ac:picMkLst>
        </pc:picChg>
        <pc:picChg chg="del">
          <ac:chgData name="Daniele, L.M. (Laura)" userId="fd7970a2-7a0c-4b70-8263-dcc64c0076cf" providerId="ADAL" clId="{2E30AC29-01AD-49FF-A187-E210449B43FC}" dt="2020-06-22T14:12:55.568" v="353" actId="478"/>
          <ac:picMkLst>
            <pc:docMk/>
            <pc:sldMk cId="2226996802" sldId="446"/>
            <ac:picMk id="10" creationId="{DB29DEA1-60D3-4CAB-AE85-E8979008548D}"/>
          </ac:picMkLst>
        </pc:picChg>
      </pc:sldChg>
      <pc:sldChg chg="addSp delSp add">
        <pc:chgData name="Daniele, L.M. (Laura)" userId="fd7970a2-7a0c-4b70-8263-dcc64c0076cf" providerId="ADAL" clId="{2E30AC29-01AD-49FF-A187-E210449B43FC}" dt="2020-06-22T14:16:27.045" v="361"/>
        <pc:sldMkLst>
          <pc:docMk/>
          <pc:sldMk cId="2738706688" sldId="447"/>
        </pc:sldMkLst>
        <pc:picChg chg="del">
          <ac:chgData name="Daniele, L.M. (Laura)" userId="fd7970a2-7a0c-4b70-8263-dcc64c0076cf" providerId="ADAL" clId="{2E30AC29-01AD-49FF-A187-E210449B43FC}" dt="2020-06-22T14:16:26.792" v="360" actId="478"/>
          <ac:picMkLst>
            <pc:docMk/>
            <pc:sldMk cId="2738706688" sldId="447"/>
            <ac:picMk id="10" creationId="{DB29DEA1-60D3-4CAB-AE85-E8979008548D}"/>
          </ac:picMkLst>
        </pc:picChg>
        <pc:picChg chg="add">
          <ac:chgData name="Daniele, L.M. (Laura)" userId="fd7970a2-7a0c-4b70-8263-dcc64c0076cf" providerId="ADAL" clId="{2E30AC29-01AD-49FF-A187-E210449B43FC}" dt="2020-06-22T14:16:27.045" v="361"/>
          <ac:picMkLst>
            <pc:docMk/>
            <pc:sldMk cId="2738706688" sldId="447"/>
            <ac:picMk id="237" creationId="{836A3809-751F-4718-8245-17A39A84EBE4}"/>
          </ac:picMkLst>
        </pc:picChg>
        <pc:picChg chg="add">
          <ac:chgData name="Daniele, L.M. (Laura)" userId="fd7970a2-7a0c-4b70-8263-dcc64c0076cf" providerId="ADAL" clId="{2E30AC29-01AD-49FF-A187-E210449B43FC}" dt="2020-06-22T14:16:27.045" v="361"/>
          <ac:picMkLst>
            <pc:docMk/>
            <pc:sldMk cId="2738706688" sldId="447"/>
            <ac:picMk id="238" creationId="{890D8EB8-960C-4AC8-B723-5C4CA9B81EF0}"/>
          </ac:picMkLst>
        </pc:picChg>
      </pc:sldChg>
      <pc:sldChg chg="addSp delSp modSp add del">
        <pc:chgData name="Daniele, L.M. (Laura)" userId="fd7970a2-7a0c-4b70-8263-dcc64c0076cf" providerId="ADAL" clId="{2E30AC29-01AD-49FF-A187-E210449B43FC}" dt="2020-06-22T14:17:39.081" v="368" actId="2696"/>
        <pc:sldMkLst>
          <pc:docMk/>
          <pc:sldMk cId="114966215" sldId="448"/>
        </pc:sldMkLst>
        <pc:spChg chg="del">
          <ac:chgData name="Daniele, L.M. (Laura)" userId="fd7970a2-7a0c-4b70-8263-dcc64c0076cf" providerId="ADAL" clId="{2E30AC29-01AD-49FF-A187-E210449B43FC}" dt="2020-06-22T14:17:03.444" v="365" actId="478"/>
          <ac:spMkLst>
            <pc:docMk/>
            <pc:sldMk cId="114966215" sldId="448"/>
            <ac:spMk id="184" creationId="{00000000-0000-0000-0000-000000000000}"/>
          </ac:spMkLst>
        </pc:spChg>
        <pc:spChg chg="del">
          <ac:chgData name="Daniele, L.M. (Laura)" userId="fd7970a2-7a0c-4b70-8263-dcc64c0076cf" providerId="ADAL" clId="{2E30AC29-01AD-49FF-A187-E210449B43FC}" dt="2020-06-22T14:17:03.444" v="365" actId="478"/>
          <ac:spMkLst>
            <pc:docMk/>
            <pc:sldMk cId="114966215" sldId="448"/>
            <ac:spMk id="189" creationId="{00000000-0000-0000-0000-000000000000}"/>
          </ac:spMkLst>
        </pc:spChg>
        <pc:spChg chg="del">
          <ac:chgData name="Daniele, L.M. (Laura)" userId="fd7970a2-7a0c-4b70-8263-dcc64c0076cf" providerId="ADAL" clId="{2E30AC29-01AD-49FF-A187-E210449B43FC}" dt="2020-06-22T14:17:03.444" v="365" actId="478"/>
          <ac:spMkLst>
            <pc:docMk/>
            <pc:sldMk cId="114966215" sldId="448"/>
            <ac:spMk id="190" creationId="{00000000-0000-0000-0000-000000000000}"/>
          </ac:spMkLst>
        </pc:spChg>
        <pc:spChg chg="del">
          <ac:chgData name="Daniele, L.M. (Laura)" userId="fd7970a2-7a0c-4b70-8263-dcc64c0076cf" providerId="ADAL" clId="{2E30AC29-01AD-49FF-A187-E210449B43FC}" dt="2020-06-22T14:17:03.444" v="365" actId="478"/>
          <ac:spMkLst>
            <pc:docMk/>
            <pc:sldMk cId="114966215" sldId="448"/>
            <ac:spMk id="230" creationId="{00000000-0000-0000-0000-000000000000}"/>
          </ac:spMkLst>
        </pc:spChg>
        <pc:spChg chg="del">
          <ac:chgData name="Daniele, L.M. (Laura)" userId="fd7970a2-7a0c-4b70-8263-dcc64c0076cf" providerId="ADAL" clId="{2E30AC29-01AD-49FF-A187-E210449B43FC}" dt="2020-06-22T14:17:03.444" v="365" actId="478"/>
          <ac:spMkLst>
            <pc:docMk/>
            <pc:sldMk cId="114966215" sldId="448"/>
            <ac:spMk id="231" creationId="{00000000-0000-0000-0000-000000000000}"/>
          </ac:spMkLst>
        </pc:spChg>
        <pc:spChg chg="del">
          <ac:chgData name="Daniele, L.M. (Laura)" userId="fd7970a2-7a0c-4b70-8263-dcc64c0076cf" providerId="ADAL" clId="{2E30AC29-01AD-49FF-A187-E210449B43FC}" dt="2020-06-22T14:17:03.444" v="365" actId="478"/>
          <ac:spMkLst>
            <pc:docMk/>
            <pc:sldMk cId="114966215" sldId="448"/>
            <ac:spMk id="233" creationId="{00000000-0000-0000-0000-000000000000}"/>
          </ac:spMkLst>
        </pc:spChg>
        <pc:spChg chg="del">
          <ac:chgData name="Daniele, L.M. (Laura)" userId="fd7970a2-7a0c-4b70-8263-dcc64c0076cf" providerId="ADAL" clId="{2E30AC29-01AD-49FF-A187-E210449B43FC}" dt="2020-06-22T14:17:03.444" v="365" actId="478"/>
          <ac:spMkLst>
            <pc:docMk/>
            <pc:sldMk cId="114966215" sldId="448"/>
            <ac:spMk id="234" creationId="{00000000-0000-0000-0000-000000000000}"/>
          </ac:spMkLst>
        </pc:spChg>
        <pc:spChg chg="del">
          <ac:chgData name="Daniele, L.M. (Laura)" userId="fd7970a2-7a0c-4b70-8263-dcc64c0076cf" providerId="ADAL" clId="{2E30AC29-01AD-49FF-A187-E210449B43FC}" dt="2020-06-22T14:17:03.444" v="365" actId="478"/>
          <ac:spMkLst>
            <pc:docMk/>
            <pc:sldMk cId="114966215" sldId="448"/>
            <ac:spMk id="236" creationId="{00000000-0000-0000-0000-000000000000}"/>
          </ac:spMkLst>
        </pc:spChg>
        <pc:spChg chg="del">
          <ac:chgData name="Daniele, L.M. (Laura)" userId="fd7970a2-7a0c-4b70-8263-dcc64c0076cf" providerId="ADAL" clId="{2E30AC29-01AD-49FF-A187-E210449B43FC}" dt="2020-06-22T14:17:03.444" v="365" actId="478"/>
          <ac:spMkLst>
            <pc:docMk/>
            <pc:sldMk cId="114966215" sldId="448"/>
            <ac:spMk id="317" creationId="{00000000-0000-0000-0000-000000000000}"/>
          </ac:spMkLst>
        </pc:spChg>
        <pc:spChg chg="del">
          <ac:chgData name="Daniele, L.M. (Laura)" userId="fd7970a2-7a0c-4b70-8263-dcc64c0076cf" providerId="ADAL" clId="{2E30AC29-01AD-49FF-A187-E210449B43FC}" dt="2020-06-22T14:17:03.444" v="365" actId="478"/>
          <ac:spMkLst>
            <pc:docMk/>
            <pc:sldMk cId="114966215" sldId="448"/>
            <ac:spMk id="338" creationId="{00000000-0000-0000-0000-000000000000}"/>
          </ac:spMkLst>
        </pc:spChg>
        <pc:spChg chg="del">
          <ac:chgData name="Daniele, L.M. (Laura)" userId="fd7970a2-7a0c-4b70-8263-dcc64c0076cf" providerId="ADAL" clId="{2E30AC29-01AD-49FF-A187-E210449B43FC}" dt="2020-06-22T14:17:03.444" v="365" actId="478"/>
          <ac:spMkLst>
            <pc:docMk/>
            <pc:sldMk cId="114966215" sldId="448"/>
            <ac:spMk id="339" creationId="{00000000-0000-0000-0000-000000000000}"/>
          </ac:spMkLst>
        </pc:spChg>
        <pc:spChg chg="del">
          <ac:chgData name="Daniele, L.M. (Laura)" userId="fd7970a2-7a0c-4b70-8263-dcc64c0076cf" providerId="ADAL" clId="{2E30AC29-01AD-49FF-A187-E210449B43FC}" dt="2020-06-22T14:17:03.444" v="365" actId="478"/>
          <ac:spMkLst>
            <pc:docMk/>
            <pc:sldMk cId="114966215" sldId="448"/>
            <ac:spMk id="340" creationId="{00000000-0000-0000-0000-000000000000}"/>
          </ac:spMkLst>
        </pc:spChg>
        <pc:spChg chg="del">
          <ac:chgData name="Daniele, L.M. (Laura)" userId="fd7970a2-7a0c-4b70-8263-dcc64c0076cf" providerId="ADAL" clId="{2E30AC29-01AD-49FF-A187-E210449B43FC}" dt="2020-06-22T14:17:03.444" v="365" actId="478"/>
          <ac:spMkLst>
            <pc:docMk/>
            <pc:sldMk cId="114966215" sldId="448"/>
            <ac:spMk id="341" creationId="{00000000-0000-0000-0000-000000000000}"/>
          </ac:spMkLst>
        </pc:spChg>
        <pc:spChg chg="del">
          <ac:chgData name="Daniele, L.M. (Laura)" userId="fd7970a2-7a0c-4b70-8263-dcc64c0076cf" providerId="ADAL" clId="{2E30AC29-01AD-49FF-A187-E210449B43FC}" dt="2020-06-22T14:17:03.444" v="365" actId="478"/>
          <ac:spMkLst>
            <pc:docMk/>
            <pc:sldMk cId="114966215" sldId="448"/>
            <ac:spMk id="342" creationId="{00000000-0000-0000-0000-000000000000}"/>
          </ac:spMkLst>
        </pc:spChg>
        <pc:spChg chg="del">
          <ac:chgData name="Daniele, L.M. (Laura)" userId="fd7970a2-7a0c-4b70-8263-dcc64c0076cf" providerId="ADAL" clId="{2E30AC29-01AD-49FF-A187-E210449B43FC}" dt="2020-06-22T14:17:03.444" v="365" actId="478"/>
          <ac:spMkLst>
            <pc:docMk/>
            <pc:sldMk cId="114966215" sldId="448"/>
            <ac:spMk id="343" creationId="{00000000-0000-0000-0000-000000000000}"/>
          </ac:spMkLst>
        </pc:spChg>
        <pc:spChg chg="del">
          <ac:chgData name="Daniele, L.M. (Laura)" userId="fd7970a2-7a0c-4b70-8263-dcc64c0076cf" providerId="ADAL" clId="{2E30AC29-01AD-49FF-A187-E210449B43FC}" dt="2020-06-22T14:17:03.444" v="365" actId="478"/>
          <ac:spMkLst>
            <pc:docMk/>
            <pc:sldMk cId="114966215" sldId="448"/>
            <ac:spMk id="348" creationId="{00000000-0000-0000-0000-000000000000}"/>
          </ac:spMkLst>
        </pc:spChg>
        <pc:spChg chg="del">
          <ac:chgData name="Daniele, L.M. (Laura)" userId="fd7970a2-7a0c-4b70-8263-dcc64c0076cf" providerId="ADAL" clId="{2E30AC29-01AD-49FF-A187-E210449B43FC}" dt="2020-06-22T14:17:03.444" v="365" actId="478"/>
          <ac:spMkLst>
            <pc:docMk/>
            <pc:sldMk cId="114966215" sldId="448"/>
            <ac:spMk id="349" creationId="{00000000-0000-0000-0000-000000000000}"/>
          </ac:spMkLst>
        </pc:spChg>
        <pc:spChg chg="del">
          <ac:chgData name="Daniele, L.M. (Laura)" userId="fd7970a2-7a0c-4b70-8263-dcc64c0076cf" providerId="ADAL" clId="{2E30AC29-01AD-49FF-A187-E210449B43FC}" dt="2020-06-22T14:17:03.444" v="365" actId="478"/>
          <ac:spMkLst>
            <pc:docMk/>
            <pc:sldMk cId="114966215" sldId="448"/>
            <ac:spMk id="350" creationId="{00000000-0000-0000-0000-000000000000}"/>
          </ac:spMkLst>
        </pc:spChg>
        <pc:spChg chg="del">
          <ac:chgData name="Daniele, L.M. (Laura)" userId="fd7970a2-7a0c-4b70-8263-dcc64c0076cf" providerId="ADAL" clId="{2E30AC29-01AD-49FF-A187-E210449B43FC}" dt="2020-06-22T14:17:03.444" v="365" actId="478"/>
          <ac:spMkLst>
            <pc:docMk/>
            <pc:sldMk cId="114966215" sldId="448"/>
            <ac:spMk id="351" creationId="{00000000-0000-0000-0000-000000000000}"/>
          </ac:spMkLst>
        </pc:spChg>
        <pc:spChg chg="del">
          <ac:chgData name="Daniele, L.M. (Laura)" userId="fd7970a2-7a0c-4b70-8263-dcc64c0076cf" providerId="ADAL" clId="{2E30AC29-01AD-49FF-A187-E210449B43FC}" dt="2020-06-22T14:17:03.444" v="365" actId="478"/>
          <ac:spMkLst>
            <pc:docMk/>
            <pc:sldMk cId="114966215" sldId="448"/>
            <ac:spMk id="355" creationId="{00000000-0000-0000-0000-000000000000}"/>
          </ac:spMkLst>
        </pc:spChg>
        <pc:spChg chg="del">
          <ac:chgData name="Daniele, L.M. (Laura)" userId="fd7970a2-7a0c-4b70-8263-dcc64c0076cf" providerId="ADAL" clId="{2E30AC29-01AD-49FF-A187-E210449B43FC}" dt="2020-06-22T14:17:03.444" v="365" actId="478"/>
          <ac:spMkLst>
            <pc:docMk/>
            <pc:sldMk cId="114966215" sldId="448"/>
            <ac:spMk id="356" creationId="{00000000-0000-0000-0000-000000000000}"/>
          </ac:spMkLst>
        </pc:spChg>
        <pc:spChg chg="del">
          <ac:chgData name="Daniele, L.M. (Laura)" userId="fd7970a2-7a0c-4b70-8263-dcc64c0076cf" providerId="ADAL" clId="{2E30AC29-01AD-49FF-A187-E210449B43FC}" dt="2020-06-22T14:17:03.444" v="365" actId="478"/>
          <ac:spMkLst>
            <pc:docMk/>
            <pc:sldMk cId="114966215" sldId="448"/>
            <ac:spMk id="357" creationId="{00000000-0000-0000-0000-000000000000}"/>
          </ac:spMkLst>
        </pc:spChg>
        <pc:spChg chg="del">
          <ac:chgData name="Daniele, L.M. (Laura)" userId="fd7970a2-7a0c-4b70-8263-dcc64c0076cf" providerId="ADAL" clId="{2E30AC29-01AD-49FF-A187-E210449B43FC}" dt="2020-06-22T14:17:03.444" v="365" actId="478"/>
          <ac:spMkLst>
            <pc:docMk/>
            <pc:sldMk cId="114966215" sldId="448"/>
            <ac:spMk id="358" creationId="{00000000-0000-0000-0000-000000000000}"/>
          </ac:spMkLst>
        </pc:spChg>
        <pc:spChg chg="del">
          <ac:chgData name="Daniele, L.M. (Laura)" userId="fd7970a2-7a0c-4b70-8263-dcc64c0076cf" providerId="ADAL" clId="{2E30AC29-01AD-49FF-A187-E210449B43FC}" dt="2020-06-22T14:17:03.444" v="365" actId="478"/>
          <ac:spMkLst>
            <pc:docMk/>
            <pc:sldMk cId="114966215" sldId="448"/>
            <ac:spMk id="365" creationId="{00000000-0000-0000-0000-000000000000}"/>
          </ac:spMkLst>
        </pc:spChg>
        <pc:spChg chg="del">
          <ac:chgData name="Daniele, L.M. (Laura)" userId="fd7970a2-7a0c-4b70-8263-dcc64c0076cf" providerId="ADAL" clId="{2E30AC29-01AD-49FF-A187-E210449B43FC}" dt="2020-06-22T14:17:03.444" v="365" actId="478"/>
          <ac:spMkLst>
            <pc:docMk/>
            <pc:sldMk cId="114966215" sldId="448"/>
            <ac:spMk id="366" creationId="{00000000-0000-0000-0000-000000000000}"/>
          </ac:spMkLst>
        </pc:spChg>
        <pc:spChg chg="del">
          <ac:chgData name="Daniele, L.M. (Laura)" userId="fd7970a2-7a0c-4b70-8263-dcc64c0076cf" providerId="ADAL" clId="{2E30AC29-01AD-49FF-A187-E210449B43FC}" dt="2020-06-22T14:17:03.444" v="365" actId="478"/>
          <ac:spMkLst>
            <pc:docMk/>
            <pc:sldMk cId="114966215" sldId="448"/>
            <ac:spMk id="367" creationId="{00000000-0000-0000-0000-000000000000}"/>
          </ac:spMkLst>
        </pc:spChg>
        <pc:spChg chg="del">
          <ac:chgData name="Daniele, L.M. (Laura)" userId="fd7970a2-7a0c-4b70-8263-dcc64c0076cf" providerId="ADAL" clId="{2E30AC29-01AD-49FF-A187-E210449B43FC}" dt="2020-06-22T14:17:03.444" v="365" actId="478"/>
          <ac:spMkLst>
            <pc:docMk/>
            <pc:sldMk cId="114966215" sldId="448"/>
            <ac:spMk id="368" creationId="{00000000-0000-0000-0000-000000000000}"/>
          </ac:spMkLst>
        </pc:spChg>
        <pc:spChg chg="del">
          <ac:chgData name="Daniele, L.M. (Laura)" userId="fd7970a2-7a0c-4b70-8263-dcc64c0076cf" providerId="ADAL" clId="{2E30AC29-01AD-49FF-A187-E210449B43FC}" dt="2020-06-22T14:17:03.444" v="365" actId="478"/>
          <ac:spMkLst>
            <pc:docMk/>
            <pc:sldMk cId="114966215" sldId="448"/>
            <ac:spMk id="369" creationId="{00000000-0000-0000-0000-000000000000}"/>
          </ac:spMkLst>
        </pc:spChg>
        <pc:spChg chg="del">
          <ac:chgData name="Daniele, L.M. (Laura)" userId="fd7970a2-7a0c-4b70-8263-dcc64c0076cf" providerId="ADAL" clId="{2E30AC29-01AD-49FF-A187-E210449B43FC}" dt="2020-06-22T14:17:03.444" v="365" actId="478"/>
          <ac:spMkLst>
            <pc:docMk/>
            <pc:sldMk cId="114966215" sldId="448"/>
            <ac:spMk id="370" creationId="{00000000-0000-0000-0000-000000000000}"/>
          </ac:spMkLst>
        </pc:spChg>
        <pc:spChg chg="del">
          <ac:chgData name="Daniele, L.M. (Laura)" userId="fd7970a2-7a0c-4b70-8263-dcc64c0076cf" providerId="ADAL" clId="{2E30AC29-01AD-49FF-A187-E210449B43FC}" dt="2020-06-22T14:17:03.444" v="365" actId="478"/>
          <ac:spMkLst>
            <pc:docMk/>
            <pc:sldMk cId="114966215" sldId="448"/>
            <ac:spMk id="371" creationId="{00000000-0000-0000-0000-000000000000}"/>
          </ac:spMkLst>
        </pc:spChg>
        <pc:spChg chg="del">
          <ac:chgData name="Daniele, L.M. (Laura)" userId="fd7970a2-7a0c-4b70-8263-dcc64c0076cf" providerId="ADAL" clId="{2E30AC29-01AD-49FF-A187-E210449B43FC}" dt="2020-06-22T14:17:03.444" v="365" actId="478"/>
          <ac:spMkLst>
            <pc:docMk/>
            <pc:sldMk cId="114966215" sldId="448"/>
            <ac:spMk id="372" creationId="{00000000-0000-0000-0000-000000000000}"/>
          </ac:spMkLst>
        </pc:spChg>
        <pc:spChg chg="del">
          <ac:chgData name="Daniele, L.M. (Laura)" userId="fd7970a2-7a0c-4b70-8263-dcc64c0076cf" providerId="ADAL" clId="{2E30AC29-01AD-49FF-A187-E210449B43FC}" dt="2020-06-22T14:17:03.444" v="365" actId="478"/>
          <ac:spMkLst>
            <pc:docMk/>
            <pc:sldMk cId="114966215" sldId="448"/>
            <ac:spMk id="373" creationId="{00000000-0000-0000-0000-000000000000}"/>
          </ac:spMkLst>
        </pc:spChg>
        <pc:grpChg chg="del">
          <ac:chgData name="Daniele, L.M. (Laura)" userId="fd7970a2-7a0c-4b70-8263-dcc64c0076cf" providerId="ADAL" clId="{2E30AC29-01AD-49FF-A187-E210449B43FC}" dt="2020-06-22T14:17:03.444" v="365" actId="478"/>
          <ac:grpSpMkLst>
            <pc:docMk/>
            <pc:sldMk cId="114966215" sldId="448"/>
            <ac:grpSpMk id="3" creationId="{00000000-0000-0000-0000-000000000000}"/>
          </ac:grpSpMkLst>
        </pc:grpChg>
        <pc:grpChg chg="del">
          <ac:chgData name="Daniele, L.M. (Laura)" userId="fd7970a2-7a0c-4b70-8263-dcc64c0076cf" providerId="ADAL" clId="{2E30AC29-01AD-49FF-A187-E210449B43FC}" dt="2020-06-22T14:17:03.444" v="365" actId="478"/>
          <ac:grpSpMkLst>
            <pc:docMk/>
            <pc:sldMk cId="114966215" sldId="448"/>
            <ac:grpSpMk id="14" creationId="{00000000-0000-0000-0000-000000000000}"/>
          </ac:grpSpMkLst>
        </pc:grpChg>
        <pc:grpChg chg="del">
          <ac:chgData name="Daniele, L.M. (Laura)" userId="fd7970a2-7a0c-4b70-8263-dcc64c0076cf" providerId="ADAL" clId="{2E30AC29-01AD-49FF-A187-E210449B43FC}" dt="2020-06-22T14:17:03.444" v="365" actId="478"/>
          <ac:grpSpMkLst>
            <pc:docMk/>
            <pc:sldMk cId="114966215" sldId="448"/>
            <ac:grpSpMk id="15" creationId="{00000000-0000-0000-0000-000000000000}"/>
          </ac:grpSpMkLst>
        </pc:grpChg>
        <pc:grpChg chg="del">
          <ac:chgData name="Daniele, L.M. (Laura)" userId="fd7970a2-7a0c-4b70-8263-dcc64c0076cf" providerId="ADAL" clId="{2E30AC29-01AD-49FF-A187-E210449B43FC}" dt="2020-06-22T14:17:03.444" v="365" actId="478"/>
          <ac:grpSpMkLst>
            <pc:docMk/>
            <pc:sldMk cId="114966215" sldId="448"/>
            <ac:grpSpMk id="18" creationId="{00000000-0000-0000-0000-000000000000}"/>
          </ac:grpSpMkLst>
        </pc:grpChg>
        <pc:grpChg chg="del">
          <ac:chgData name="Daniele, L.M. (Laura)" userId="fd7970a2-7a0c-4b70-8263-dcc64c0076cf" providerId="ADAL" clId="{2E30AC29-01AD-49FF-A187-E210449B43FC}" dt="2020-06-22T14:17:03.444" v="365" actId="478"/>
          <ac:grpSpMkLst>
            <pc:docMk/>
            <pc:sldMk cId="114966215" sldId="448"/>
            <ac:grpSpMk id="19" creationId="{00000000-0000-0000-0000-000000000000}"/>
          </ac:grpSpMkLst>
        </pc:grpChg>
        <pc:grpChg chg="del">
          <ac:chgData name="Daniele, L.M. (Laura)" userId="fd7970a2-7a0c-4b70-8263-dcc64c0076cf" providerId="ADAL" clId="{2E30AC29-01AD-49FF-A187-E210449B43FC}" dt="2020-06-22T14:17:03.444" v="365" actId="478"/>
          <ac:grpSpMkLst>
            <pc:docMk/>
            <pc:sldMk cId="114966215" sldId="448"/>
            <ac:grpSpMk id="20" creationId="{00000000-0000-0000-0000-000000000000}"/>
          </ac:grpSpMkLst>
        </pc:grpChg>
        <pc:grpChg chg="del">
          <ac:chgData name="Daniele, L.M. (Laura)" userId="fd7970a2-7a0c-4b70-8263-dcc64c0076cf" providerId="ADAL" clId="{2E30AC29-01AD-49FF-A187-E210449B43FC}" dt="2020-06-22T14:17:03.444" v="365" actId="478"/>
          <ac:grpSpMkLst>
            <pc:docMk/>
            <pc:sldMk cId="114966215" sldId="448"/>
            <ac:grpSpMk id="21" creationId="{00000000-0000-0000-0000-000000000000}"/>
          </ac:grpSpMkLst>
        </pc:grpChg>
        <pc:grpChg chg="del">
          <ac:chgData name="Daniele, L.M. (Laura)" userId="fd7970a2-7a0c-4b70-8263-dcc64c0076cf" providerId="ADAL" clId="{2E30AC29-01AD-49FF-A187-E210449B43FC}" dt="2020-06-22T14:17:03.444" v="365" actId="478"/>
          <ac:grpSpMkLst>
            <pc:docMk/>
            <pc:sldMk cId="114966215" sldId="448"/>
            <ac:grpSpMk id="22" creationId="{00000000-0000-0000-0000-000000000000}"/>
          </ac:grpSpMkLst>
        </pc:grpChg>
        <pc:grpChg chg="del">
          <ac:chgData name="Daniele, L.M. (Laura)" userId="fd7970a2-7a0c-4b70-8263-dcc64c0076cf" providerId="ADAL" clId="{2E30AC29-01AD-49FF-A187-E210449B43FC}" dt="2020-06-22T14:17:03.444" v="365" actId="478"/>
          <ac:grpSpMkLst>
            <pc:docMk/>
            <pc:sldMk cId="114966215" sldId="448"/>
            <ac:grpSpMk id="23" creationId="{00000000-0000-0000-0000-000000000000}"/>
          </ac:grpSpMkLst>
        </pc:grpChg>
        <pc:grpChg chg="del">
          <ac:chgData name="Daniele, L.M. (Laura)" userId="fd7970a2-7a0c-4b70-8263-dcc64c0076cf" providerId="ADAL" clId="{2E30AC29-01AD-49FF-A187-E210449B43FC}" dt="2020-06-22T14:17:03.444" v="365" actId="478"/>
          <ac:grpSpMkLst>
            <pc:docMk/>
            <pc:sldMk cId="114966215" sldId="448"/>
            <ac:grpSpMk id="24" creationId="{00000000-0000-0000-0000-000000000000}"/>
          </ac:grpSpMkLst>
        </pc:grpChg>
        <pc:grpChg chg="del">
          <ac:chgData name="Daniele, L.M. (Laura)" userId="fd7970a2-7a0c-4b70-8263-dcc64c0076cf" providerId="ADAL" clId="{2E30AC29-01AD-49FF-A187-E210449B43FC}" dt="2020-06-22T14:17:03.444" v="365" actId="478"/>
          <ac:grpSpMkLst>
            <pc:docMk/>
            <pc:sldMk cId="114966215" sldId="448"/>
            <ac:grpSpMk id="25" creationId="{00000000-0000-0000-0000-000000000000}"/>
          </ac:grpSpMkLst>
        </pc:grpChg>
        <pc:grpChg chg="del">
          <ac:chgData name="Daniele, L.M. (Laura)" userId="fd7970a2-7a0c-4b70-8263-dcc64c0076cf" providerId="ADAL" clId="{2E30AC29-01AD-49FF-A187-E210449B43FC}" dt="2020-06-22T14:17:03.444" v="365" actId="478"/>
          <ac:grpSpMkLst>
            <pc:docMk/>
            <pc:sldMk cId="114966215" sldId="448"/>
            <ac:grpSpMk id="26" creationId="{00000000-0000-0000-0000-000000000000}"/>
          </ac:grpSpMkLst>
        </pc:grpChg>
        <pc:grpChg chg="del">
          <ac:chgData name="Daniele, L.M. (Laura)" userId="fd7970a2-7a0c-4b70-8263-dcc64c0076cf" providerId="ADAL" clId="{2E30AC29-01AD-49FF-A187-E210449B43FC}" dt="2020-06-22T14:17:03.444" v="365" actId="478"/>
          <ac:grpSpMkLst>
            <pc:docMk/>
            <pc:sldMk cId="114966215" sldId="448"/>
            <ac:grpSpMk id="29" creationId="{00000000-0000-0000-0000-000000000000}"/>
          </ac:grpSpMkLst>
        </pc:grpChg>
        <pc:grpChg chg="del">
          <ac:chgData name="Daniele, L.M. (Laura)" userId="fd7970a2-7a0c-4b70-8263-dcc64c0076cf" providerId="ADAL" clId="{2E30AC29-01AD-49FF-A187-E210449B43FC}" dt="2020-06-22T14:17:03.444" v="365" actId="478"/>
          <ac:grpSpMkLst>
            <pc:docMk/>
            <pc:sldMk cId="114966215" sldId="448"/>
            <ac:grpSpMk id="30" creationId="{00000000-0000-0000-0000-000000000000}"/>
          </ac:grpSpMkLst>
        </pc:grpChg>
        <pc:grpChg chg="del">
          <ac:chgData name="Daniele, L.M. (Laura)" userId="fd7970a2-7a0c-4b70-8263-dcc64c0076cf" providerId="ADAL" clId="{2E30AC29-01AD-49FF-A187-E210449B43FC}" dt="2020-06-22T14:17:03.444" v="365" actId="478"/>
          <ac:grpSpMkLst>
            <pc:docMk/>
            <pc:sldMk cId="114966215" sldId="448"/>
            <ac:grpSpMk id="31" creationId="{00000000-0000-0000-0000-000000000000}"/>
          </ac:grpSpMkLst>
        </pc:grpChg>
        <pc:grpChg chg="del">
          <ac:chgData name="Daniele, L.M. (Laura)" userId="fd7970a2-7a0c-4b70-8263-dcc64c0076cf" providerId="ADAL" clId="{2E30AC29-01AD-49FF-A187-E210449B43FC}" dt="2020-06-22T14:17:03.444" v="365" actId="478"/>
          <ac:grpSpMkLst>
            <pc:docMk/>
            <pc:sldMk cId="114966215" sldId="448"/>
            <ac:grpSpMk id="32" creationId="{00000000-0000-0000-0000-000000000000}"/>
          </ac:grpSpMkLst>
        </pc:grpChg>
        <pc:grpChg chg="del">
          <ac:chgData name="Daniele, L.M. (Laura)" userId="fd7970a2-7a0c-4b70-8263-dcc64c0076cf" providerId="ADAL" clId="{2E30AC29-01AD-49FF-A187-E210449B43FC}" dt="2020-06-22T14:17:03.444" v="365" actId="478"/>
          <ac:grpSpMkLst>
            <pc:docMk/>
            <pc:sldMk cId="114966215" sldId="448"/>
            <ac:grpSpMk id="33" creationId="{00000000-0000-0000-0000-000000000000}"/>
          </ac:grpSpMkLst>
        </pc:grpChg>
        <pc:grpChg chg="del">
          <ac:chgData name="Daniele, L.M. (Laura)" userId="fd7970a2-7a0c-4b70-8263-dcc64c0076cf" providerId="ADAL" clId="{2E30AC29-01AD-49FF-A187-E210449B43FC}" dt="2020-06-22T14:17:03.444" v="365" actId="478"/>
          <ac:grpSpMkLst>
            <pc:docMk/>
            <pc:sldMk cId="114966215" sldId="448"/>
            <ac:grpSpMk id="39" creationId="{00000000-0000-0000-0000-000000000000}"/>
          </ac:grpSpMkLst>
        </pc:grpChg>
        <pc:grpChg chg="del">
          <ac:chgData name="Daniele, L.M. (Laura)" userId="fd7970a2-7a0c-4b70-8263-dcc64c0076cf" providerId="ADAL" clId="{2E30AC29-01AD-49FF-A187-E210449B43FC}" dt="2020-06-22T14:17:03.444" v="365" actId="478"/>
          <ac:grpSpMkLst>
            <pc:docMk/>
            <pc:sldMk cId="114966215" sldId="448"/>
            <ac:grpSpMk id="57" creationId="{00000000-0000-0000-0000-000000000000}"/>
          </ac:grpSpMkLst>
        </pc:grpChg>
        <pc:grpChg chg="del">
          <ac:chgData name="Daniele, L.M. (Laura)" userId="fd7970a2-7a0c-4b70-8263-dcc64c0076cf" providerId="ADAL" clId="{2E30AC29-01AD-49FF-A187-E210449B43FC}" dt="2020-06-22T14:17:03.444" v="365" actId="478"/>
          <ac:grpSpMkLst>
            <pc:docMk/>
            <pc:sldMk cId="114966215" sldId="448"/>
            <ac:grpSpMk id="60" creationId="{00000000-0000-0000-0000-000000000000}"/>
          </ac:grpSpMkLst>
        </pc:grpChg>
        <pc:grpChg chg="del">
          <ac:chgData name="Daniele, L.M. (Laura)" userId="fd7970a2-7a0c-4b70-8263-dcc64c0076cf" providerId="ADAL" clId="{2E30AC29-01AD-49FF-A187-E210449B43FC}" dt="2020-06-22T14:17:03.444" v="365" actId="478"/>
          <ac:grpSpMkLst>
            <pc:docMk/>
            <pc:sldMk cId="114966215" sldId="448"/>
            <ac:grpSpMk id="63" creationId="{00000000-0000-0000-0000-000000000000}"/>
          </ac:grpSpMkLst>
        </pc:grpChg>
        <pc:grpChg chg="del">
          <ac:chgData name="Daniele, L.M. (Laura)" userId="fd7970a2-7a0c-4b70-8263-dcc64c0076cf" providerId="ADAL" clId="{2E30AC29-01AD-49FF-A187-E210449B43FC}" dt="2020-06-22T14:17:03.444" v="365" actId="478"/>
          <ac:grpSpMkLst>
            <pc:docMk/>
            <pc:sldMk cId="114966215" sldId="448"/>
            <ac:grpSpMk id="67" creationId="{00000000-0000-0000-0000-000000000000}"/>
          </ac:grpSpMkLst>
        </pc:grpChg>
        <pc:grpChg chg="del">
          <ac:chgData name="Daniele, L.M. (Laura)" userId="fd7970a2-7a0c-4b70-8263-dcc64c0076cf" providerId="ADAL" clId="{2E30AC29-01AD-49FF-A187-E210449B43FC}" dt="2020-06-22T14:17:03.444" v="365" actId="478"/>
          <ac:grpSpMkLst>
            <pc:docMk/>
            <pc:sldMk cId="114966215" sldId="448"/>
            <ac:grpSpMk id="68" creationId="{00000000-0000-0000-0000-000000000000}"/>
          </ac:grpSpMkLst>
        </pc:grpChg>
        <pc:grpChg chg="del">
          <ac:chgData name="Daniele, L.M. (Laura)" userId="fd7970a2-7a0c-4b70-8263-dcc64c0076cf" providerId="ADAL" clId="{2E30AC29-01AD-49FF-A187-E210449B43FC}" dt="2020-06-22T14:17:03.444" v="365" actId="478"/>
          <ac:grpSpMkLst>
            <pc:docMk/>
            <pc:sldMk cId="114966215" sldId="448"/>
            <ac:grpSpMk id="70" creationId="{00000000-0000-0000-0000-000000000000}"/>
          </ac:grpSpMkLst>
        </pc:grpChg>
        <pc:grpChg chg="del">
          <ac:chgData name="Daniele, L.M. (Laura)" userId="fd7970a2-7a0c-4b70-8263-dcc64c0076cf" providerId="ADAL" clId="{2E30AC29-01AD-49FF-A187-E210449B43FC}" dt="2020-06-22T14:17:03.444" v="365" actId="478"/>
          <ac:grpSpMkLst>
            <pc:docMk/>
            <pc:sldMk cId="114966215" sldId="448"/>
            <ac:grpSpMk id="74" creationId="{00000000-0000-0000-0000-000000000000}"/>
          </ac:grpSpMkLst>
        </pc:grpChg>
        <pc:grpChg chg="del">
          <ac:chgData name="Daniele, L.M. (Laura)" userId="fd7970a2-7a0c-4b70-8263-dcc64c0076cf" providerId="ADAL" clId="{2E30AC29-01AD-49FF-A187-E210449B43FC}" dt="2020-06-22T14:17:03.444" v="365" actId="478"/>
          <ac:grpSpMkLst>
            <pc:docMk/>
            <pc:sldMk cId="114966215" sldId="448"/>
            <ac:grpSpMk id="86" creationId="{00000000-0000-0000-0000-000000000000}"/>
          </ac:grpSpMkLst>
        </pc:grpChg>
        <pc:grpChg chg="del">
          <ac:chgData name="Daniele, L.M. (Laura)" userId="fd7970a2-7a0c-4b70-8263-dcc64c0076cf" providerId="ADAL" clId="{2E30AC29-01AD-49FF-A187-E210449B43FC}" dt="2020-06-22T14:17:03.444" v="365" actId="478"/>
          <ac:grpSpMkLst>
            <pc:docMk/>
            <pc:sldMk cId="114966215" sldId="448"/>
            <ac:grpSpMk id="87" creationId="{00000000-0000-0000-0000-000000000000}"/>
          </ac:grpSpMkLst>
        </pc:grpChg>
        <pc:grpChg chg="del">
          <ac:chgData name="Daniele, L.M. (Laura)" userId="fd7970a2-7a0c-4b70-8263-dcc64c0076cf" providerId="ADAL" clId="{2E30AC29-01AD-49FF-A187-E210449B43FC}" dt="2020-06-22T14:17:03.444" v="365" actId="478"/>
          <ac:grpSpMkLst>
            <pc:docMk/>
            <pc:sldMk cId="114966215" sldId="448"/>
            <ac:grpSpMk id="93" creationId="{00000000-0000-0000-0000-000000000000}"/>
          </ac:grpSpMkLst>
        </pc:grpChg>
        <pc:grpChg chg="del">
          <ac:chgData name="Daniele, L.M. (Laura)" userId="fd7970a2-7a0c-4b70-8263-dcc64c0076cf" providerId="ADAL" clId="{2E30AC29-01AD-49FF-A187-E210449B43FC}" dt="2020-06-22T14:17:03.444" v="365" actId="478"/>
          <ac:grpSpMkLst>
            <pc:docMk/>
            <pc:sldMk cId="114966215" sldId="448"/>
            <ac:grpSpMk id="99" creationId="{00000000-0000-0000-0000-000000000000}"/>
          </ac:grpSpMkLst>
        </pc:grpChg>
        <pc:grpChg chg="del">
          <ac:chgData name="Daniele, L.M. (Laura)" userId="fd7970a2-7a0c-4b70-8263-dcc64c0076cf" providerId="ADAL" clId="{2E30AC29-01AD-49FF-A187-E210449B43FC}" dt="2020-06-22T14:17:03.444" v="365" actId="478"/>
          <ac:grpSpMkLst>
            <pc:docMk/>
            <pc:sldMk cId="114966215" sldId="448"/>
            <ac:grpSpMk id="100" creationId="{00000000-0000-0000-0000-000000000000}"/>
          </ac:grpSpMkLst>
        </pc:grpChg>
        <pc:grpChg chg="del">
          <ac:chgData name="Daniele, L.M. (Laura)" userId="fd7970a2-7a0c-4b70-8263-dcc64c0076cf" providerId="ADAL" clId="{2E30AC29-01AD-49FF-A187-E210449B43FC}" dt="2020-06-22T14:17:03.444" v="365" actId="478"/>
          <ac:grpSpMkLst>
            <pc:docMk/>
            <pc:sldMk cId="114966215" sldId="448"/>
            <ac:grpSpMk id="103" creationId="{00000000-0000-0000-0000-000000000000}"/>
          </ac:grpSpMkLst>
        </pc:grpChg>
        <pc:grpChg chg="del">
          <ac:chgData name="Daniele, L.M. (Laura)" userId="fd7970a2-7a0c-4b70-8263-dcc64c0076cf" providerId="ADAL" clId="{2E30AC29-01AD-49FF-A187-E210449B43FC}" dt="2020-06-22T14:17:03.444" v="365" actId="478"/>
          <ac:grpSpMkLst>
            <pc:docMk/>
            <pc:sldMk cId="114966215" sldId="448"/>
            <ac:grpSpMk id="106" creationId="{00000000-0000-0000-0000-000000000000}"/>
          </ac:grpSpMkLst>
        </pc:grpChg>
        <pc:grpChg chg="del">
          <ac:chgData name="Daniele, L.M. (Laura)" userId="fd7970a2-7a0c-4b70-8263-dcc64c0076cf" providerId="ADAL" clId="{2E30AC29-01AD-49FF-A187-E210449B43FC}" dt="2020-06-22T14:17:03.444" v="365" actId="478"/>
          <ac:grpSpMkLst>
            <pc:docMk/>
            <pc:sldMk cId="114966215" sldId="448"/>
            <ac:grpSpMk id="109" creationId="{00000000-0000-0000-0000-000000000000}"/>
          </ac:grpSpMkLst>
        </pc:grpChg>
        <pc:grpChg chg="del">
          <ac:chgData name="Daniele, L.M. (Laura)" userId="fd7970a2-7a0c-4b70-8263-dcc64c0076cf" providerId="ADAL" clId="{2E30AC29-01AD-49FF-A187-E210449B43FC}" dt="2020-06-22T14:17:03.444" v="365" actId="478"/>
          <ac:grpSpMkLst>
            <pc:docMk/>
            <pc:sldMk cId="114966215" sldId="448"/>
            <ac:grpSpMk id="155" creationId="{00000000-0000-0000-0000-000000000000}"/>
          </ac:grpSpMkLst>
        </pc:grpChg>
        <pc:picChg chg="del">
          <ac:chgData name="Daniele, L.M. (Laura)" userId="fd7970a2-7a0c-4b70-8263-dcc64c0076cf" providerId="ADAL" clId="{2E30AC29-01AD-49FF-A187-E210449B43FC}" dt="2020-06-22T14:17:03.444" v="365" actId="478"/>
          <ac:picMkLst>
            <pc:docMk/>
            <pc:sldMk cId="114966215" sldId="448"/>
            <ac:picMk id="36" creationId="{00000000-0000-0000-0000-000000000000}"/>
          </ac:picMkLst>
        </pc:picChg>
        <pc:picChg chg="add ord">
          <ac:chgData name="Daniele, L.M. (Laura)" userId="fd7970a2-7a0c-4b70-8263-dcc64c0076cf" providerId="ADAL" clId="{2E30AC29-01AD-49FF-A187-E210449B43FC}" dt="2020-06-22T14:17:09.080" v="367" actId="167"/>
          <ac:picMkLst>
            <pc:docMk/>
            <pc:sldMk cId="114966215" sldId="448"/>
            <ac:picMk id="239" creationId="{026EBEB9-A93A-4805-A6E9-C388B35A2133}"/>
          </ac:picMkLst>
        </pc:picChg>
        <pc:cxnChg chg="del">
          <ac:chgData name="Daniele, L.M. (Laura)" userId="fd7970a2-7a0c-4b70-8263-dcc64c0076cf" providerId="ADAL" clId="{2E30AC29-01AD-49FF-A187-E210449B43FC}" dt="2020-06-22T14:17:03.444" v="365" actId="478"/>
          <ac:cxnSpMkLst>
            <pc:docMk/>
            <pc:sldMk cId="114966215" sldId="448"/>
            <ac:cxnSpMk id="170" creationId="{00000000-0000-0000-0000-000000000000}"/>
          </ac:cxnSpMkLst>
        </pc:cxnChg>
        <pc:cxnChg chg="del">
          <ac:chgData name="Daniele, L.M. (Laura)" userId="fd7970a2-7a0c-4b70-8263-dcc64c0076cf" providerId="ADAL" clId="{2E30AC29-01AD-49FF-A187-E210449B43FC}" dt="2020-06-22T14:17:03.444" v="365" actId="478"/>
          <ac:cxnSpMkLst>
            <pc:docMk/>
            <pc:sldMk cId="114966215" sldId="448"/>
            <ac:cxnSpMk id="173" creationId="{00000000-0000-0000-0000-000000000000}"/>
          </ac:cxnSpMkLst>
        </pc:cxnChg>
        <pc:cxnChg chg="del">
          <ac:chgData name="Daniele, L.M. (Laura)" userId="fd7970a2-7a0c-4b70-8263-dcc64c0076cf" providerId="ADAL" clId="{2E30AC29-01AD-49FF-A187-E210449B43FC}" dt="2020-06-22T14:17:03.444" v="365" actId="478"/>
          <ac:cxnSpMkLst>
            <pc:docMk/>
            <pc:sldMk cId="114966215" sldId="448"/>
            <ac:cxnSpMk id="176" creationId="{00000000-0000-0000-0000-000000000000}"/>
          </ac:cxnSpMkLst>
        </pc:cxnChg>
        <pc:cxnChg chg="del">
          <ac:chgData name="Daniele, L.M. (Laura)" userId="fd7970a2-7a0c-4b70-8263-dcc64c0076cf" providerId="ADAL" clId="{2E30AC29-01AD-49FF-A187-E210449B43FC}" dt="2020-06-22T14:17:03.444" v="365" actId="478"/>
          <ac:cxnSpMkLst>
            <pc:docMk/>
            <pc:sldMk cId="114966215" sldId="448"/>
            <ac:cxnSpMk id="177" creationId="{00000000-0000-0000-0000-000000000000}"/>
          </ac:cxnSpMkLst>
        </pc:cxnChg>
        <pc:cxnChg chg="del">
          <ac:chgData name="Daniele, L.M. (Laura)" userId="fd7970a2-7a0c-4b70-8263-dcc64c0076cf" providerId="ADAL" clId="{2E30AC29-01AD-49FF-A187-E210449B43FC}" dt="2020-06-22T14:17:03.444" v="365" actId="478"/>
          <ac:cxnSpMkLst>
            <pc:docMk/>
            <pc:sldMk cId="114966215" sldId="448"/>
            <ac:cxnSpMk id="178" creationId="{00000000-0000-0000-0000-000000000000}"/>
          </ac:cxnSpMkLst>
        </pc:cxnChg>
        <pc:cxnChg chg="del">
          <ac:chgData name="Daniele, L.M. (Laura)" userId="fd7970a2-7a0c-4b70-8263-dcc64c0076cf" providerId="ADAL" clId="{2E30AC29-01AD-49FF-A187-E210449B43FC}" dt="2020-06-22T14:17:03.444" v="365" actId="478"/>
          <ac:cxnSpMkLst>
            <pc:docMk/>
            <pc:sldMk cId="114966215" sldId="448"/>
            <ac:cxnSpMk id="179" creationId="{00000000-0000-0000-0000-000000000000}"/>
          </ac:cxnSpMkLst>
        </pc:cxnChg>
        <pc:cxnChg chg="del">
          <ac:chgData name="Daniele, L.M. (Laura)" userId="fd7970a2-7a0c-4b70-8263-dcc64c0076cf" providerId="ADAL" clId="{2E30AC29-01AD-49FF-A187-E210449B43FC}" dt="2020-06-22T14:17:03.444" v="365" actId="478"/>
          <ac:cxnSpMkLst>
            <pc:docMk/>
            <pc:sldMk cId="114966215" sldId="448"/>
            <ac:cxnSpMk id="180" creationId="{00000000-0000-0000-0000-000000000000}"/>
          </ac:cxnSpMkLst>
        </pc:cxnChg>
        <pc:cxnChg chg="del">
          <ac:chgData name="Daniele, L.M. (Laura)" userId="fd7970a2-7a0c-4b70-8263-dcc64c0076cf" providerId="ADAL" clId="{2E30AC29-01AD-49FF-A187-E210449B43FC}" dt="2020-06-22T14:17:03.444" v="365" actId="478"/>
          <ac:cxnSpMkLst>
            <pc:docMk/>
            <pc:sldMk cId="114966215" sldId="448"/>
            <ac:cxnSpMk id="181" creationId="{00000000-0000-0000-0000-000000000000}"/>
          </ac:cxnSpMkLst>
        </pc:cxnChg>
        <pc:cxnChg chg="del">
          <ac:chgData name="Daniele, L.M. (Laura)" userId="fd7970a2-7a0c-4b70-8263-dcc64c0076cf" providerId="ADAL" clId="{2E30AC29-01AD-49FF-A187-E210449B43FC}" dt="2020-06-22T14:17:03.444" v="365" actId="478"/>
          <ac:cxnSpMkLst>
            <pc:docMk/>
            <pc:sldMk cId="114966215" sldId="448"/>
            <ac:cxnSpMk id="182" creationId="{00000000-0000-0000-0000-000000000000}"/>
          </ac:cxnSpMkLst>
        </pc:cxnChg>
        <pc:cxnChg chg="del">
          <ac:chgData name="Daniele, L.M. (Laura)" userId="fd7970a2-7a0c-4b70-8263-dcc64c0076cf" providerId="ADAL" clId="{2E30AC29-01AD-49FF-A187-E210449B43FC}" dt="2020-06-22T14:17:03.444" v="365" actId="478"/>
          <ac:cxnSpMkLst>
            <pc:docMk/>
            <pc:sldMk cId="114966215" sldId="448"/>
            <ac:cxnSpMk id="183" creationId="{00000000-0000-0000-0000-000000000000}"/>
          </ac:cxnSpMkLst>
        </pc:cxnChg>
        <pc:cxnChg chg="del">
          <ac:chgData name="Daniele, L.M. (Laura)" userId="fd7970a2-7a0c-4b70-8263-dcc64c0076cf" providerId="ADAL" clId="{2E30AC29-01AD-49FF-A187-E210449B43FC}" dt="2020-06-22T14:17:03.444" v="365" actId="478"/>
          <ac:cxnSpMkLst>
            <pc:docMk/>
            <pc:sldMk cId="114966215" sldId="448"/>
            <ac:cxnSpMk id="185" creationId="{00000000-0000-0000-0000-000000000000}"/>
          </ac:cxnSpMkLst>
        </pc:cxnChg>
        <pc:cxnChg chg="del">
          <ac:chgData name="Daniele, L.M. (Laura)" userId="fd7970a2-7a0c-4b70-8263-dcc64c0076cf" providerId="ADAL" clId="{2E30AC29-01AD-49FF-A187-E210449B43FC}" dt="2020-06-22T14:17:03.444" v="365" actId="478"/>
          <ac:cxnSpMkLst>
            <pc:docMk/>
            <pc:sldMk cId="114966215" sldId="448"/>
            <ac:cxnSpMk id="187" creationId="{00000000-0000-0000-0000-000000000000}"/>
          </ac:cxnSpMkLst>
        </pc:cxnChg>
        <pc:cxnChg chg="del">
          <ac:chgData name="Daniele, L.M. (Laura)" userId="fd7970a2-7a0c-4b70-8263-dcc64c0076cf" providerId="ADAL" clId="{2E30AC29-01AD-49FF-A187-E210449B43FC}" dt="2020-06-22T14:17:03.444" v="365" actId="478"/>
          <ac:cxnSpMkLst>
            <pc:docMk/>
            <pc:sldMk cId="114966215" sldId="448"/>
            <ac:cxnSpMk id="191" creationId="{00000000-0000-0000-0000-000000000000}"/>
          </ac:cxnSpMkLst>
        </pc:cxnChg>
        <pc:cxnChg chg="del">
          <ac:chgData name="Daniele, L.M. (Laura)" userId="fd7970a2-7a0c-4b70-8263-dcc64c0076cf" providerId="ADAL" clId="{2E30AC29-01AD-49FF-A187-E210449B43FC}" dt="2020-06-22T14:17:03.444" v="365" actId="478"/>
          <ac:cxnSpMkLst>
            <pc:docMk/>
            <pc:sldMk cId="114966215" sldId="448"/>
            <ac:cxnSpMk id="192" creationId="{00000000-0000-0000-0000-000000000000}"/>
          </ac:cxnSpMkLst>
        </pc:cxnChg>
        <pc:cxnChg chg="del">
          <ac:chgData name="Daniele, L.M. (Laura)" userId="fd7970a2-7a0c-4b70-8263-dcc64c0076cf" providerId="ADAL" clId="{2E30AC29-01AD-49FF-A187-E210449B43FC}" dt="2020-06-22T14:17:03.444" v="365" actId="478"/>
          <ac:cxnSpMkLst>
            <pc:docMk/>
            <pc:sldMk cId="114966215" sldId="448"/>
            <ac:cxnSpMk id="193" creationId="{00000000-0000-0000-0000-000000000000}"/>
          </ac:cxnSpMkLst>
        </pc:cxnChg>
        <pc:cxnChg chg="del">
          <ac:chgData name="Daniele, L.M. (Laura)" userId="fd7970a2-7a0c-4b70-8263-dcc64c0076cf" providerId="ADAL" clId="{2E30AC29-01AD-49FF-A187-E210449B43FC}" dt="2020-06-22T14:17:03.444" v="365" actId="478"/>
          <ac:cxnSpMkLst>
            <pc:docMk/>
            <pc:sldMk cId="114966215" sldId="448"/>
            <ac:cxnSpMk id="194" creationId="{00000000-0000-0000-0000-000000000000}"/>
          </ac:cxnSpMkLst>
        </pc:cxnChg>
        <pc:cxnChg chg="del">
          <ac:chgData name="Daniele, L.M. (Laura)" userId="fd7970a2-7a0c-4b70-8263-dcc64c0076cf" providerId="ADAL" clId="{2E30AC29-01AD-49FF-A187-E210449B43FC}" dt="2020-06-22T14:17:03.444" v="365" actId="478"/>
          <ac:cxnSpMkLst>
            <pc:docMk/>
            <pc:sldMk cId="114966215" sldId="448"/>
            <ac:cxnSpMk id="196" creationId="{00000000-0000-0000-0000-000000000000}"/>
          </ac:cxnSpMkLst>
        </pc:cxnChg>
        <pc:cxnChg chg="del">
          <ac:chgData name="Daniele, L.M. (Laura)" userId="fd7970a2-7a0c-4b70-8263-dcc64c0076cf" providerId="ADAL" clId="{2E30AC29-01AD-49FF-A187-E210449B43FC}" dt="2020-06-22T14:17:03.444" v="365" actId="478"/>
          <ac:cxnSpMkLst>
            <pc:docMk/>
            <pc:sldMk cId="114966215" sldId="448"/>
            <ac:cxnSpMk id="197" creationId="{00000000-0000-0000-0000-000000000000}"/>
          </ac:cxnSpMkLst>
        </pc:cxnChg>
        <pc:cxnChg chg="del">
          <ac:chgData name="Daniele, L.M. (Laura)" userId="fd7970a2-7a0c-4b70-8263-dcc64c0076cf" providerId="ADAL" clId="{2E30AC29-01AD-49FF-A187-E210449B43FC}" dt="2020-06-22T14:17:03.444" v="365" actId="478"/>
          <ac:cxnSpMkLst>
            <pc:docMk/>
            <pc:sldMk cId="114966215" sldId="448"/>
            <ac:cxnSpMk id="199" creationId="{00000000-0000-0000-0000-000000000000}"/>
          </ac:cxnSpMkLst>
        </pc:cxnChg>
        <pc:cxnChg chg="del">
          <ac:chgData name="Daniele, L.M. (Laura)" userId="fd7970a2-7a0c-4b70-8263-dcc64c0076cf" providerId="ADAL" clId="{2E30AC29-01AD-49FF-A187-E210449B43FC}" dt="2020-06-22T14:17:03.444" v="365" actId="478"/>
          <ac:cxnSpMkLst>
            <pc:docMk/>
            <pc:sldMk cId="114966215" sldId="448"/>
            <ac:cxnSpMk id="201" creationId="{00000000-0000-0000-0000-000000000000}"/>
          </ac:cxnSpMkLst>
        </pc:cxnChg>
        <pc:cxnChg chg="del">
          <ac:chgData name="Daniele, L.M. (Laura)" userId="fd7970a2-7a0c-4b70-8263-dcc64c0076cf" providerId="ADAL" clId="{2E30AC29-01AD-49FF-A187-E210449B43FC}" dt="2020-06-22T14:17:03.444" v="365" actId="478"/>
          <ac:cxnSpMkLst>
            <pc:docMk/>
            <pc:sldMk cId="114966215" sldId="448"/>
            <ac:cxnSpMk id="202" creationId="{00000000-0000-0000-0000-000000000000}"/>
          </ac:cxnSpMkLst>
        </pc:cxnChg>
        <pc:cxnChg chg="del">
          <ac:chgData name="Daniele, L.M. (Laura)" userId="fd7970a2-7a0c-4b70-8263-dcc64c0076cf" providerId="ADAL" clId="{2E30AC29-01AD-49FF-A187-E210449B43FC}" dt="2020-06-22T14:17:03.444" v="365" actId="478"/>
          <ac:cxnSpMkLst>
            <pc:docMk/>
            <pc:sldMk cId="114966215" sldId="448"/>
            <ac:cxnSpMk id="204" creationId="{00000000-0000-0000-0000-000000000000}"/>
          </ac:cxnSpMkLst>
        </pc:cxnChg>
        <pc:cxnChg chg="del">
          <ac:chgData name="Daniele, L.M. (Laura)" userId="fd7970a2-7a0c-4b70-8263-dcc64c0076cf" providerId="ADAL" clId="{2E30AC29-01AD-49FF-A187-E210449B43FC}" dt="2020-06-22T14:17:03.444" v="365" actId="478"/>
          <ac:cxnSpMkLst>
            <pc:docMk/>
            <pc:sldMk cId="114966215" sldId="448"/>
            <ac:cxnSpMk id="205" creationId="{00000000-0000-0000-0000-000000000000}"/>
          </ac:cxnSpMkLst>
        </pc:cxnChg>
        <pc:cxnChg chg="del">
          <ac:chgData name="Daniele, L.M. (Laura)" userId="fd7970a2-7a0c-4b70-8263-dcc64c0076cf" providerId="ADAL" clId="{2E30AC29-01AD-49FF-A187-E210449B43FC}" dt="2020-06-22T14:17:03.444" v="365" actId="478"/>
          <ac:cxnSpMkLst>
            <pc:docMk/>
            <pc:sldMk cId="114966215" sldId="448"/>
            <ac:cxnSpMk id="208" creationId="{00000000-0000-0000-0000-000000000000}"/>
          </ac:cxnSpMkLst>
        </pc:cxnChg>
        <pc:cxnChg chg="del">
          <ac:chgData name="Daniele, L.M. (Laura)" userId="fd7970a2-7a0c-4b70-8263-dcc64c0076cf" providerId="ADAL" clId="{2E30AC29-01AD-49FF-A187-E210449B43FC}" dt="2020-06-22T14:17:03.444" v="365" actId="478"/>
          <ac:cxnSpMkLst>
            <pc:docMk/>
            <pc:sldMk cId="114966215" sldId="448"/>
            <ac:cxnSpMk id="210" creationId="{00000000-0000-0000-0000-000000000000}"/>
          </ac:cxnSpMkLst>
        </pc:cxnChg>
        <pc:cxnChg chg="del">
          <ac:chgData name="Daniele, L.M. (Laura)" userId="fd7970a2-7a0c-4b70-8263-dcc64c0076cf" providerId="ADAL" clId="{2E30AC29-01AD-49FF-A187-E210449B43FC}" dt="2020-06-22T14:17:03.444" v="365" actId="478"/>
          <ac:cxnSpMkLst>
            <pc:docMk/>
            <pc:sldMk cId="114966215" sldId="448"/>
            <ac:cxnSpMk id="213" creationId="{00000000-0000-0000-0000-000000000000}"/>
          </ac:cxnSpMkLst>
        </pc:cxnChg>
        <pc:cxnChg chg="del">
          <ac:chgData name="Daniele, L.M. (Laura)" userId="fd7970a2-7a0c-4b70-8263-dcc64c0076cf" providerId="ADAL" clId="{2E30AC29-01AD-49FF-A187-E210449B43FC}" dt="2020-06-22T14:17:03.444" v="365" actId="478"/>
          <ac:cxnSpMkLst>
            <pc:docMk/>
            <pc:sldMk cId="114966215" sldId="448"/>
            <ac:cxnSpMk id="218" creationId="{00000000-0000-0000-0000-000000000000}"/>
          </ac:cxnSpMkLst>
        </pc:cxnChg>
        <pc:cxnChg chg="del">
          <ac:chgData name="Daniele, L.M. (Laura)" userId="fd7970a2-7a0c-4b70-8263-dcc64c0076cf" providerId="ADAL" clId="{2E30AC29-01AD-49FF-A187-E210449B43FC}" dt="2020-06-22T14:17:03.444" v="365" actId="478"/>
          <ac:cxnSpMkLst>
            <pc:docMk/>
            <pc:sldMk cId="114966215" sldId="448"/>
            <ac:cxnSpMk id="222" creationId="{00000000-0000-0000-0000-000000000000}"/>
          </ac:cxnSpMkLst>
        </pc:cxnChg>
        <pc:cxnChg chg="del">
          <ac:chgData name="Daniele, L.M. (Laura)" userId="fd7970a2-7a0c-4b70-8263-dcc64c0076cf" providerId="ADAL" clId="{2E30AC29-01AD-49FF-A187-E210449B43FC}" dt="2020-06-22T14:17:03.444" v="365" actId="478"/>
          <ac:cxnSpMkLst>
            <pc:docMk/>
            <pc:sldMk cId="114966215" sldId="448"/>
            <ac:cxnSpMk id="226" creationId="{00000000-0000-0000-0000-000000000000}"/>
          </ac:cxnSpMkLst>
        </pc:cxnChg>
        <pc:cxnChg chg="del">
          <ac:chgData name="Daniele, L.M. (Laura)" userId="fd7970a2-7a0c-4b70-8263-dcc64c0076cf" providerId="ADAL" clId="{2E30AC29-01AD-49FF-A187-E210449B43FC}" dt="2020-06-22T14:17:03.444" v="365" actId="478"/>
          <ac:cxnSpMkLst>
            <pc:docMk/>
            <pc:sldMk cId="114966215" sldId="448"/>
            <ac:cxnSpMk id="229" creationId="{00000000-0000-0000-0000-000000000000}"/>
          </ac:cxnSpMkLst>
        </pc:cxnChg>
        <pc:cxnChg chg="del">
          <ac:chgData name="Daniele, L.M. (Laura)" userId="fd7970a2-7a0c-4b70-8263-dcc64c0076cf" providerId="ADAL" clId="{2E30AC29-01AD-49FF-A187-E210449B43FC}" dt="2020-06-22T14:17:03.444" v="365" actId="478"/>
          <ac:cxnSpMkLst>
            <pc:docMk/>
            <pc:sldMk cId="114966215" sldId="448"/>
            <ac:cxnSpMk id="232" creationId="{00000000-0000-0000-0000-000000000000}"/>
          </ac:cxnSpMkLst>
        </pc:cxnChg>
        <pc:cxnChg chg="del">
          <ac:chgData name="Daniele, L.M. (Laura)" userId="fd7970a2-7a0c-4b70-8263-dcc64c0076cf" providerId="ADAL" clId="{2E30AC29-01AD-49FF-A187-E210449B43FC}" dt="2020-06-22T14:17:03.444" v="365" actId="478"/>
          <ac:cxnSpMkLst>
            <pc:docMk/>
            <pc:sldMk cId="114966215" sldId="448"/>
            <ac:cxnSpMk id="235" creationId="{00000000-0000-0000-0000-000000000000}"/>
          </ac:cxnSpMkLst>
        </pc:cxnChg>
        <pc:cxnChg chg="del">
          <ac:chgData name="Daniele, L.M. (Laura)" userId="fd7970a2-7a0c-4b70-8263-dcc64c0076cf" providerId="ADAL" clId="{2E30AC29-01AD-49FF-A187-E210449B43FC}" dt="2020-06-22T14:17:03.444" v="365" actId="478"/>
          <ac:cxnSpMkLst>
            <pc:docMk/>
            <pc:sldMk cId="114966215" sldId="448"/>
            <ac:cxnSpMk id="247" creationId="{00000000-0000-0000-0000-000000000000}"/>
          </ac:cxnSpMkLst>
        </pc:cxnChg>
        <pc:cxnChg chg="del">
          <ac:chgData name="Daniele, L.M. (Laura)" userId="fd7970a2-7a0c-4b70-8263-dcc64c0076cf" providerId="ADAL" clId="{2E30AC29-01AD-49FF-A187-E210449B43FC}" dt="2020-06-22T14:17:03.444" v="365" actId="478"/>
          <ac:cxnSpMkLst>
            <pc:docMk/>
            <pc:sldMk cId="114966215" sldId="448"/>
            <ac:cxnSpMk id="251" creationId="{00000000-0000-0000-0000-000000000000}"/>
          </ac:cxnSpMkLst>
        </pc:cxnChg>
        <pc:cxnChg chg="del">
          <ac:chgData name="Daniele, L.M. (Laura)" userId="fd7970a2-7a0c-4b70-8263-dcc64c0076cf" providerId="ADAL" clId="{2E30AC29-01AD-49FF-A187-E210449B43FC}" dt="2020-06-22T14:17:03.444" v="365" actId="478"/>
          <ac:cxnSpMkLst>
            <pc:docMk/>
            <pc:sldMk cId="114966215" sldId="448"/>
            <ac:cxnSpMk id="257" creationId="{00000000-0000-0000-0000-000000000000}"/>
          </ac:cxnSpMkLst>
        </pc:cxnChg>
        <pc:cxnChg chg="del">
          <ac:chgData name="Daniele, L.M. (Laura)" userId="fd7970a2-7a0c-4b70-8263-dcc64c0076cf" providerId="ADAL" clId="{2E30AC29-01AD-49FF-A187-E210449B43FC}" dt="2020-06-22T14:17:03.444" v="365" actId="478"/>
          <ac:cxnSpMkLst>
            <pc:docMk/>
            <pc:sldMk cId="114966215" sldId="448"/>
            <ac:cxnSpMk id="260" creationId="{00000000-0000-0000-0000-000000000000}"/>
          </ac:cxnSpMkLst>
        </pc:cxnChg>
        <pc:cxnChg chg="del">
          <ac:chgData name="Daniele, L.M. (Laura)" userId="fd7970a2-7a0c-4b70-8263-dcc64c0076cf" providerId="ADAL" clId="{2E30AC29-01AD-49FF-A187-E210449B43FC}" dt="2020-06-22T14:17:03.444" v="365" actId="478"/>
          <ac:cxnSpMkLst>
            <pc:docMk/>
            <pc:sldMk cId="114966215" sldId="448"/>
            <ac:cxnSpMk id="263" creationId="{00000000-0000-0000-0000-000000000000}"/>
          </ac:cxnSpMkLst>
        </pc:cxnChg>
        <pc:cxnChg chg="del">
          <ac:chgData name="Daniele, L.M. (Laura)" userId="fd7970a2-7a0c-4b70-8263-dcc64c0076cf" providerId="ADAL" clId="{2E30AC29-01AD-49FF-A187-E210449B43FC}" dt="2020-06-22T14:17:03.444" v="365" actId="478"/>
          <ac:cxnSpMkLst>
            <pc:docMk/>
            <pc:sldMk cId="114966215" sldId="448"/>
            <ac:cxnSpMk id="272" creationId="{00000000-0000-0000-0000-000000000000}"/>
          </ac:cxnSpMkLst>
        </pc:cxnChg>
        <pc:cxnChg chg="del">
          <ac:chgData name="Daniele, L.M. (Laura)" userId="fd7970a2-7a0c-4b70-8263-dcc64c0076cf" providerId="ADAL" clId="{2E30AC29-01AD-49FF-A187-E210449B43FC}" dt="2020-06-22T14:17:03.444" v="365" actId="478"/>
          <ac:cxnSpMkLst>
            <pc:docMk/>
            <pc:sldMk cId="114966215" sldId="448"/>
            <ac:cxnSpMk id="276" creationId="{00000000-0000-0000-0000-000000000000}"/>
          </ac:cxnSpMkLst>
        </pc:cxnChg>
        <pc:cxnChg chg="del">
          <ac:chgData name="Daniele, L.M. (Laura)" userId="fd7970a2-7a0c-4b70-8263-dcc64c0076cf" providerId="ADAL" clId="{2E30AC29-01AD-49FF-A187-E210449B43FC}" dt="2020-06-22T14:17:03.444" v="365" actId="478"/>
          <ac:cxnSpMkLst>
            <pc:docMk/>
            <pc:sldMk cId="114966215" sldId="448"/>
            <ac:cxnSpMk id="280" creationId="{00000000-0000-0000-0000-000000000000}"/>
          </ac:cxnSpMkLst>
        </pc:cxnChg>
        <pc:cxnChg chg="del">
          <ac:chgData name="Daniele, L.M. (Laura)" userId="fd7970a2-7a0c-4b70-8263-dcc64c0076cf" providerId="ADAL" clId="{2E30AC29-01AD-49FF-A187-E210449B43FC}" dt="2020-06-22T14:17:03.444" v="365" actId="478"/>
          <ac:cxnSpMkLst>
            <pc:docMk/>
            <pc:sldMk cId="114966215" sldId="448"/>
            <ac:cxnSpMk id="283" creationId="{00000000-0000-0000-0000-000000000000}"/>
          </ac:cxnSpMkLst>
        </pc:cxnChg>
        <pc:cxnChg chg="del">
          <ac:chgData name="Daniele, L.M. (Laura)" userId="fd7970a2-7a0c-4b70-8263-dcc64c0076cf" providerId="ADAL" clId="{2E30AC29-01AD-49FF-A187-E210449B43FC}" dt="2020-06-22T14:17:03.444" v="365" actId="478"/>
          <ac:cxnSpMkLst>
            <pc:docMk/>
            <pc:sldMk cId="114966215" sldId="448"/>
            <ac:cxnSpMk id="290" creationId="{00000000-0000-0000-0000-000000000000}"/>
          </ac:cxnSpMkLst>
        </pc:cxnChg>
        <pc:cxnChg chg="del">
          <ac:chgData name="Daniele, L.M. (Laura)" userId="fd7970a2-7a0c-4b70-8263-dcc64c0076cf" providerId="ADAL" clId="{2E30AC29-01AD-49FF-A187-E210449B43FC}" dt="2020-06-22T14:17:03.444" v="365" actId="478"/>
          <ac:cxnSpMkLst>
            <pc:docMk/>
            <pc:sldMk cId="114966215" sldId="448"/>
            <ac:cxnSpMk id="293" creationId="{00000000-0000-0000-0000-000000000000}"/>
          </ac:cxnSpMkLst>
        </pc:cxnChg>
        <pc:cxnChg chg="del">
          <ac:chgData name="Daniele, L.M. (Laura)" userId="fd7970a2-7a0c-4b70-8263-dcc64c0076cf" providerId="ADAL" clId="{2E30AC29-01AD-49FF-A187-E210449B43FC}" dt="2020-06-22T14:17:03.444" v="365" actId="478"/>
          <ac:cxnSpMkLst>
            <pc:docMk/>
            <pc:sldMk cId="114966215" sldId="448"/>
            <ac:cxnSpMk id="296" creationId="{00000000-0000-0000-0000-000000000000}"/>
          </ac:cxnSpMkLst>
        </pc:cxnChg>
        <pc:cxnChg chg="del">
          <ac:chgData name="Daniele, L.M. (Laura)" userId="fd7970a2-7a0c-4b70-8263-dcc64c0076cf" providerId="ADAL" clId="{2E30AC29-01AD-49FF-A187-E210449B43FC}" dt="2020-06-22T14:17:03.444" v="365" actId="478"/>
          <ac:cxnSpMkLst>
            <pc:docMk/>
            <pc:sldMk cId="114966215" sldId="448"/>
            <ac:cxnSpMk id="302" creationId="{00000000-0000-0000-0000-000000000000}"/>
          </ac:cxnSpMkLst>
        </pc:cxnChg>
        <pc:cxnChg chg="del">
          <ac:chgData name="Daniele, L.M. (Laura)" userId="fd7970a2-7a0c-4b70-8263-dcc64c0076cf" providerId="ADAL" clId="{2E30AC29-01AD-49FF-A187-E210449B43FC}" dt="2020-06-22T14:17:03.444" v="365" actId="478"/>
          <ac:cxnSpMkLst>
            <pc:docMk/>
            <pc:sldMk cId="114966215" sldId="448"/>
            <ac:cxnSpMk id="306" creationId="{00000000-0000-0000-0000-000000000000}"/>
          </ac:cxnSpMkLst>
        </pc:cxnChg>
        <pc:cxnChg chg="del">
          <ac:chgData name="Daniele, L.M. (Laura)" userId="fd7970a2-7a0c-4b70-8263-dcc64c0076cf" providerId="ADAL" clId="{2E30AC29-01AD-49FF-A187-E210449B43FC}" dt="2020-06-22T14:17:03.444" v="365" actId="478"/>
          <ac:cxnSpMkLst>
            <pc:docMk/>
            <pc:sldMk cId="114966215" sldId="448"/>
            <ac:cxnSpMk id="309" creationId="{00000000-0000-0000-0000-000000000000}"/>
          </ac:cxnSpMkLst>
        </pc:cxnChg>
        <pc:cxnChg chg="del">
          <ac:chgData name="Daniele, L.M. (Laura)" userId="fd7970a2-7a0c-4b70-8263-dcc64c0076cf" providerId="ADAL" clId="{2E30AC29-01AD-49FF-A187-E210449B43FC}" dt="2020-06-22T14:17:03.444" v="365" actId="478"/>
          <ac:cxnSpMkLst>
            <pc:docMk/>
            <pc:sldMk cId="114966215" sldId="448"/>
            <ac:cxnSpMk id="313" creationId="{00000000-0000-0000-0000-000000000000}"/>
          </ac:cxnSpMkLst>
        </pc:cxnChg>
        <pc:cxnChg chg="del">
          <ac:chgData name="Daniele, L.M. (Laura)" userId="fd7970a2-7a0c-4b70-8263-dcc64c0076cf" providerId="ADAL" clId="{2E30AC29-01AD-49FF-A187-E210449B43FC}" dt="2020-06-22T14:17:03.444" v="365" actId="478"/>
          <ac:cxnSpMkLst>
            <pc:docMk/>
            <pc:sldMk cId="114966215" sldId="448"/>
            <ac:cxnSpMk id="318" creationId="{00000000-0000-0000-0000-000000000000}"/>
          </ac:cxnSpMkLst>
        </pc:cxnChg>
        <pc:cxnChg chg="del">
          <ac:chgData name="Daniele, L.M. (Laura)" userId="fd7970a2-7a0c-4b70-8263-dcc64c0076cf" providerId="ADAL" clId="{2E30AC29-01AD-49FF-A187-E210449B43FC}" dt="2020-06-22T14:17:03.444" v="365" actId="478"/>
          <ac:cxnSpMkLst>
            <pc:docMk/>
            <pc:sldMk cId="114966215" sldId="448"/>
            <ac:cxnSpMk id="326" creationId="{00000000-0000-0000-0000-000000000000}"/>
          </ac:cxnSpMkLst>
        </pc:cxnChg>
        <pc:cxnChg chg="del">
          <ac:chgData name="Daniele, L.M. (Laura)" userId="fd7970a2-7a0c-4b70-8263-dcc64c0076cf" providerId="ADAL" clId="{2E30AC29-01AD-49FF-A187-E210449B43FC}" dt="2020-06-22T14:17:03.444" v="365" actId="478"/>
          <ac:cxnSpMkLst>
            <pc:docMk/>
            <pc:sldMk cId="114966215" sldId="448"/>
            <ac:cxnSpMk id="329" creationId="{00000000-0000-0000-0000-000000000000}"/>
          </ac:cxnSpMkLst>
        </pc:cxnChg>
        <pc:cxnChg chg="del">
          <ac:chgData name="Daniele, L.M. (Laura)" userId="fd7970a2-7a0c-4b70-8263-dcc64c0076cf" providerId="ADAL" clId="{2E30AC29-01AD-49FF-A187-E210449B43FC}" dt="2020-06-22T14:17:03.444" v="365" actId="478"/>
          <ac:cxnSpMkLst>
            <pc:docMk/>
            <pc:sldMk cId="114966215" sldId="448"/>
            <ac:cxnSpMk id="344" creationId="{00000000-0000-0000-0000-000000000000}"/>
          </ac:cxnSpMkLst>
        </pc:cxnChg>
        <pc:cxnChg chg="del">
          <ac:chgData name="Daniele, L.M. (Laura)" userId="fd7970a2-7a0c-4b70-8263-dcc64c0076cf" providerId="ADAL" clId="{2E30AC29-01AD-49FF-A187-E210449B43FC}" dt="2020-06-22T14:17:03.444" v="365" actId="478"/>
          <ac:cxnSpMkLst>
            <pc:docMk/>
            <pc:sldMk cId="114966215" sldId="448"/>
            <ac:cxnSpMk id="352" creationId="{00000000-0000-0000-0000-000000000000}"/>
          </ac:cxnSpMkLst>
        </pc:cxnChg>
        <pc:cxnChg chg="del">
          <ac:chgData name="Daniele, L.M. (Laura)" userId="fd7970a2-7a0c-4b70-8263-dcc64c0076cf" providerId="ADAL" clId="{2E30AC29-01AD-49FF-A187-E210449B43FC}" dt="2020-06-22T14:17:03.444" v="365" actId="478"/>
          <ac:cxnSpMkLst>
            <pc:docMk/>
            <pc:sldMk cId="114966215" sldId="448"/>
            <ac:cxnSpMk id="361" creationId="{00000000-0000-0000-0000-000000000000}"/>
          </ac:cxnSpMkLst>
        </pc:cxnChg>
      </pc:sldChg>
      <pc:sldChg chg="delSp add del">
        <pc:chgData name="Daniele, L.M. (Laura)" userId="fd7970a2-7a0c-4b70-8263-dcc64c0076cf" providerId="ADAL" clId="{2E30AC29-01AD-49FF-A187-E210449B43FC}" dt="2020-06-22T14:16:09.032" v="359" actId="2696"/>
        <pc:sldMkLst>
          <pc:docMk/>
          <pc:sldMk cId="1006864343" sldId="448"/>
        </pc:sldMkLst>
        <pc:spChg chg="del">
          <ac:chgData name="Daniele, L.M. (Laura)" userId="fd7970a2-7a0c-4b70-8263-dcc64c0076cf" providerId="ADAL" clId="{2E30AC29-01AD-49FF-A187-E210449B43FC}" dt="2020-06-22T14:14:50.510" v="356" actId="478"/>
          <ac:spMkLst>
            <pc:docMk/>
            <pc:sldMk cId="1006864343" sldId="448"/>
            <ac:spMk id="184" creationId="{00000000-0000-0000-0000-000000000000}"/>
          </ac:spMkLst>
        </pc:spChg>
        <pc:spChg chg="del">
          <ac:chgData name="Daniele, L.M. (Laura)" userId="fd7970a2-7a0c-4b70-8263-dcc64c0076cf" providerId="ADAL" clId="{2E30AC29-01AD-49FF-A187-E210449B43FC}" dt="2020-06-22T14:14:50.510" v="356" actId="478"/>
          <ac:spMkLst>
            <pc:docMk/>
            <pc:sldMk cId="1006864343" sldId="448"/>
            <ac:spMk id="189" creationId="{00000000-0000-0000-0000-000000000000}"/>
          </ac:spMkLst>
        </pc:spChg>
        <pc:spChg chg="del">
          <ac:chgData name="Daniele, L.M. (Laura)" userId="fd7970a2-7a0c-4b70-8263-dcc64c0076cf" providerId="ADAL" clId="{2E30AC29-01AD-49FF-A187-E210449B43FC}" dt="2020-06-22T14:14:50.510" v="356" actId="478"/>
          <ac:spMkLst>
            <pc:docMk/>
            <pc:sldMk cId="1006864343" sldId="448"/>
            <ac:spMk id="190" creationId="{00000000-0000-0000-0000-000000000000}"/>
          </ac:spMkLst>
        </pc:spChg>
        <pc:spChg chg="del">
          <ac:chgData name="Daniele, L.M. (Laura)" userId="fd7970a2-7a0c-4b70-8263-dcc64c0076cf" providerId="ADAL" clId="{2E30AC29-01AD-49FF-A187-E210449B43FC}" dt="2020-06-22T14:14:50.510" v="356" actId="478"/>
          <ac:spMkLst>
            <pc:docMk/>
            <pc:sldMk cId="1006864343" sldId="448"/>
            <ac:spMk id="230" creationId="{00000000-0000-0000-0000-000000000000}"/>
          </ac:spMkLst>
        </pc:spChg>
        <pc:spChg chg="del">
          <ac:chgData name="Daniele, L.M. (Laura)" userId="fd7970a2-7a0c-4b70-8263-dcc64c0076cf" providerId="ADAL" clId="{2E30AC29-01AD-49FF-A187-E210449B43FC}" dt="2020-06-22T14:14:50.510" v="356" actId="478"/>
          <ac:spMkLst>
            <pc:docMk/>
            <pc:sldMk cId="1006864343" sldId="448"/>
            <ac:spMk id="231" creationId="{00000000-0000-0000-0000-000000000000}"/>
          </ac:spMkLst>
        </pc:spChg>
        <pc:spChg chg="del">
          <ac:chgData name="Daniele, L.M. (Laura)" userId="fd7970a2-7a0c-4b70-8263-dcc64c0076cf" providerId="ADAL" clId="{2E30AC29-01AD-49FF-A187-E210449B43FC}" dt="2020-06-22T14:14:50.510" v="356" actId="478"/>
          <ac:spMkLst>
            <pc:docMk/>
            <pc:sldMk cId="1006864343" sldId="448"/>
            <ac:spMk id="233" creationId="{00000000-0000-0000-0000-000000000000}"/>
          </ac:spMkLst>
        </pc:spChg>
        <pc:spChg chg="del">
          <ac:chgData name="Daniele, L.M. (Laura)" userId="fd7970a2-7a0c-4b70-8263-dcc64c0076cf" providerId="ADAL" clId="{2E30AC29-01AD-49FF-A187-E210449B43FC}" dt="2020-06-22T14:14:50.510" v="356" actId="478"/>
          <ac:spMkLst>
            <pc:docMk/>
            <pc:sldMk cId="1006864343" sldId="448"/>
            <ac:spMk id="234" creationId="{00000000-0000-0000-0000-000000000000}"/>
          </ac:spMkLst>
        </pc:spChg>
        <pc:spChg chg="del">
          <ac:chgData name="Daniele, L.M. (Laura)" userId="fd7970a2-7a0c-4b70-8263-dcc64c0076cf" providerId="ADAL" clId="{2E30AC29-01AD-49FF-A187-E210449B43FC}" dt="2020-06-22T14:14:50.510" v="356" actId="478"/>
          <ac:spMkLst>
            <pc:docMk/>
            <pc:sldMk cId="1006864343" sldId="448"/>
            <ac:spMk id="236" creationId="{00000000-0000-0000-0000-000000000000}"/>
          </ac:spMkLst>
        </pc:spChg>
        <pc:spChg chg="del">
          <ac:chgData name="Daniele, L.M. (Laura)" userId="fd7970a2-7a0c-4b70-8263-dcc64c0076cf" providerId="ADAL" clId="{2E30AC29-01AD-49FF-A187-E210449B43FC}" dt="2020-06-22T14:14:50.510" v="356" actId="478"/>
          <ac:spMkLst>
            <pc:docMk/>
            <pc:sldMk cId="1006864343" sldId="448"/>
            <ac:spMk id="317" creationId="{00000000-0000-0000-0000-000000000000}"/>
          </ac:spMkLst>
        </pc:spChg>
        <pc:spChg chg="del">
          <ac:chgData name="Daniele, L.M. (Laura)" userId="fd7970a2-7a0c-4b70-8263-dcc64c0076cf" providerId="ADAL" clId="{2E30AC29-01AD-49FF-A187-E210449B43FC}" dt="2020-06-22T14:14:50.510" v="356" actId="478"/>
          <ac:spMkLst>
            <pc:docMk/>
            <pc:sldMk cId="1006864343" sldId="448"/>
            <ac:spMk id="338" creationId="{00000000-0000-0000-0000-000000000000}"/>
          </ac:spMkLst>
        </pc:spChg>
        <pc:spChg chg="del">
          <ac:chgData name="Daniele, L.M. (Laura)" userId="fd7970a2-7a0c-4b70-8263-dcc64c0076cf" providerId="ADAL" clId="{2E30AC29-01AD-49FF-A187-E210449B43FC}" dt="2020-06-22T14:14:50.510" v="356" actId="478"/>
          <ac:spMkLst>
            <pc:docMk/>
            <pc:sldMk cId="1006864343" sldId="448"/>
            <ac:spMk id="339" creationId="{00000000-0000-0000-0000-000000000000}"/>
          </ac:spMkLst>
        </pc:spChg>
        <pc:spChg chg="del">
          <ac:chgData name="Daniele, L.M. (Laura)" userId="fd7970a2-7a0c-4b70-8263-dcc64c0076cf" providerId="ADAL" clId="{2E30AC29-01AD-49FF-A187-E210449B43FC}" dt="2020-06-22T14:14:50.510" v="356" actId="478"/>
          <ac:spMkLst>
            <pc:docMk/>
            <pc:sldMk cId="1006864343" sldId="448"/>
            <ac:spMk id="340" creationId="{00000000-0000-0000-0000-000000000000}"/>
          </ac:spMkLst>
        </pc:spChg>
        <pc:spChg chg="del">
          <ac:chgData name="Daniele, L.M. (Laura)" userId="fd7970a2-7a0c-4b70-8263-dcc64c0076cf" providerId="ADAL" clId="{2E30AC29-01AD-49FF-A187-E210449B43FC}" dt="2020-06-22T14:14:50.510" v="356" actId="478"/>
          <ac:spMkLst>
            <pc:docMk/>
            <pc:sldMk cId="1006864343" sldId="448"/>
            <ac:spMk id="341" creationId="{00000000-0000-0000-0000-000000000000}"/>
          </ac:spMkLst>
        </pc:spChg>
        <pc:spChg chg="del">
          <ac:chgData name="Daniele, L.M. (Laura)" userId="fd7970a2-7a0c-4b70-8263-dcc64c0076cf" providerId="ADAL" clId="{2E30AC29-01AD-49FF-A187-E210449B43FC}" dt="2020-06-22T14:14:50.510" v="356" actId="478"/>
          <ac:spMkLst>
            <pc:docMk/>
            <pc:sldMk cId="1006864343" sldId="448"/>
            <ac:spMk id="342" creationId="{00000000-0000-0000-0000-000000000000}"/>
          </ac:spMkLst>
        </pc:spChg>
        <pc:spChg chg="del">
          <ac:chgData name="Daniele, L.M. (Laura)" userId="fd7970a2-7a0c-4b70-8263-dcc64c0076cf" providerId="ADAL" clId="{2E30AC29-01AD-49FF-A187-E210449B43FC}" dt="2020-06-22T14:14:50.510" v="356" actId="478"/>
          <ac:spMkLst>
            <pc:docMk/>
            <pc:sldMk cId="1006864343" sldId="448"/>
            <ac:spMk id="343" creationId="{00000000-0000-0000-0000-000000000000}"/>
          </ac:spMkLst>
        </pc:spChg>
        <pc:spChg chg="del">
          <ac:chgData name="Daniele, L.M. (Laura)" userId="fd7970a2-7a0c-4b70-8263-dcc64c0076cf" providerId="ADAL" clId="{2E30AC29-01AD-49FF-A187-E210449B43FC}" dt="2020-06-22T14:14:50.510" v="356" actId="478"/>
          <ac:spMkLst>
            <pc:docMk/>
            <pc:sldMk cId="1006864343" sldId="448"/>
            <ac:spMk id="348" creationId="{00000000-0000-0000-0000-000000000000}"/>
          </ac:spMkLst>
        </pc:spChg>
        <pc:spChg chg="del">
          <ac:chgData name="Daniele, L.M. (Laura)" userId="fd7970a2-7a0c-4b70-8263-dcc64c0076cf" providerId="ADAL" clId="{2E30AC29-01AD-49FF-A187-E210449B43FC}" dt="2020-06-22T14:14:50.510" v="356" actId="478"/>
          <ac:spMkLst>
            <pc:docMk/>
            <pc:sldMk cId="1006864343" sldId="448"/>
            <ac:spMk id="349" creationId="{00000000-0000-0000-0000-000000000000}"/>
          </ac:spMkLst>
        </pc:spChg>
        <pc:spChg chg="del">
          <ac:chgData name="Daniele, L.M. (Laura)" userId="fd7970a2-7a0c-4b70-8263-dcc64c0076cf" providerId="ADAL" clId="{2E30AC29-01AD-49FF-A187-E210449B43FC}" dt="2020-06-22T14:14:50.510" v="356" actId="478"/>
          <ac:spMkLst>
            <pc:docMk/>
            <pc:sldMk cId="1006864343" sldId="448"/>
            <ac:spMk id="350" creationId="{00000000-0000-0000-0000-000000000000}"/>
          </ac:spMkLst>
        </pc:spChg>
        <pc:spChg chg="del">
          <ac:chgData name="Daniele, L.M. (Laura)" userId="fd7970a2-7a0c-4b70-8263-dcc64c0076cf" providerId="ADAL" clId="{2E30AC29-01AD-49FF-A187-E210449B43FC}" dt="2020-06-22T14:14:50.510" v="356" actId="478"/>
          <ac:spMkLst>
            <pc:docMk/>
            <pc:sldMk cId="1006864343" sldId="448"/>
            <ac:spMk id="351" creationId="{00000000-0000-0000-0000-000000000000}"/>
          </ac:spMkLst>
        </pc:spChg>
        <pc:spChg chg="del">
          <ac:chgData name="Daniele, L.M. (Laura)" userId="fd7970a2-7a0c-4b70-8263-dcc64c0076cf" providerId="ADAL" clId="{2E30AC29-01AD-49FF-A187-E210449B43FC}" dt="2020-06-22T14:14:50.510" v="356" actId="478"/>
          <ac:spMkLst>
            <pc:docMk/>
            <pc:sldMk cId="1006864343" sldId="448"/>
            <ac:spMk id="355" creationId="{00000000-0000-0000-0000-000000000000}"/>
          </ac:spMkLst>
        </pc:spChg>
        <pc:spChg chg="del">
          <ac:chgData name="Daniele, L.M. (Laura)" userId="fd7970a2-7a0c-4b70-8263-dcc64c0076cf" providerId="ADAL" clId="{2E30AC29-01AD-49FF-A187-E210449B43FC}" dt="2020-06-22T14:14:50.510" v="356" actId="478"/>
          <ac:spMkLst>
            <pc:docMk/>
            <pc:sldMk cId="1006864343" sldId="448"/>
            <ac:spMk id="356" creationId="{00000000-0000-0000-0000-000000000000}"/>
          </ac:spMkLst>
        </pc:spChg>
        <pc:spChg chg="del">
          <ac:chgData name="Daniele, L.M. (Laura)" userId="fd7970a2-7a0c-4b70-8263-dcc64c0076cf" providerId="ADAL" clId="{2E30AC29-01AD-49FF-A187-E210449B43FC}" dt="2020-06-22T14:14:50.510" v="356" actId="478"/>
          <ac:spMkLst>
            <pc:docMk/>
            <pc:sldMk cId="1006864343" sldId="448"/>
            <ac:spMk id="357" creationId="{00000000-0000-0000-0000-000000000000}"/>
          </ac:spMkLst>
        </pc:spChg>
        <pc:spChg chg="del">
          <ac:chgData name="Daniele, L.M. (Laura)" userId="fd7970a2-7a0c-4b70-8263-dcc64c0076cf" providerId="ADAL" clId="{2E30AC29-01AD-49FF-A187-E210449B43FC}" dt="2020-06-22T14:14:50.510" v="356" actId="478"/>
          <ac:spMkLst>
            <pc:docMk/>
            <pc:sldMk cId="1006864343" sldId="448"/>
            <ac:spMk id="358" creationId="{00000000-0000-0000-0000-000000000000}"/>
          </ac:spMkLst>
        </pc:spChg>
        <pc:spChg chg="del">
          <ac:chgData name="Daniele, L.M. (Laura)" userId="fd7970a2-7a0c-4b70-8263-dcc64c0076cf" providerId="ADAL" clId="{2E30AC29-01AD-49FF-A187-E210449B43FC}" dt="2020-06-22T14:14:50.510" v="356" actId="478"/>
          <ac:spMkLst>
            <pc:docMk/>
            <pc:sldMk cId="1006864343" sldId="448"/>
            <ac:spMk id="365" creationId="{00000000-0000-0000-0000-000000000000}"/>
          </ac:spMkLst>
        </pc:spChg>
        <pc:spChg chg="del">
          <ac:chgData name="Daniele, L.M. (Laura)" userId="fd7970a2-7a0c-4b70-8263-dcc64c0076cf" providerId="ADAL" clId="{2E30AC29-01AD-49FF-A187-E210449B43FC}" dt="2020-06-22T14:14:50.510" v="356" actId="478"/>
          <ac:spMkLst>
            <pc:docMk/>
            <pc:sldMk cId="1006864343" sldId="448"/>
            <ac:spMk id="366" creationId="{00000000-0000-0000-0000-000000000000}"/>
          </ac:spMkLst>
        </pc:spChg>
        <pc:spChg chg="del">
          <ac:chgData name="Daniele, L.M. (Laura)" userId="fd7970a2-7a0c-4b70-8263-dcc64c0076cf" providerId="ADAL" clId="{2E30AC29-01AD-49FF-A187-E210449B43FC}" dt="2020-06-22T14:14:50.510" v="356" actId="478"/>
          <ac:spMkLst>
            <pc:docMk/>
            <pc:sldMk cId="1006864343" sldId="448"/>
            <ac:spMk id="367" creationId="{00000000-0000-0000-0000-000000000000}"/>
          </ac:spMkLst>
        </pc:spChg>
        <pc:spChg chg="del">
          <ac:chgData name="Daniele, L.M. (Laura)" userId="fd7970a2-7a0c-4b70-8263-dcc64c0076cf" providerId="ADAL" clId="{2E30AC29-01AD-49FF-A187-E210449B43FC}" dt="2020-06-22T14:14:50.510" v="356" actId="478"/>
          <ac:spMkLst>
            <pc:docMk/>
            <pc:sldMk cId="1006864343" sldId="448"/>
            <ac:spMk id="368" creationId="{00000000-0000-0000-0000-000000000000}"/>
          </ac:spMkLst>
        </pc:spChg>
        <pc:spChg chg="del">
          <ac:chgData name="Daniele, L.M. (Laura)" userId="fd7970a2-7a0c-4b70-8263-dcc64c0076cf" providerId="ADAL" clId="{2E30AC29-01AD-49FF-A187-E210449B43FC}" dt="2020-06-22T14:14:50.510" v="356" actId="478"/>
          <ac:spMkLst>
            <pc:docMk/>
            <pc:sldMk cId="1006864343" sldId="448"/>
            <ac:spMk id="369" creationId="{00000000-0000-0000-0000-000000000000}"/>
          </ac:spMkLst>
        </pc:spChg>
        <pc:spChg chg="del">
          <ac:chgData name="Daniele, L.M. (Laura)" userId="fd7970a2-7a0c-4b70-8263-dcc64c0076cf" providerId="ADAL" clId="{2E30AC29-01AD-49FF-A187-E210449B43FC}" dt="2020-06-22T14:14:50.510" v="356" actId="478"/>
          <ac:spMkLst>
            <pc:docMk/>
            <pc:sldMk cId="1006864343" sldId="448"/>
            <ac:spMk id="370" creationId="{00000000-0000-0000-0000-000000000000}"/>
          </ac:spMkLst>
        </pc:spChg>
        <pc:spChg chg="del">
          <ac:chgData name="Daniele, L.M. (Laura)" userId="fd7970a2-7a0c-4b70-8263-dcc64c0076cf" providerId="ADAL" clId="{2E30AC29-01AD-49FF-A187-E210449B43FC}" dt="2020-06-22T14:14:50.510" v="356" actId="478"/>
          <ac:spMkLst>
            <pc:docMk/>
            <pc:sldMk cId="1006864343" sldId="448"/>
            <ac:spMk id="371" creationId="{00000000-0000-0000-0000-000000000000}"/>
          </ac:spMkLst>
        </pc:spChg>
        <pc:spChg chg="del">
          <ac:chgData name="Daniele, L.M. (Laura)" userId="fd7970a2-7a0c-4b70-8263-dcc64c0076cf" providerId="ADAL" clId="{2E30AC29-01AD-49FF-A187-E210449B43FC}" dt="2020-06-22T14:14:50.510" v="356" actId="478"/>
          <ac:spMkLst>
            <pc:docMk/>
            <pc:sldMk cId="1006864343" sldId="448"/>
            <ac:spMk id="372" creationId="{00000000-0000-0000-0000-000000000000}"/>
          </ac:spMkLst>
        </pc:spChg>
        <pc:spChg chg="del">
          <ac:chgData name="Daniele, L.M. (Laura)" userId="fd7970a2-7a0c-4b70-8263-dcc64c0076cf" providerId="ADAL" clId="{2E30AC29-01AD-49FF-A187-E210449B43FC}" dt="2020-06-22T14:14:50.510" v="356" actId="478"/>
          <ac:spMkLst>
            <pc:docMk/>
            <pc:sldMk cId="1006864343" sldId="448"/>
            <ac:spMk id="373" creationId="{00000000-0000-0000-0000-000000000000}"/>
          </ac:spMkLst>
        </pc:spChg>
        <pc:grpChg chg="del">
          <ac:chgData name="Daniele, L.M. (Laura)" userId="fd7970a2-7a0c-4b70-8263-dcc64c0076cf" providerId="ADAL" clId="{2E30AC29-01AD-49FF-A187-E210449B43FC}" dt="2020-06-22T14:14:50.510" v="356" actId="478"/>
          <ac:grpSpMkLst>
            <pc:docMk/>
            <pc:sldMk cId="1006864343" sldId="448"/>
            <ac:grpSpMk id="3" creationId="{00000000-0000-0000-0000-000000000000}"/>
          </ac:grpSpMkLst>
        </pc:grpChg>
        <pc:grpChg chg="del">
          <ac:chgData name="Daniele, L.M. (Laura)" userId="fd7970a2-7a0c-4b70-8263-dcc64c0076cf" providerId="ADAL" clId="{2E30AC29-01AD-49FF-A187-E210449B43FC}" dt="2020-06-22T14:14:50.510" v="356" actId="478"/>
          <ac:grpSpMkLst>
            <pc:docMk/>
            <pc:sldMk cId="1006864343" sldId="448"/>
            <ac:grpSpMk id="14" creationId="{00000000-0000-0000-0000-000000000000}"/>
          </ac:grpSpMkLst>
        </pc:grpChg>
        <pc:grpChg chg="del">
          <ac:chgData name="Daniele, L.M. (Laura)" userId="fd7970a2-7a0c-4b70-8263-dcc64c0076cf" providerId="ADAL" clId="{2E30AC29-01AD-49FF-A187-E210449B43FC}" dt="2020-06-22T14:14:50.510" v="356" actId="478"/>
          <ac:grpSpMkLst>
            <pc:docMk/>
            <pc:sldMk cId="1006864343" sldId="448"/>
            <ac:grpSpMk id="15" creationId="{00000000-0000-0000-0000-000000000000}"/>
          </ac:grpSpMkLst>
        </pc:grpChg>
        <pc:grpChg chg="del">
          <ac:chgData name="Daniele, L.M. (Laura)" userId="fd7970a2-7a0c-4b70-8263-dcc64c0076cf" providerId="ADAL" clId="{2E30AC29-01AD-49FF-A187-E210449B43FC}" dt="2020-06-22T14:14:50.510" v="356" actId="478"/>
          <ac:grpSpMkLst>
            <pc:docMk/>
            <pc:sldMk cId="1006864343" sldId="448"/>
            <ac:grpSpMk id="18" creationId="{00000000-0000-0000-0000-000000000000}"/>
          </ac:grpSpMkLst>
        </pc:grpChg>
        <pc:grpChg chg="del">
          <ac:chgData name="Daniele, L.M. (Laura)" userId="fd7970a2-7a0c-4b70-8263-dcc64c0076cf" providerId="ADAL" clId="{2E30AC29-01AD-49FF-A187-E210449B43FC}" dt="2020-06-22T14:14:50.510" v="356" actId="478"/>
          <ac:grpSpMkLst>
            <pc:docMk/>
            <pc:sldMk cId="1006864343" sldId="448"/>
            <ac:grpSpMk id="19" creationId="{00000000-0000-0000-0000-000000000000}"/>
          </ac:grpSpMkLst>
        </pc:grpChg>
        <pc:grpChg chg="del">
          <ac:chgData name="Daniele, L.M. (Laura)" userId="fd7970a2-7a0c-4b70-8263-dcc64c0076cf" providerId="ADAL" clId="{2E30AC29-01AD-49FF-A187-E210449B43FC}" dt="2020-06-22T14:14:50.510" v="356" actId="478"/>
          <ac:grpSpMkLst>
            <pc:docMk/>
            <pc:sldMk cId="1006864343" sldId="448"/>
            <ac:grpSpMk id="20" creationId="{00000000-0000-0000-0000-000000000000}"/>
          </ac:grpSpMkLst>
        </pc:grpChg>
        <pc:grpChg chg="del">
          <ac:chgData name="Daniele, L.M. (Laura)" userId="fd7970a2-7a0c-4b70-8263-dcc64c0076cf" providerId="ADAL" clId="{2E30AC29-01AD-49FF-A187-E210449B43FC}" dt="2020-06-22T14:14:50.510" v="356" actId="478"/>
          <ac:grpSpMkLst>
            <pc:docMk/>
            <pc:sldMk cId="1006864343" sldId="448"/>
            <ac:grpSpMk id="21" creationId="{00000000-0000-0000-0000-000000000000}"/>
          </ac:grpSpMkLst>
        </pc:grpChg>
        <pc:grpChg chg="del">
          <ac:chgData name="Daniele, L.M. (Laura)" userId="fd7970a2-7a0c-4b70-8263-dcc64c0076cf" providerId="ADAL" clId="{2E30AC29-01AD-49FF-A187-E210449B43FC}" dt="2020-06-22T14:14:50.510" v="356" actId="478"/>
          <ac:grpSpMkLst>
            <pc:docMk/>
            <pc:sldMk cId="1006864343" sldId="448"/>
            <ac:grpSpMk id="22" creationId="{00000000-0000-0000-0000-000000000000}"/>
          </ac:grpSpMkLst>
        </pc:grpChg>
        <pc:grpChg chg="del">
          <ac:chgData name="Daniele, L.M. (Laura)" userId="fd7970a2-7a0c-4b70-8263-dcc64c0076cf" providerId="ADAL" clId="{2E30AC29-01AD-49FF-A187-E210449B43FC}" dt="2020-06-22T14:14:50.510" v="356" actId="478"/>
          <ac:grpSpMkLst>
            <pc:docMk/>
            <pc:sldMk cId="1006864343" sldId="448"/>
            <ac:grpSpMk id="23" creationId="{00000000-0000-0000-0000-000000000000}"/>
          </ac:grpSpMkLst>
        </pc:grpChg>
        <pc:grpChg chg="del">
          <ac:chgData name="Daniele, L.M. (Laura)" userId="fd7970a2-7a0c-4b70-8263-dcc64c0076cf" providerId="ADAL" clId="{2E30AC29-01AD-49FF-A187-E210449B43FC}" dt="2020-06-22T14:14:50.510" v="356" actId="478"/>
          <ac:grpSpMkLst>
            <pc:docMk/>
            <pc:sldMk cId="1006864343" sldId="448"/>
            <ac:grpSpMk id="24" creationId="{00000000-0000-0000-0000-000000000000}"/>
          </ac:grpSpMkLst>
        </pc:grpChg>
        <pc:grpChg chg="del">
          <ac:chgData name="Daniele, L.M. (Laura)" userId="fd7970a2-7a0c-4b70-8263-dcc64c0076cf" providerId="ADAL" clId="{2E30AC29-01AD-49FF-A187-E210449B43FC}" dt="2020-06-22T14:14:50.510" v="356" actId="478"/>
          <ac:grpSpMkLst>
            <pc:docMk/>
            <pc:sldMk cId="1006864343" sldId="448"/>
            <ac:grpSpMk id="25" creationId="{00000000-0000-0000-0000-000000000000}"/>
          </ac:grpSpMkLst>
        </pc:grpChg>
        <pc:grpChg chg="del">
          <ac:chgData name="Daniele, L.M. (Laura)" userId="fd7970a2-7a0c-4b70-8263-dcc64c0076cf" providerId="ADAL" clId="{2E30AC29-01AD-49FF-A187-E210449B43FC}" dt="2020-06-22T14:14:50.510" v="356" actId="478"/>
          <ac:grpSpMkLst>
            <pc:docMk/>
            <pc:sldMk cId="1006864343" sldId="448"/>
            <ac:grpSpMk id="26" creationId="{00000000-0000-0000-0000-000000000000}"/>
          </ac:grpSpMkLst>
        </pc:grpChg>
        <pc:grpChg chg="del">
          <ac:chgData name="Daniele, L.M. (Laura)" userId="fd7970a2-7a0c-4b70-8263-dcc64c0076cf" providerId="ADAL" clId="{2E30AC29-01AD-49FF-A187-E210449B43FC}" dt="2020-06-22T14:14:50.510" v="356" actId="478"/>
          <ac:grpSpMkLst>
            <pc:docMk/>
            <pc:sldMk cId="1006864343" sldId="448"/>
            <ac:grpSpMk id="29" creationId="{00000000-0000-0000-0000-000000000000}"/>
          </ac:grpSpMkLst>
        </pc:grpChg>
        <pc:grpChg chg="del">
          <ac:chgData name="Daniele, L.M. (Laura)" userId="fd7970a2-7a0c-4b70-8263-dcc64c0076cf" providerId="ADAL" clId="{2E30AC29-01AD-49FF-A187-E210449B43FC}" dt="2020-06-22T14:14:50.510" v="356" actId="478"/>
          <ac:grpSpMkLst>
            <pc:docMk/>
            <pc:sldMk cId="1006864343" sldId="448"/>
            <ac:grpSpMk id="30" creationId="{00000000-0000-0000-0000-000000000000}"/>
          </ac:grpSpMkLst>
        </pc:grpChg>
        <pc:grpChg chg="del">
          <ac:chgData name="Daniele, L.M. (Laura)" userId="fd7970a2-7a0c-4b70-8263-dcc64c0076cf" providerId="ADAL" clId="{2E30AC29-01AD-49FF-A187-E210449B43FC}" dt="2020-06-22T14:14:50.510" v="356" actId="478"/>
          <ac:grpSpMkLst>
            <pc:docMk/>
            <pc:sldMk cId="1006864343" sldId="448"/>
            <ac:grpSpMk id="31" creationId="{00000000-0000-0000-0000-000000000000}"/>
          </ac:grpSpMkLst>
        </pc:grpChg>
        <pc:grpChg chg="del">
          <ac:chgData name="Daniele, L.M. (Laura)" userId="fd7970a2-7a0c-4b70-8263-dcc64c0076cf" providerId="ADAL" clId="{2E30AC29-01AD-49FF-A187-E210449B43FC}" dt="2020-06-22T14:14:50.510" v="356" actId="478"/>
          <ac:grpSpMkLst>
            <pc:docMk/>
            <pc:sldMk cId="1006864343" sldId="448"/>
            <ac:grpSpMk id="32" creationId="{00000000-0000-0000-0000-000000000000}"/>
          </ac:grpSpMkLst>
        </pc:grpChg>
        <pc:grpChg chg="del">
          <ac:chgData name="Daniele, L.M. (Laura)" userId="fd7970a2-7a0c-4b70-8263-dcc64c0076cf" providerId="ADAL" clId="{2E30AC29-01AD-49FF-A187-E210449B43FC}" dt="2020-06-22T14:14:50.510" v="356" actId="478"/>
          <ac:grpSpMkLst>
            <pc:docMk/>
            <pc:sldMk cId="1006864343" sldId="448"/>
            <ac:grpSpMk id="33" creationId="{00000000-0000-0000-0000-000000000000}"/>
          </ac:grpSpMkLst>
        </pc:grpChg>
        <pc:grpChg chg="del">
          <ac:chgData name="Daniele, L.M. (Laura)" userId="fd7970a2-7a0c-4b70-8263-dcc64c0076cf" providerId="ADAL" clId="{2E30AC29-01AD-49FF-A187-E210449B43FC}" dt="2020-06-22T14:14:50.510" v="356" actId="478"/>
          <ac:grpSpMkLst>
            <pc:docMk/>
            <pc:sldMk cId="1006864343" sldId="448"/>
            <ac:grpSpMk id="39" creationId="{00000000-0000-0000-0000-000000000000}"/>
          </ac:grpSpMkLst>
        </pc:grpChg>
        <pc:grpChg chg="del">
          <ac:chgData name="Daniele, L.M. (Laura)" userId="fd7970a2-7a0c-4b70-8263-dcc64c0076cf" providerId="ADAL" clId="{2E30AC29-01AD-49FF-A187-E210449B43FC}" dt="2020-06-22T14:14:50.510" v="356" actId="478"/>
          <ac:grpSpMkLst>
            <pc:docMk/>
            <pc:sldMk cId="1006864343" sldId="448"/>
            <ac:grpSpMk id="57" creationId="{00000000-0000-0000-0000-000000000000}"/>
          </ac:grpSpMkLst>
        </pc:grpChg>
        <pc:grpChg chg="del">
          <ac:chgData name="Daniele, L.M. (Laura)" userId="fd7970a2-7a0c-4b70-8263-dcc64c0076cf" providerId="ADAL" clId="{2E30AC29-01AD-49FF-A187-E210449B43FC}" dt="2020-06-22T14:14:50.510" v="356" actId="478"/>
          <ac:grpSpMkLst>
            <pc:docMk/>
            <pc:sldMk cId="1006864343" sldId="448"/>
            <ac:grpSpMk id="60" creationId="{00000000-0000-0000-0000-000000000000}"/>
          </ac:grpSpMkLst>
        </pc:grpChg>
        <pc:grpChg chg="del">
          <ac:chgData name="Daniele, L.M. (Laura)" userId="fd7970a2-7a0c-4b70-8263-dcc64c0076cf" providerId="ADAL" clId="{2E30AC29-01AD-49FF-A187-E210449B43FC}" dt="2020-06-22T14:14:50.510" v="356" actId="478"/>
          <ac:grpSpMkLst>
            <pc:docMk/>
            <pc:sldMk cId="1006864343" sldId="448"/>
            <ac:grpSpMk id="63" creationId="{00000000-0000-0000-0000-000000000000}"/>
          </ac:grpSpMkLst>
        </pc:grpChg>
        <pc:grpChg chg="del">
          <ac:chgData name="Daniele, L.M. (Laura)" userId="fd7970a2-7a0c-4b70-8263-dcc64c0076cf" providerId="ADAL" clId="{2E30AC29-01AD-49FF-A187-E210449B43FC}" dt="2020-06-22T14:14:50.510" v="356" actId="478"/>
          <ac:grpSpMkLst>
            <pc:docMk/>
            <pc:sldMk cId="1006864343" sldId="448"/>
            <ac:grpSpMk id="67" creationId="{00000000-0000-0000-0000-000000000000}"/>
          </ac:grpSpMkLst>
        </pc:grpChg>
        <pc:grpChg chg="del">
          <ac:chgData name="Daniele, L.M. (Laura)" userId="fd7970a2-7a0c-4b70-8263-dcc64c0076cf" providerId="ADAL" clId="{2E30AC29-01AD-49FF-A187-E210449B43FC}" dt="2020-06-22T14:14:50.510" v="356" actId="478"/>
          <ac:grpSpMkLst>
            <pc:docMk/>
            <pc:sldMk cId="1006864343" sldId="448"/>
            <ac:grpSpMk id="68" creationId="{00000000-0000-0000-0000-000000000000}"/>
          </ac:grpSpMkLst>
        </pc:grpChg>
        <pc:grpChg chg="del">
          <ac:chgData name="Daniele, L.M. (Laura)" userId="fd7970a2-7a0c-4b70-8263-dcc64c0076cf" providerId="ADAL" clId="{2E30AC29-01AD-49FF-A187-E210449B43FC}" dt="2020-06-22T14:14:50.510" v="356" actId="478"/>
          <ac:grpSpMkLst>
            <pc:docMk/>
            <pc:sldMk cId="1006864343" sldId="448"/>
            <ac:grpSpMk id="70" creationId="{00000000-0000-0000-0000-000000000000}"/>
          </ac:grpSpMkLst>
        </pc:grpChg>
        <pc:grpChg chg="del">
          <ac:chgData name="Daniele, L.M. (Laura)" userId="fd7970a2-7a0c-4b70-8263-dcc64c0076cf" providerId="ADAL" clId="{2E30AC29-01AD-49FF-A187-E210449B43FC}" dt="2020-06-22T14:14:50.510" v="356" actId="478"/>
          <ac:grpSpMkLst>
            <pc:docMk/>
            <pc:sldMk cId="1006864343" sldId="448"/>
            <ac:grpSpMk id="74" creationId="{00000000-0000-0000-0000-000000000000}"/>
          </ac:grpSpMkLst>
        </pc:grpChg>
        <pc:grpChg chg="del">
          <ac:chgData name="Daniele, L.M. (Laura)" userId="fd7970a2-7a0c-4b70-8263-dcc64c0076cf" providerId="ADAL" clId="{2E30AC29-01AD-49FF-A187-E210449B43FC}" dt="2020-06-22T14:14:50.510" v="356" actId="478"/>
          <ac:grpSpMkLst>
            <pc:docMk/>
            <pc:sldMk cId="1006864343" sldId="448"/>
            <ac:grpSpMk id="86" creationId="{00000000-0000-0000-0000-000000000000}"/>
          </ac:grpSpMkLst>
        </pc:grpChg>
        <pc:grpChg chg="del">
          <ac:chgData name="Daniele, L.M. (Laura)" userId="fd7970a2-7a0c-4b70-8263-dcc64c0076cf" providerId="ADAL" clId="{2E30AC29-01AD-49FF-A187-E210449B43FC}" dt="2020-06-22T14:14:50.510" v="356" actId="478"/>
          <ac:grpSpMkLst>
            <pc:docMk/>
            <pc:sldMk cId="1006864343" sldId="448"/>
            <ac:grpSpMk id="87" creationId="{00000000-0000-0000-0000-000000000000}"/>
          </ac:grpSpMkLst>
        </pc:grpChg>
        <pc:grpChg chg="del">
          <ac:chgData name="Daniele, L.M. (Laura)" userId="fd7970a2-7a0c-4b70-8263-dcc64c0076cf" providerId="ADAL" clId="{2E30AC29-01AD-49FF-A187-E210449B43FC}" dt="2020-06-22T14:14:50.510" v="356" actId="478"/>
          <ac:grpSpMkLst>
            <pc:docMk/>
            <pc:sldMk cId="1006864343" sldId="448"/>
            <ac:grpSpMk id="93" creationId="{00000000-0000-0000-0000-000000000000}"/>
          </ac:grpSpMkLst>
        </pc:grpChg>
        <pc:grpChg chg="del">
          <ac:chgData name="Daniele, L.M. (Laura)" userId="fd7970a2-7a0c-4b70-8263-dcc64c0076cf" providerId="ADAL" clId="{2E30AC29-01AD-49FF-A187-E210449B43FC}" dt="2020-06-22T14:14:50.510" v="356" actId="478"/>
          <ac:grpSpMkLst>
            <pc:docMk/>
            <pc:sldMk cId="1006864343" sldId="448"/>
            <ac:grpSpMk id="99" creationId="{00000000-0000-0000-0000-000000000000}"/>
          </ac:grpSpMkLst>
        </pc:grpChg>
        <pc:grpChg chg="del">
          <ac:chgData name="Daniele, L.M. (Laura)" userId="fd7970a2-7a0c-4b70-8263-dcc64c0076cf" providerId="ADAL" clId="{2E30AC29-01AD-49FF-A187-E210449B43FC}" dt="2020-06-22T14:14:50.510" v="356" actId="478"/>
          <ac:grpSpMkLst>
            <pc:docMk/>
            <pc:sldMk cId="1006864343" sldId="448"/>
            <ac:grpSpMk id="100" creationId="{00000000-0000-0000-0000-000000000000}"/>
          </ac:grpSpMkLst>
        </pc:grpChg>
        <pc:grpChg chg="del">
          <ac:chgData name="Daniele, L.M. (Laura)" userId="fd7970a2-7a0c-4b70-8263-dcc64c0076cf" providerId="ADAL" clId="{2E30AC29-01AD-49FF-A187-E210449B43FC}" dt="2020-06-22T14:14:50.510" v="356" actId="478"/>
          <ac:grpSpMkLst>
            <pc:docMk/>
            <pc:sldMk cId="1006864343" sldId="448"/>
            <ac:grpSpMk id="103" creationId="{00000000-0000-0000-0000-000000000000}"/>
          </ac:grpSpMkLst>
        </pc:grpChg>
        <pc:grpChg chg="del">
          <ac:chgData name="Daniele, L.M. (Laura)" userId="fd7970a2-7a0c-4b70-8263-dcc64c0076cf" providerId="ADAL" clId="{2E30AC29-01AD-49FF-A187-E210449B43FC}" dt="2020-06-22T14:14:50.510" v="356" actId="478"/>
          <ac:grpSpMkLst>
            <pc:docMk/>
            <pc:sldMk cId="1006864343" sldId="448"/>
            <ac:grpSpMk id="106" creationId="{00000000-0000-0000-0000-000000000000}"/>
          </ac:grpSpMkLst>
        </pc:grpChg>
        <pc:grpChg chg="del">
          <ac:chgData name="Daniele, L.M. (Laura)" userId="fd7970a2-7a0c-4b70-8263-dcc64c0076cf" providerId="ADAL" clId="{2E30AC29-01AD-49FF-A187-E210449B43FC}" dt="2020-06-22T14:14:50.510" v="356" actId="478"/>
          <ac:grpSpMkLst>
            <pc:docMk/>
            <pc:sldMk cId="1006864343" sldId="448"/>
            <ac:grpSpMk id="109" creationId="{00000000-0000-0000-0000-000000000000}"/>
          </ac:grpSpMkLst>
        </pc:grpChg>
        <pc:grpChg chg="del">
          <ac:chgData name="Daniele, L.M. (Laura)" userId="fd7970a2-7a0c-4b70-8263-dcc64c0076cf" providerId="ADAL" clId="{2E30AC29-01AD-49FF-A187-E210449B43FC}" dt="2020-06-22T14:14:50.510" v="356" actId="478"/>
          <ac:grpSpMkLst>
            <pc:docMk/>
            <pc:sldMk cId="1006864343" sldId="448"/>
            <ac:grpSpMk id="155" creationId="{00000000-0000-0000-0000-000000000000}"/>
          </ac:grpSpMkLst>
        </pc:grpChg>
        <pc:picChg chg="del">
          <ac:chgData name="Daniele, L.M. (Laura)" userId="fd7970a2-7a0c-4b70-8263-dcc64c0076cf" providerId="ADAL" clId="{2E30AC29-01AD-49FF-A187-E210449B43FC}" dt="2020-06-22T14:14:50.510" v="356" actId="478"/>
          <ac:picMkLst>
            <pc:docMk/>
            <pc:sldMk cId="1006864343" sldId="448"/>
            <ac:picMk id="36" creationId="{00000000-0000-0000-0000-000000000000}"/>
          </ac:picMkLst>
        </pc:picChg>
        <pc:cxnChg chg="del">
          <ac:chgData name="Daniele, L.M. (Laura)" userId="fd7970a2-7a0c-4b70-8263-dcc64c0076cf" providerId="ADAL" clId="{2E30AC29-01AD-49FF-A187-E210449B43FC}" dt="2020-06-22T14:14:50.510" v="356" actId="478"/>
          <ac:cxnSpMkLst>
            <pc:docMk/>
            <pc:sldMk cId="1006864343" sldId="448"/>
            <ac:cxnSpMk id="170" creationId="{00000000-0000-0000-0000-000000000000}"/>
          </ac:cxnSpMkLst>
        </pc:cxnChg>
        <pc:cxnChg chg="del">
          <ac:chgData name="Daniele, L.M. (Laura)" userId="fd7970a2-7a0c-4b70-8263-dcc64c0076cf" providerId="ADAL" clId="{2E30AC29-01AD-49FF-A187-E210449B43FC}" dt="2020-06-22T14:14:50.510" v="356" actId="478"/>
          <ac:cxnSpMkLst>
            <pc:docMk/>
            <pc:sldMk cId="1006864343" sldId="448"/>
            <ac:cxnSpMk id="173" creationId="{00000000-0000-0000-0000-000000000000}"/>
          </ac:cxnSpMkLst>
        </pc:cxnChg>
        <pc:cxnChg chg="del">
          <ac:chgData name="Daniele, L.M. (Laura)" userId="fd7970a2-7a0c-4b70-8263-dcc64c0076cf" providerId="ADAL" clId="{2E30AC29-01AD-49FF-A187-E210449B43FC}" dt="2020-06-22T14:14:50.510" v="356" actId="478"/>
          <ac:cxnSpMkLst>
            <pc:docMk/>
            <pc:sldMk cId="1006864343" sldId="448"/>
            <ac:cxnSpMk id="176" creationId="{00000000-0000-0000-0000-000000000000}"/>
          </ac:cxnSpMkLst>
        </pc:cxnChg>
        <pc:cxnChg chg="del">
          <ac:chgData name="Daniele, L.M. (Laura)" userId="fd7970a2-7a0c-4b70-8263-dcc64c0076cf" providerId="ADAL" clId="{2E30AC29-01AD-49FF-A187-E210449B43FC}" dt="2020-06-22T14:14:50.510" v="356" actId="478"/>
          <ac:cxnSpMkLst>
            <pc:docMk/>
            <pc:sldMk cId="1006864343" sldId="448"/>
            <ac:cxnSpMk id="177" creationId="{00000000-0000-0000-0000-000000000000}"/>
          </ac:cxnSpMkLst>
        </pc:cxnChg>
        <pc:cxnChg chg="del">
          <ac:chgData name="Daniele, L.M. (Laura)" userId="fd7970a2-7a0c-4b70-8263-dcc64c0076cf" providerId="ADAL" clId="{2E30AC29-01AD-49FF-A187-E210449B43FC}" dt="2020-06-22T14:14:50.510" v="356" actId="478"/>
          <ac:cxnSpMkLst>
            <pc:docMk/>
            <pc:sldMk cId="1006864343" sldId="448"/>
            <ac:cxnSpMk id="178" creationId="{00000000-0000-0000-0000-000000000000}"/>
          </ac:cxnSpMkLst>
        </pc:cxnChg>
        <pc:cxnChg chg="del">
          <ac:chgData name="Daniele, L.M. (Laura)" userId="fd7970a2-7a0c-4b70-8263-dcc64c0076cf" providerId="ADAL" clId="{2E30AC29-01AD-49FF-A187-E210449B43FC}" dt="2020-06-22T14:14:50.510" v="356" actId="478"/>
          <ac:cxnSpMkLst>
            <pc:docMk/>
            <pc:sldMk cId="1006864343" sldId="448"/>
            <ac:cxnSpMk id="179" creationId="{00000000-0000-0000-0000-000000000000}"/>
          </ac:cxnSpMkLst>
        </pc:cxnChg>
        <pc:cxnChg chg="del">
          <ac:chgData name="Daniele, L.M. (Laura)" userId="fd7970a2-7a0c-4b70-8263-dcc64c0076cf" providerId="ADAL" clId="{2E30AC29-01AD-49FF-A187-E210449B43FC}" dt="2020-06-22T14:14:50.510" v="356" actId="478"/>
          <ac:cxnSpMkLst>
            <pc:docMk/>
            <pc:sldMk cId="1006864343" sldId="448"/>
            <ac:cxnSpMk id="180" creationId="{00000000-0000-0000-0000-000000000000}"/>
          </ac:cxnSpMkLst>
        </pc:cxnChg>
        <pc:cxnChg chg="del">
          <ac:chgData name="Daniele, L.M. (Laura)" userId="fd7970a2-7a0c-4b70-8263-dcc64c0076cf" providerId="ADAL" clId="{2E30AC29-01AD-49FF-A187-E210449B43FC}" dt="2020-06-22T14:14:50.510" v="356" actId="478"/>
          <ac:cxnSpMkLst>
            <pc:docMk/>
            <pc:sldMk cId="1006864343" sldId="448"/>
            <ac:cxnSpMk id="181" creationId="{00000000-0000-0000-0000-000000000000}"/>
          </ac:cxnSpMkLst>
        </pc:cxnChg>
        <pc:cxnChg chg="del">
          <ac:chgData name="Daniele, L.M. (Laura)" userId="fd7970a2-7a0c-4b70-8263-dcc64c0076cf" providerId="ADAL" clId="{2E30AC29-01AD-49FF-A187-E210449B43FC}" dt="2020-06-22T14:14:50.510" v="356" actId="478"/>
          <ac:cxnSpMkLst>
            <pc:docMk/>
            <pc:sldMk cId="1006864343" sldId="448"/>
            <ac:cxnSpMk id="182" creationId="{00000000-0000-0000-0000-000000000000}"/>
          </ac:cxnSpMkLst>
        </pc:cxnChg>
        <pc:cxnChg chg="del">
          <ac:chgData name="Daniele, L.M. (Laura)" userId="fd7970a2-7a0c-4b70-8263-dcc64c0076cf" providerId="ADAL" clId="{2E30AC29-01AD-49FF-A187-E210449B43FC}" dt="2020-06-22T14:14:50.510" v="356" actId="478"/>
          <ac:cxnSpMkLst>
            <pc:docMk/>
            <pc:sldMk cId="1006864343" sldId="448"/>
            <ac:cxnSpMk id="183" creationId="{00000000-0000-0000-0000-000000000000}"/>
          </ac:cxnSpMkLst>
        </pc:cxnChg>
        <pc:cxnChg chg="del">
          <ac:chgData name="Daniele, L.M. (Laura)" userId="fd7970a2-7a0c-4b70-8263-dcc64c0076cf" providerId="ADAL" clId="{2E30AC29-01AD-49FF-A187-E210449B43FC}" dt="2020-06-22T14:14:50.510" v="356" actId="478"/>
          <ac:cxnSpMkLst>
            <pc:docMk/>
            <pc:sldMk cId="1006864343" sldId="448"/>
            <ac:cxnSpMk id="185" creationId="{00000000-0000-0000-0000-000000000000}"/>
          </ac:cxnSpMkLst>
        </pc:cxnChg>
        <pc:cxnChg chg="del">
          <ac:chgData name="Daniele, L.M. (Laura)" userId="fd7970a2-7a0c-4b70-8263-dcc64c0076cf" providerId="ADAL" clId="{2E30AC29-01AD-49FF-A187-E210449B43FC}" dt="2020-06-22T14:14:50.510" v="356" actId="478"/>
          <ac:cxnSpMkLst>
            <pc:docMk/>
            <pc:sldMk cId="1006864343" sldId="448"/>
            <ac:cxnSpMk id="187" creationId="{00000000-0000-0000-0000-000000000000}"/>
          </ac:cxnSpMkLst>
        </pc:cxnChg>
        <pc:cxnChg chg="del">
          <ac:chgData name="Daniele, L.M. (Laura)" userId="fd7970a2-7a0c-4b70-8263-dcc64c0076cf" providerId="ADAL" clId="{2E30AC29-01AD-49FF-A187-E210449B43FC}" dt="2020-06-22T14:14:50.510" v="356" actId="478"/>
          <ac:cxnSpMkLst>
            <pc:docMk/>
            <pc:sldMk cId="1006864343" sldId="448"/>
            <ac:cxnSpMk id="191" creationId="{00000000-0000-0000-0000-000000000000}"/>
          </ac:cxnSpMkLst>
        </pc:cxnChg>
        <pc:cxnChg chg="del">
          <ac:chgData name="Daniele, L.M. (Laura)" userId="fd7970a2-7a0c-4b70-8263-dcc64c0076cf" providerId="ADAL" clId="{2E30AC29-01AD-49FF-A187-E210449B43FC}" dt="2020-06-22T14:14:50.510" v="356" actId="478"/>
          <ac:cxnSpMkLst>
            <pc:docMk/>
            <pc:sldMk cId="1006864343" sldId="448"/>
            <ac:cxnSpMk id="192" creationId="{00000000-0000-0000-0000-000000000000}"/>
          </ac:cxnSpMkLst>
        </pc:cxnChg>
        <pc:cxnChg chg="del">
          <ac:chgData name="Daniele, L.M. (Laura)" userId="fd7970a2-7a0c-4b70-8263-dcc64c0076cf" providerId="ADAL" clId="{2E30AC29-01AD-49FF-A187-E210449B43FC}" dt="2020-06-22T14:14:50.510" v="356" actId="478"/>
          <ac:cxnSpMkLst>
            <pc:docMk/>
            <pc:sldMk cId="1006864343" sldId="448"/>
            <ac:cxnSpMk id="193" creationId="{00000000-0000-0000-0000-000000000000}"/>
          </ac:cxnSpMkLst>
        </pc:cxnChg>
        <pc:cxnChg chg="del">
          <ac:chgData name="Daniele, L.M. (Laura)" userId="fd7970a2-7a0c-4b70-8263-dcc64c0076cf" providerId="ADAL" clId="{2E30AC29-01AD-49FF-A187-E210449B43FC}" dt="2020-06-22T14:14:50.510" v="356" actId="478"/>
          <ac:cxnSpMkLst>
            <pc:docMk/>
            <pc:sldMk cId="1006864343" sldId="448"/>
            <ac:cxnSpMk id="194" creationId="{00000000-0000-0000-0000-000000000000}"/>
          </ac:cxnSpMkLst>
        </pc:cxnChg>
        <pc:cxnChg chg="del">
          <ac:chgData name="Daniele, L.M. (Laura)" userId="fd7970a2-7a0c-4b70-8263-dcc64c0076cf" providerId="ADAL" clId="{2E30AC29-01AD-49FF-A187-E210449B43FC}" dt="2020-06-22T14:14:50.510" v="356" actId="478"/>
          <ac:cxnSpMkLst>
            <pc:docMk/>
            <pc:sldMk cId="1006864343" sldId="448"/>
            <ac:cxnSpMk id="196" creationId="{00000000-0000-0000-0000-000000000000}"/>
          </ac:cxnSpMkLst>
        </pc:cxnChg>
        <pc:cxnChg chg="del">
          <ac:chgData name="Daniele, L.M. (Laura)" userId="fd7970a2-7a0c-4b70-8263-dcc64c0076cf" providerId="ADAL" clId="{2E30AC29-01AD-49FF-A187-E210449B43FC}" dt="2020-06-22T14:14:50.510" v="356" actId="478"/>
          <ac:cxnSpMkLst>
            <pc:docMk/>
            <pc:sldMk cId="1006864343" sldId="448"/>
            <ac:cxnSpMk id="197" creationId="{00000000-0000-0000-0000-000000000000}"/>
          </ac:cxnSpMkLst>
        </pc:cxnChg>
        <pc:cxnChg chg="del">
          <ac:chgData name="Daniele, L.M. (Laura)" userId="fd7970a2-7a0c-4b70-8263-dcc64c0076cf" providerId="ADAL" clId="{2E30AC29-01AD-49FF-A187-E210449B43FC}" dt="2020-06-22T14:14:50.510" v="356" actId="478"/>
          <ac:cxnSpMkLst>
            <pc:docMk/>
            <pc:sldMk cId="1006864343" sldId="448"/>
            <ac:cxnSpMk id="199" creationId="{00000000-0000-0000-0000-000000000000}"/>
          </ac:cxnSpMkLst>
        </pc:cxnChg>
        <pc:cxnChg chg="del">
          <ac:chgData name="Daniele, L.M. (Laura)" userId="fd7970a2-7a0c-4b70-8263-dcc64c0076cf" providerId="ADAL" clId="{2E30AC29-01AD-49FF-A187-E210449B43FC}" dt="2020-06-22T14:14:50.510" v="356" actId="478"/>
          <ac:cxnSpMkLst>
            <pc:docMk/>
            <pc:sldMk cId="1006864343" sldId="448"/>
            <ac:cxnSpMk id="201" creationId="{00000000-0000-0000-0000-000000000000}"/>
          </ac:cxnSpMkLst>
        </pc:cxnChg>
        <pc:cxnChg chg="del">
          <ac:chgData name="Daniele, L.M. (Laura)" userId="fd7970a2-7a0c-4b70-8263-dcc64c0076cf" providerId="ADAL" clId="{2E30AC29-01AD-49FF-A187-E210449B43FC}" dt="2020-06-22T14:14:50.510" v="356" actId="478"/>
          <ac:cxnSpMkLst>
            <pc:docMk/>
            <pc:sldMk cId="1006864343" sldId="448"/>
            <ac:cxnSpMk id="202" creationId="{00000000-0000-0000-0000-000000000000}"/>
          </ac:cxnSpMkLst>
        </pc:cxnChg>
        <pc:cxnChg chg="del">
          <ac:chgData name="Daniele, L.M. (Laura)" userId="fd7970a2-7a0c-4b70-8263-dcc64c0076cf" providerId="ADAL" clId="{2E30AC29-01AD-49FF-A187-E210449B43FC}" dt="2020-06-22T14:14:50.510" v="356" actId="478"/>
          <ac:cxnSpMkLst>
            <pc:docMk/>
            <pc:sldMk cId="1006864343" sldId="448"/>
            <ac:cxnSpMk id="204" creationId="{00000000-0000-0000-0000-000000000000}"/>
          </ac:cxnSpMkLst>
        </pc:cxnChg>
        <pc:cxnChg chg="del">
          <ac:chgData name="Daniele, L.M. (Laura)" userId="fd7970a2-7a0c-4b70-8263-dcc64c0076cf" providerId="ADAL" clId="{2E30AC29-01AD-49FF-A187-E210449B43FC}" dt="2020-06-22T14:14:50.510" v="356" actId="478"/>
          <ac:cxnSpMkLst>
            <pc:docMk/>
            <pc:sldMk cId="1006864343" sldId="448"/>
            <ac:cxnSpMk id="205" creationId="{00000000-0000-0000-0000-000000000000}"/>
          </ac:cxnSpMkLst>
        </pc:cxnChg>
        <pc:cxnChg chg="del">
          <ac:chgData name="Daniele, L.M. (Laura)" userId="fd7970a2-7a0c-4b70-8263-dcc64c0076cf" providerId="ADAL" clId="{2E30AC29-01AD-49FF-A187-E210449B43FC}" dt="2020-06-22T14:14:50.510" v="356" actId="478"/>
          <ac:cxnSpMkLst>
            <pc:docMk/>
            <pc:sldMk cId="1006864343" sldId="448"/>
            <ac:cxnSpMk id="208" creationId="{00000000-0000-0000-0000-000000000000}"/>
          </ac:cxnSpMkLst>
        </pc:cxnChg>
        <pc:cxnChg chg="del">
          <ac:chgData name="Daniele, L.M. (Laura)" userId="fd7970a2-7a0c-4b70-8263-dcc64c0076cf" providerId="ADAL" clId="{2E30AC29-01AD-49FF-A187-E210449B43FC}" dt="2020-06-22T14:14:50.510" v="356" actId="478"/>
          <ac:cxnSpMkLst>
            <pc:docMk/>
            <pc:sldMk cId="1006864343" sldId="448"/>
            <ac:cxnSpMk id="210" creationId="{00000000-0000-0000-0000-000000000000}"/>
          </ac:cxnSpMkLst>
        </pc:cxnChg>
        <pc:cxnChg chg="del">
          <ac:chgData name="Daniele, L.M. (Laura)" userId="fd7970a2-7a0c-4b70-8263-dcc64c0076cf" providerId="ADAL" clId="{2E30AC29-01AD-49FF-A187-E210449B43FC}" dt="2020-06-22T14:14:50.510" v="356" actId="478"/>
          <ac:cxnSpMkLst>
            <pc:docMk/>
            <pc:sldMk cId="1006864343" sldId="448"/>
            <ac:cxnSpMk id="213" creationId="{00000000-0000-0000-0000-000000000000}"/>
          </ac:cxnSpMkLst>
        </pc:cxnChg>
        <pc:cxnChg chg="del">
          <ac:chgData name="Daniele, L.M. (Laura)" userId="fd7970a2-7a0c-4b70-8263-dcc64c0076cf" providerId="ADAL" clId="{2E30AC29-01AD-49FF-A187-E210449B43FC}" dt="2020-06-22T14:14:50.510" v="356" actId="478"/>
          <ac:cxnSpMkLst>
            <pc:docMk/>
            <pc:sldMk cId="1006864343" sldId="448"/>
            <ac:cxnSpMk id="218" creationId="{00000000-0000-0000-0000-000000000000}"/>
          </ac:cxnSpMkLst>
        </pc:cxnChg>
        <pc:cxnChg chg="del">
          <ac:chgData name="Daniele, L.M. (Laura)" userId="fd7970a2-7a0c-4b70-8263-dcc64c0076cf" providerId="ADAL" clId="{2E30AC29-01AD-49FF-A187-E210449B43FC}" dt="2020-06-22T14:14:50.510" v="356" actId="478"/>
          <ac:cxnSpMkLst>
            <pc:docMk/>
            <pc:sldMk cId="1006864343" sldId="448"/>
            <ac:cxnSpMk id="222" creationId="{00000000-0000-0000-0000-000000000000}"/>
          </ac:cxnSpMkLst>
        </pc:cxnChg>
        <pc:cxnChg chg="del">
          <ac:chgData name="Daniele, L.M. (Laura)" userId="fd7970a2-7a0c-4b70-8263-dcc64c0076cf" providerId="ADAL" clId="{2E30AC29-01AD-49FF-A187-E210449B43FC}" dt="2020-06-22T14:14:50.510" v="356" actId="478"/>
          <ac:cxnSpMkLst>
            <pc:docMk/>
            <pc:sldMk cId="1006864343" sldId="448"/>
            <ac:cxnSpMk id="226" creationId="{00000000-0000-0000-0000-000000000000}"/>
          </ac:cxnSpMkLst>
        </pc:cxnChg>
        <pc:cxnChg chg="del">
          <ac:chgData name="Daniele, L.M. (Laura)" userId="fd7970a2-7a0c-4b70-8263-dcc64c0076cf" providerId="ADAL" clId="{2E30AC29-01AD-49FF-A187-E210449B43FC}" dt="2020-06-22T14:14:50.510" v="356" actId="478"/>
          <ac:cxnSpMkLst>
            <pc:docMk/>
            <pc:sldMk cId="1006864343" sldId="448"/>
            <ac:cxnSpMk id="229" creationId="{00000000-0000-0000-0000-000000000000}"/>
          </ac:cxnSpMkLst>
        </pc:cxnChg>
        <pc:cxnChg chg="del">
          <ac:chgData name="Daniele, L.M. (Laura)" userId="fd7970a2-7a0c-4b70-8263-dcc64c0076cf" providerId="ADAL" clId="{2E30AC29-01AD-49FF-A187-E210449B43FC}" dt="2020-06-22T14:14:50.510" v="356" actId="478"/>
          <ac:cxnSpMkLst>
            <pc:docMk/>
            <pc:sldMk cId="1006864343" sldId="448"/>
            <ac:cxnSpMk id="232" creationId="{00000000-0000-0000-0000-000000000000}"/>
          </ac:cxnSpMkLst>
        </pc:cxnChg>
        <pc:cxnChg chg="del">
          <ac:chgData name="Daniele, L.M. (Laura)" userId="fd7970a2-7a0c-4b70-8263-dcc64c0076cf" providerId="ADAL" clId="{2E30AC29-01AD-49FF-A187-E210449B43FC}" dt="2020-06-22T14:14:50.510" v="356" actId="478"/>
          <ac:cxnSpMkLst>
            <pc:docMk/>
            <pc:sldMk cId="1006864343" sldId="448"/>
            <ac:cxnSpMk id="235" creationId="{00000000-0000-0000-0000-000000000000}"/>
          </ac:cxnSpMkLst>
        </pc:cxnChg>
        <pc:cxnChg chg="del">
          <ac:chgData name="Daniele, L.M. (Laura)" userId="fd7970a2-7a0c-4b70-8263-dcc64c0076cf" providerId="ADAL" clId="{2E30AC29-01AD-49FF-A187-E210449B43FC}" dt="2020-06-22T14:14:50.510" v="356" actId="478"/>
          <ac:cxnSpMkLst>
            <pc:docMk/>
            <pc:sldMk cId="1006864343" sldId="448"/>
            <ac:cxnSpMk id="247" creationId="{00000000-0000-0000-0000-000000000000}"/>
          </ac:cxnSpMkLst>
        </pc:cxnChg>
        <pc:cxnChg chg="del">
          <ac:chgData name="Daniele, L.M. (Laura)" userId="fd7970a2-7a0c-4b70-8263-dcc64c0076cf" providerId="ADAL" clId="{2E30AC29-01AD-49FF-A187-E210449B43FC}" dt="2020-06-22T14:14:50.510" v="356" actId="478"/>
          <ac:cxnSpMkLst>
            <pc:docMk/>
            <pc:sldMk cId="1006864343" sldId="448"/>
            <ac:cxnSpMk id="251" creationId="{00000000-0000-0000-0000-000000000000}"/>
          </ac:cxnSpMkLst>
        </pc:cxnChg>
        <pc:cxnChg chg="del">
          <ac:chgData name="Daniele, L.M. (Laura)" userId="fd7970a2-7a0c-4b70-8263-dcc64c0076cf" providerId="ADAL" clId="{2E30AC29-01AD-49FF-A187-E210449B43FC}" dt="2020-06-22T14:14:50.510" v="356" actId="478"/>
          <ac:cxnSpMkLst>
            <pc:docMk/>
            <pc:sldMk cId="1006864343" sldId="448"/>
            <ac:cxnSpMk id="257" creationId="{00000000-0000-0000-0000-000000000000}"/>
          </ac:cxnSpMkLst>
        </pc:cxnChg>
        <pc:cxnChg chg="del">
          <ac:chgData name="Daniele, L.M. (Laura)" userId="fd7970a2-7a0c-4b70-8263-dcc64c0076cf" providerId="ADAL" clId="{2E30AC29-01AD-49FF-A187-E210449B43FC}" dt="2020-06-22T14:14:50.510" v="356" actId="478"/>
          <ac:cxnSpMkLst>
            <pc:docMk/>
            <pc:sldMk cId="1006864343" sldId="448"/>
            <ac:cxnSpMk id="260" creationId="{00000000-0000-0000-0000-000000000000}"/>
          </ac:cxnSpMkLst>
        </pc:cxnChg>
        <pc:cxnChg chg="del">
          <ac:chgData name="Daniele, L.M. (Laura)" userId="fd7970a2-7a0c-4b70-8263-dcc64c0076cf" providerId="ADAL" clId="{2E30AC29-01AD-49FF-A187-E210449B43FC}" dt="2020-06-22T14:14:50.510" v="356" actId="478"/>
          <ac:cxnSpMkLst>
            <pc:docMk/>
            <pc:sldMk cId="1006864343" sldId="448"/>
            <ac:cxnSpMk id="263" creationId="{00000000-0000-0000-0000-000000000000}"/>
          </ac:cxnSpMkLst>
        </pc:cxnChg>
        <pc:cxnChg chg="del">
          <ac:chgData name="Daniele, L.M. (Laura)" userId="fd7970a2-7a0c-4b70-8263-dcc64c0076cf" providerId="ADAL" clId="{2E30AC29-01AD-49FF-A187-E210449B43FC}" dt="2020-06-22T14:14:50.510" v="356" actId="478"/>
          <ac:cxnSpMkLst>
            <pc:docMk/>
            <pc:sldMk cId="1006864343" sldId="448"/>
            <ac:cxnSpMk id="272" creationId="{00000000-0000-0000-0000-000000000000}"/>
          </ac:cxnSpMkLst>
        </pc:cxnChg>
        <pc:cxnChg chg="del">
          <ac:chgData name="Daniele, L.M. (Laura)" userId="fd7970a2-7a0c-4b70-8263-dcc64c0076cf" providerId="ADAL" clId="{2E30AC29-01AD-49FF-A187-E210449B43FC}" dt="2020-06-22T14:14:50.510" v="356" actId="478"/>
          <ac:cxnSpMkLst>
            <pc:docMk/>
            <pc:sldMk cId="1006864343" sldId="448"/>
            <ac:cxnSpMk id="276" creationId="{00000000-0000-0000-0000-000000000000}"/>
          </ac:cxnSpMkLst>
        </pc:cxnChg>
        <pc:cxnChg chg="del">
          <ac:chgData name="Daniele, L.M. (Laura)" userId="fd7970a2-7a0c-4b70-8263-dcc64c0076cf" providerId="ADAL" clId="{2E30AC29-01AD-49FF-A187-E210449B43FC}" dt="2020-06-22T14:14:50.510" v="356" actId="478"/>
          <ac:cxnSpMkLst>
            <pc:docMk/>
            <pc:sldMk cId="1006864343" sldId="448"/>
            <ac:cxnSpMk id="280" creationId="{00000000-0000-0000-0000-000000000000}"/>
          </ac:cxnSpMkLst>
        </pc:cxnChg>
        <pc:cxnChg chg="del">
          <ac:chgData name="Daniele, L.M. (Laura)" userId="fd7970a2-7a0c-4b70-8263-dcc64c0076cf" providerId="ADAL" clId="{2E30AC29-01AD-49FF-A187-E210449B43FC}" dt="2020-06-22T14:14:50.510" v="356" actId="478"/>
          <ac:cxnSpMkLst>
            <pc:docMk/>
            <pc:sldMk cId="1006864343" sldId="448"/>
            <ac:cxnSpMk id="283" creationId="{00000000-0000-0000-0000-000000000000}"/>
          </ac:cxnSpMkLst>
        </pc:cxnChg>
        <pc:cxnChg chg="del">
          <ac:chgData name="Daniele, L.M. (Laura)" userId="fd7970a2-7a0c-4b70-8263-dcc64c0076cf" providerId="ADAL" clId="{2E30AC29-01AD-49FF-A187-E210449B43FC}" dt="2020-06-22T14:14:50.510" v="356" actId="478"/>
          <ac:cxnSpMkLst>
            <pc:docMk/>
            <pc:sldMk cId="1006864343" sldId="448"/>
            <ac:cxnSpMk id="290" creationId="{00000000-0000-0000-0000-000000000000}"/>
          </ac:cxnSpMkLst>
        </pc:cxnChg>
        <pc:cxnChg chg="del">
          <ac:chgData name="Daniele, L.M. (Laura)" userId="fd7970a2-7a0c-4b70-8263-dcc64c0076cf" providerId="ADAL" clId="{2E30AC29-01AD-49FF-A187-E210449B43FC}" dt="2020-06-22T14:14:50.510" v="356" actId="478"/>
          <ac:cxnSpMkLst>
            <pc:docMk/>
            <pc:sldMk cId="1006864343" sldId="448"/>
            <ac:cxnSpMk id="293" creationId="{00000000-0000-0000-0000-000000000000}"/>
          </ac:cxnSpMkLst>
        </pc:cxnChg>
        <pc:cxnChg chg="del">
          <ac:chgData name="Daniele, L.M. (Laura)" userId="fd7970a2-7a0c-4b70-8263-dcc64c0076cf" providerId="ADAL" clId="{2E30AC29-01AD-49FF-A187-E210449B43FC}" dt="2020-06-22T14:14:50.510" v="356" actId="478"/>
          <ac:cxnSpMkLst>
            <pc:docMk/>
            <pc:sldMk cId="1006864343" sldId="448"/>
            <ac:cxnSpMk id="296" creationId="{00000000-0000-0000-0000-000000000000}"/>
          </ac:cxnSpMkLst>
        </pc:cxnChg>
        <pc:cxnChg chg="del">
          <ac:chgData name="Daniele, L.M. (Laura)" userId="fd7970a2-7a0c-4b70-8263-dcc64c0076cf" providerId="ADAL" clId="{2E30AC29-01AD-49FF-A187-E210449B43FC}" dt="2020-06-22T14:14:50.510" v="356" actId="478"/>
          <ac:cxnSpMkLst>
            <pc:docMk/>
            <pc:sldMk cId="1006864343" sldId="448"/>
            <ac:cxnSpMk id="302" creationId="{00000000-0000-0000-0000-000000000000}"/>
          </ac:cxnSpMkLst>
        </pc:cxnChg>
        <pc:cxnChg chg="del">
          <ac:chgData name="Daniele, L.M. (Laura)" userId="fd7970a2-7a0c-4b70-8263-dcc64c0076cf" providerId="ADAL" clId="{2E30AC29-01AD-49FF-A187-E210449B43FC}" dt="2020-06-22T14:14:50.510" v="356" actId="478"/>
          <ac:cxnSpMkLst>
            <pc:docMk/>
            <pc:sldMk cId="1006864343" sldId="448"/>
            <ac:cxnSpMk id="306" creationId="{00000000-0000-0000-0000-000000000000}"/>
          </ac:cxnSpMkLst>
        </pc:cxnChg>
        <pc:cxnChg chg="del">
          <ac:chgData name="Daniele, L.M. (Laura)" userId="fd7970a2-7a0c-4b70-8263-dcc64c0076cf" providerId="ADAL" clId="{2E30AC29-01AD-49FF-A187-E210449B43FC}" dt="2020-06-22T14:14:50.510" v="356" actId="478"/>
          <ac:cxnSpMkLst>
            <pc:docMk/>
            <pc:sldMk cId="1006864343" sldId="448"/>
            <ac:cxnSpMk id="309" creationId="{00000000-0000-0000-0000-000000000000}"/>
          </ac:cxnSpMkLst>
        </pc:cxnChg>
        <pc:cxnChg chg="del">
          <ac:chgData name="Daniele, L.M. (Laura)" userId="fd7970a2-7a0c-4b70-8263-dcc64c0076cf" providerId="ADAL" clId="{2E30AC29-01AD-49FF-A187-E210449B43FC}" dt="2020-06-22T14:14:50.510" v="356" actId="478"/>
          <ac:cxnSpMkLst>
            <pc:docMk/>
            <pc:sldMk cId="1006864343" sldId="448"/>
            <ac:cxnSpMk id="313" creationId="{00000000-0000-0000-0000-000000000000}"/>
          </ac:cxnSpMkLst>
        </pc:cxnChg>
        <pc:cxnChg chg="del">
          <ac:chgData name="Daniele, L.M. (Laura)" userId="fd7970a2-7a0c-4b70-8263-dcc64c0076cf" providerId="ADAL" clId="{2E30AC29-01AD-49FF-A187-E210449B43FC}" dt="2020-06-22T14:14:50.510" v="356" actId="478"/>
          <ac:cxnSpMkLst>
            <pc:docMk/>
            <pc:sldMk cId="1006864343" sldId="448"/>
            <ac:cxnSpMk id="318" creationId="{00000000-0000-0000-0000-000000000000}"/>
          </ac:cxnSpMkLst>
        </pc:cxnChg>
        <pc:cxnChg chg="del">
          <ac:chgData name="Daniele, L.M. (Laura)" userId="fd7970a2-7a0c-4b70-8263-dcc64c0076cf" providerId="ADAL" clId="{2E30AC29-01AD-49FF-A187-E210449B43FC}" dt="2020-06-22T14:14:50.510" v="356" actId="478"/>
          <ac:cxnSpMkLst>
            <pc:docMk/>
            <pc:sldMk cId="1006864343" sldId="448"/>
            <ac:cxnSpMk id="326" creationId="{00000000-0000-0000-0000-000000000000}"/>
          </ac:cxnSpMkLst>
        </pc:cxnChg>
        <pc:cxnChg chg="del">
          <ac:chgData name="Daniele, L.M. (Laura)" userId="fd7970a2-7a0c-4b70-8263-dcc64c0076cf" providerId="ADAL" clId="{2E30AC29-01AD-49FF-A187-E210449B43FC}" dt="2020-06-22T14:14:50.510" v="356" actId="478"/>
          <ac:cxnSpMkLst>
            <pc:docMk/>
            <pc:sldMk cId="1006864343" sldId="448"/>
            <ac:cxnSpMk id="329" creationId="{00000000-0000-0000-0000-000000000000}"/>
          </ac:cxnSpMkLst>
        </pc:cxnChg>
        <pc:cxnChg chg="del">
          <ac:chgData name="Daniele, L.M. (Laura)" userId="fd7970a2-7a0c-4b70-8263-dcc64c0076cf" providerId="ADAL" clId="{2E30AC29-01AD-49FF-A187-E210449B43FC}" dt="2020-06-22T14:14:50.510" v="356" actId="478"/>
          <ac:cxnSpMkLst>
            <pc:docMk/>
            <pc:sldMk cId="1006864343" sldId="448"/>
            <ac:cxnSpMk id="344" creationId="{00000000-0000-0000-0000-000000000000}"/>
          </ac:cxnSpMkLst>
        </pc:cxnChg>
        <pc:cxnChg chg="del">
          <ac:chgData name="Daniele, L.M. (Laura)" userId="fd7970a2-7a0c-4b70-8263-dcc64c0076cf" providerId="ADAL" clId="{2E30AC29-01AD-49FF-A187-E210449B43FC}" dt="2020-06-22T14:14:50.510" v="356" actId="478"/>
          <ac:cxnSpMkLst>
            <pc:docMk/>
            <pc:sldMk cId="1006864343" sldId="448"/>
            <ac:cxnSpMk id="352" creationId="{00000000-0000-0000-0000-000000000000}"/>
          </ac:cxnSpMkLst>
        </pc:cxnChg>
        <pc:cxnChg chg="del">
          <ac:chgData name="Daniele, L.M. (Laura)" userId="fd7970a2-7a0c-4b70-8263-dcc64c0076cf" providerId="ADAL" clId="{2E30AC29-01AD-49FF-A187-E210449B43FC}" dt="2020-06-22T14:14:50.510" v="356" actId="478"/>
          <ac:cxnSpMkLst>
            <pc:docMk/>
            <pc:sldMk cId="1006864343" sldId="448"/>
            <ac:cxnSpMk id="361" creationId="{00000000-0000-0000-0000-000000000000}"/>
          </ac:cxnSpMkLst>
        </pc:cxnChg>
      </pc:sldChg>
      <pc:sldChg chg="addSp delSp modSp add ord">
        <pc:chgData name="Daniele, L.M. (Laura)" userId="fd7970a2-7a0c-4b70-8263-dcc64c0076cf" providerId="ADAL" clId="{2E30AC29-01AD-49FF-A187-E210449B43FC}" dt="2020-06-22T14:21:03.142" v="386"/>
        <pc:sldMkLst>
          <pc:docMk/>
          <pc:sldMk cId="3520581317" sldId="448"/>
        </pc:sldMkLst>
        <pc:spChg chg="mod">
          <ac:chgData name="Daniele, L.M. (Laura)" userId="fd7970a2-7a0c-4b70-8263-dcc64c0076cf" providerId="ADAL" clId="{2E30AC29-01AD-49FF-A187-E210449B43FC}" dt="2020-06-22T14:18:44.534" v="374" actId="20577"/>
          <ac:spMkLst>
            <pc:docMk/>
            <pc:sldMk cId="3520581317" sldId="448"/>
            <ac:spMk id="13" creationId="{8B931C60-B751-4D40-A679-4B6147277B01}"/>
          </ac:spMkLst>
        </pc:spChg>
        <pc:picChg chg="add">
          <ac:chgData name="Daniele, L.M. (Laura)" userId="fd7970a2-7a0c-4b70-8263-dcc64c0076cf" providerId="ADAL" clId="{2E30AC29-01AD-49FF-A187-E210449B43FC}" dt="2020-06-22T14:18:15.664" v="372"/>
          <ac:picMkLst>
            <pc:docMk/>
            <pc:sldMk cId="3520581317" sldId="448"/>
            <ac:picMk id="7" creationId="{BE110A98-1524-4353-B9C3-124EEB2B0C13}"/>
          </ac:picMkLst>
        </pc:picChg>
        <pc:picChg chg="add">
          <ac:chgData name="Daniele, L.M. (Laura)" userId="fd7970a2-7a0c-4b70-8263-dcc64c0076cf" providerId="ADAL" clId="{2E30AC29-01AD-49FF-A187-E210449B43FC}" dt="2020-06-22T14:18:15.664" v="372"/>
          <ac:picMkLst>
            <pc:docMk/>
            <pc:sldMk cId="3520581317" sldId="448"/>
            <ac:picMk id="8" creationId="{BEFEF15C-0AD9-469B-8003-AAC22EDC7096}"/>
          </ac:picMkLst>
        </pc:picChg>
        <pc:picChg chg="del">
          <ac:chgData name="Daniele, L.M. (Laura)" userId="fd7970a2-7a0c-4b70-8263-dcc64c0076cf" providerId="ADAL" clId="{2E30AC29-01AD-49FF-A187-E210449B43FC}" dt="2020-06-22T14:18:14.982" v="371" actId="478"/>
          <ac:picMkLst>
            <pc:docMk/>
            <pc:sldMk cId="3520581317" sldId="448"/>
            <ac:picMk id="10" creationId="{DB29DEA1-60D3-4CAB-AE85-E8979008548D}"/>
          </ac:picMkLst>
        </pc:picChg>
      </pc:sldChg>
      <pc:sldChg chg="addSp delSp modSp add del mod modClrScheme chgLayout">
        <pc:chgData name="Daniele, L.M. (Laura)" userId="fd7970a2-7a0c-4b70-8263-dcc64c0076cf" providerId="ADAL" clId="{2E30AC29-01AD-49FF-A187-E210449B43FC}" dt="2020-06-22T14:21:59.637" v="398" actId="2696"/>
        <pc:sldMkLst>
          <pc:docMk/>
          <pc:sldMk cId="1933635478" sldId="449"/>
        </pc:sldMkLst>
        <pc:spChg chg="add del">
          <ac:chgData name="Daniele, L.M. (Laura)" userId="fd7970a2-7a0c-4b70-8263-dcc64c0076cf" providerId="ADAL" clId="{2E30AC29-01AD-49FF-A187-E210449B43FC}" dt="2020-06-22T14:21:46.660" v="396" actId="26606"/>
          <ac:spMkLst>
            <pc:docMk/>
            <pc:sldMk cId="1933635478" sldId="449"/>
            <ac:spMk id="2" creationId="{07F64A44-FF7A-491B-86F6-9664B3F68BCC}"/>
          </ac:spMkLst>
        </pc:spChg>
        <pc:spChg chg="mod ord modVis">
          <ac:chgData name="Daniele, L.M. (Laura)" userId="fd7970a2-7a0c-4b70-8263-dcc64c0076cf" providerId="ADAL" clId="{2E30AC29-01AD-49FF-A187-E210449B43FC}" dt="2020-06-22T14:21:46.660" v="396" actId="26606"/>
          <ac:spMkLst>
            <pc:docMk/>
            <pc:sldMk cId="1933635478" sldId="449"/>
            <ac:spMk id="3" creationId="{BA774AD3-E06A-49F4-9023-35EAAFC59546}"/>
          </ac:spMkLst>
        </pc:spChg>
        <pc:spChg chg="add del mod">
          <ac:chgData name="Daniele, L.M. (Laura)" userId="fd7970a2-7a0c-4b70-8263-dcc64c0076cf" providerId="ADAL" clId="{2E30AC29-01AD-49FF-A187-E210449B43FC}" dt="2020-06-22T14:21:40.800" v="394" actId="26606"/>
          <ac:spMkLst>
            <pc:docMk/>
            <pc:sldMk cId="1933635478" sldId="449"/>
            <ac:spMk id="9" creationId="{E8BF2313-A3F4-463B-9DCE-7CC14E42FAD0}"/>
          </ac:spMkLst>
        </pc:spChg>
        <pc:picChg chg="add del mod">
          <ac:chgData name="Daniele, L.M. (Laura)" userId="fd7970a2-7a0c-4b70-8263-dcc64c0076cf" providerId="ADAL" clId="{2E30AC29-01AD-49FF-A187-E210449B43FC}" dt="2020-06-22T14:21:47.262" v="397"/>
          <ac:picMkLst>
            <pc:docMk/>
            <pc:sldMk cId="1933635478" sldId="449"/>
            <ac:picMk id="4" creationId="{B217BDE5-A6CE-4624-809E-2AB53F21DCBE}"/>
          </ac:picMkLst>
        </pc:picChg>
      </pc:sldChg>
      <pc:sldChg chg="add del">
        <pc:chgData name="Daniele, L.M. (Laura)" userId="fd7970a2-7a0c-4b70-8263-dcc64c0076cf" providerId="ADAL" clId="{2E30AC29-01AD-49FF-A187-E210449B43FC}" dt="2020-06-22T14:20:57.391" v="385" actId="2696"/>
        <pc:sldMkLst>
          <pc:docMk/>
          <pc:sldMk cId="2548198391" sldId="449"/>
        </pc:sldMkLst>
      </pc:sldChg>
      <pc:sldChg chg="add del">
        <pc:chgData name="Daniele, L.M. (Laura)" userId="fd7970a2-7a0c-4b70-8263-dcc64c0076cf" providerId="ADAL" clId="{2E30AC29-01AD-49FF-A187-E210449B43FC}" dt="2020-06-22T14:30:50.411" v="470" actId="2696"/>
        <pc:sldMkLst>
          <pc:docMk/>
          <pc:sldMk cId="2799438740" sldId="449"/>
        </pc:sldMkLst>
      </pc:sldChg>
      <pc:sldChg chg="addSp add">
        <pc:chgData name="Daniele, L.M. (Laura)" userId="fd7970a2-7a0c-4b70-8263-dcc64c0076cf" providerId="ADAL" clId="{2E30AC29-01AD-49FF-A187-E210449B43FC}" dt="2020-06-22T14:25:33.493" v="403"/>
        <pc:sldMkLst>
          <pc:docMk/>
          <pc:sldMk cId="2422348265" sldId="450"/>
        </pc:sldMkLst>
        <pc:picChg chg="add">
          <ac:chgData name="Daniele, L.M. (Laura)" userId="fd7970a2-7a0c-4b70-8263-dcc64c0076cf" providerId="ADAL" clId="{2E30AC29-01AD-49FF-A187-E210449B43FC}" dt="2020-06-22T14:25:33.493" v="403"/>
          <ac:picMkLst>
            <pc:docMk/>
            <pc:sldMk cId="2422348265" sldId="450"/>
            <ac:picMk id="5" creationId="{074A111F-71CC-436E-9901-2C81B8A23961}"/>
          </ac:picMkLst>
        </pc:picChg>
      </pc:sldChg>
      <pc:sldChg chg="add">
        <pc:chgData name="Daniele, L.M. (Laura)" userId="fd7970a2-7a0c-4b70-8263-dcc64c0076cf" providerId="ADAL" clId="{2E30AC29-01AD-49FF-A187-E210449B43FC}" dt="2020-06-22T14:24:22.509" v="402"/>
        <pc:sldMkLst>
          <pc:docMk/>
          <pc:sldMk cId="3745116095" sldId="451"/>
        </pc:sldMkLst>
      </pc:sldChg>
      <pc:sldChg chg="modSp add">
        <pc:chgData name="Daniele, L.M. (Laura)" userId="fd7970a2-7a0c-4b70-8263-dcc64c0076cf" providerId="ADAL" clId="{2E30AC29-01AD-49FF-A187-E210449B43FC}" dt="2020-06-24T12:23:57.721" v="4562" actId="20577"/>
        <pc:sldMkLst>
          <pc:docMk/>
          <pc:sldMk cId="606421217" sldId="452"/>
        </pc:sldMkLst>
        <pc:spChg chg="mod">
          <ac:chgData name="Daniele, L.M. (Laura)" userId="fd7970a2-7a0c-4b70-8263-dcc64c0076cf" providerId="ADAL" clId="{2E30AC29-01AD-49FF-A187-E210449B43FC}" dt="2020-06-24T12:23:57.721" v="4562" actId="20577"/>
          <ac:spMkLst>
            <pc:docMk/>
            <pc:sldMk cId="606421217" sldId="452"/>
            <ac:spMk id="40" creationId="{00000000-0000-0000-0000-000000000000}"/>
          </ac:spMkLst>
        </pc:spChg>
        <pc:spChg chg="mod">
          <ac:chgData name="Daniele, L.M. (Laura)" userId="fd7970a2-7a0c-4b70-8263-dcc64c0076cf" providerId="ADAL" clId="{2E30AC29-01AD-49FF-A187-E210449B43FC}" dt="2020-06-22T14:26:18.298" v="407" actId="403"/>
          <ac:spMkLst>
            <pc:docMk/>
            <pc:sldMk cId="606421217" sldId="452"/>
            <ac:spMk id="60" creationId="{6CEC1D7A-DE1A-4C82-AE3D-8C629F4C7119}"/>
          </ac:spMkLst>
        </pc:spChg>
        <pc:spChg chg="mod">
          <ac:chgData name="Daniele, L.M. (Laura)" userId="fd7970a2-7a0c-4b70-8263-dcc64c0076cf" providerId="ADAL" clId="{2E30AC29-01AD-49FF-A187-E210449B43FC}" dt="2020-06-22T14:26:17.737" v="406" actId="403"/>
          <ac:spMkLst>
            <pc:docMk/>
            <pc:sldMk cId="606421217" sldId="452"/>
            <ac:spMk id="67" creationId="{C0C4C348-BB40-455C-A5A4-40310746DAE1}"/>
          </ac:spMkLst>
        </pc:spChg>
        <pc:spChg chg="mod">
          <ac:chgData name="Daniele, L.M. (Laura)" userId="fd7970a2-7a0c-4b70-8263-dcc64c0076cf" providerId="ADAL" clId="{2E30AC29-01AD-49FF-A187-E210449B43FC}" dt="2020-06-22T14:27:21.350" v="454" actId="1038"/>
          <ac:spMkLst>
            <pc:docMk/>
            <pc:sldMk cId="606421217" sldId="452"/>
            <ac:spMk id="96" creationId="{0150C155-3C45-4E6D-9E89-98D5D4F2E1B8}"/>
          </ac:spMkLst>
        </pc:spChg>
        <pc:cxnChg chg="mod">
          <ac:chgData name="Daniele, L.M. (Laura)" userId="fd7970a2-7a0c-4b70-8263-dcc64c0076cf" providerId="ADAL" clId="{2E30AC29-01AD-49FF-A187-E210449B43FC}" dt="2020-06-22T14:26:43.030" v="410" actId="1036"/>
          <ac:cxnSpMkLst>
            <pc:docMk/>
            <pc:sldMk cId="606421217" sldId="452"/>
            <ac:cxnSpMk id="50" creationId="{1ECF2C72-0EDD-472C-8ED2-3E547E018D38}"/>
          </ac:cxnSpMkLst>
        </pc:cxnChg>
      </pc:sldChg>
      <pc:sldChg chg="addSp delSp add">
        <pc:chgData name="Daniele, L.M. (Laura)" userId="fd7970a2-7a0c-4b70-8263-dcc64c0076cf" providerId="ADAL" clId="{2E30AC29-01AD-49FF-A187-E210449B43FC}" dt="2020-06-24T10:07:18.365" v="1581" actId="478"/>
        <pc:sldMkLst>
          <pc:docMk/>
          <pc:sldMk cId="1555448200" sldId="453"/>
        </pc:sldMkLst>
        <pc:picChg chg="del">
          <ac:chgData name="Daniele, L.M. (Laura)" userId="fd7970a2-7a0c-4b70-8263-dcc64c0076cf" providerId="ADAL" clId="{2E30AC29-01AD-49FF-A187-E210449B43FC}" dt="2020-06-24T10:07:18.365" v="1581" actId="478"/>
          <ac:picMkLst>
            <pc:docMk/>
            <pc:sldMk cId="1555448200" sldId="453"/>
            <ac:picMk id="9" creationId="{CDE5B977-1997-4792-BA06-9D5124213348}"/>
          </ac:picMkLst>
        </pc:picChg>
        <pc:picChg chg="add">
          <ac:chgData name="Daniele, L.M. (Laura)" userId="fd7970a2-7a0c-4b70-8263-dcc64c0076cf" providerId="ADAL" clId="{2E30AC29-01AD-49FF-A187-E210449B43FC}" dt="2020-06-24T09:37:02.130" v="1084"/>
          <ac:picMkLst>
            <pc:docMk/>
            <pc:sldMk cId="1555448200" sldId="453"/>
            <ac:picMk id="10" creationId="{6751F7B1-2A8E-4C43-8C75-E164BD65AEA7}"/>
          </ac:picMkLst>
        </pc:picChg>
      </pc:sldChg>
      <pc:sldChg chg="modSp add">
        <pc:chgData name="Daniele, L.M. (Laura)" userId="fd7970a2-7a0c-4b70-8263-dcc64c0076cf" providerId="ADAL" clId="{2E30AC29-01AD-49FF-A187-E210449B43FC}" dt="2020-06-24T12:36:52.462" v="4707" actId="20577"/>
        <pc:sldMkLst>
          <pc:docMk/>
          <pc:sldMk cId="85081346" sldId="454"/>
        </pc:sldMkLst>
        <pc:spChg chg="mod">
          <ac:chgData name="Daniele, L.M. (Laura)" userId="fd7970a2-7a0c-4b70-8263-dcc64c0076cf" providerId="ADAL" clId="{2E30AC29-01AD-49FF-A187-E210449B43FC}" dt="2020-06-24T10:12:34.825" v="1714" actId="20577"/>
          <ac:spMkLst>
            <pc:docMk/>
            <pc:sldMk cId="85081346" sldId="454"/>
            <ac:spMk id="2" creationId="{2652D591-41B3-4B01-8620-AEC22E39297C}"/>
          </ac:spMkLst>
        </pc:spChg>
        <pc:spChg chg="mod">
          <ac:chgData name="Daniele, L.M. (Laura)" userId="fd7970a2-7a0c-4b70-8263-dcc64c0076cf" providerId="ADAL" clId="{2E30AC29-01AD-49FF-A187-E210449B43FC}" dt="2020-06-24T12:36:52.462" v="4707" actId="20577"/>
          <ac:spMkLst>
            <pc:docMk/>
            <pc:sldMk cId="85081346" sldId="454"/>
            <ac:spMk id="3" creationId="{607B5DE4-0B72-4020-A9A9-47355718224D}"/>
          </ac:spMkLst>
        </pc:spChg>
      </pc:sldChg>
      <pc:sldChg chg="modSp add">
        <pc:chgData name="Daniele, L.M. (Laura)" userId="fd7970a2-7a0c-4b70-8263-dcc64c0076cf" providerId="ADAL" clId="{2E30AC29-01AD-49FF-A187-E210449B43FC}" dt="2020-06-24T12:40:00.380" v="4718" actId="948"/>
        <pc:sldMkLst>
          <pc:docMk/>
          <pc:sldMk cId="1493375543" sldId="455"/>
        </pc:sldMkLst>
        <pc:spChg chg="mod">
          <ac:chgData name="Daniele, L.M. (Laura)" userId="fd7970a2-7a0c-4b70-8263-dcc64c0076cf" providerId="ADAL" clId="{2E30AC29-01AD-49FF-A187-E210449B43FC}" dt="2020-06-24T10:54:04.222" v="3396" actId="20577"/>
          <ac:spMkLst>
            <pc:docMk/>
            <pc:sldMk cId="1493375543" sldId="455"/>
            <ac:spMk id="2" creationId="{2652D591-41B3-4B01-8620-AEC22E39297C}"/>
          </ac:spMkLst>
        </pc:spChg>
        <pc:spChg chg="mod">
          <ac:chgData name="Daniele, L.M. (Laura)" userId="fd7970a2-7a0c-4b70-8263-dcc64c0076cf" providerId="ADAL" clId="{2E30AC29-01AD-49FF-A187-E210449B43FC}" dt="2020-06-24T12:40:00.380" v="4718" actId="948"/>
          <ac:spMkLst>
            <pc:docMk/>
            <pc:sldMk cId="1493375543" sldId="455"/>
            <ac:spMk id="3" creationId="{607B5DE4-0B72-4020-A9A9-47355718224D}"/>
          </ac:spMkLst>
        </pc:spChg>
      </pc:sldChg>
      <pc:sldChg chg="modSp add">
        <pc:chgData name="Daniele, L.M. (Laura)" userId="fd7970a2-7a0c-4b70-8263-dcc64c0076cf" providerId="ADAL" clId="{2E30AC29-01AD-49FF-A187-E210449B43FC}" dt="2020-06-24T11:31:35.744" v="3973" actId="20577"/>
        <pc:sldMkLst>
          <pc:docMk/>
          <pc:sldMk cId="837866796" sldId="456"/>
        </pc:sldMkLst>
        <pc:spChg chg="mod">
          <ac:chgData name="Daniele, L.M. (Laura)" userId="fd7970a2-7a0c-4b70-8263-dcc64c0076cf" providerId="ADAL" clId="{2E30AC29-01AD-49FF-A187-E210449B43FC}" dt="2020-06-24T11:31:35.744" v="3973" actId="20577"/>
          <ac:spMkLst>
            <pc:docMk/>
            <pc:sldMk cId="837866796" sldId="456"/>
            <ac:spMk id="2" creationId="{9B71C370-D5AD-4285-B597-DF811FF69E0D}"/>
          </ac:spMkLst>
        </pc:spChg>
      </pc:sldChg>
      <pc:sldChg chg="add">
        <pc:chgData name="Daniele, L.M. (Laura)" userId="fd7970a2-7a0c-4b70-8263-dcc64c0076cf" providerId="ADAL" clId="{2E30AC29-01AD-49FF-A187-E210449B43FC}" dt="2020-06-24T11:33:07.208" v="3974"/>
        <pc:sldMkLst>
          <pc:docMk/>
          <pc:sldMk cId="4169032571" sldId="457"/>
        </pc:sldMkLst>
      </pc:sldChg>
      <pc:sldChg chg="addSp delSp modSp add del">
        <pc:chgData name="Daniele, L.M. (Laura)" userId="fd7970a2-7a0c-4b70-8263-dcc64c0076cf" providerId="ADAL" clId="{2E30AC29-01AD-49FF-A187-E210449B43FC}" dt="2020-06-24T12:30:27.378" v="4666" actId="20577"/>
        <pc:sldMkLst>
          <pc:docMk/>
          <pc:sldMk cId="4098785634" sldId="458"/>
        </pc:sldMkLst>
        <pc:spChg chg="del">
          <ac:chgData name="Daniele, L.M. (Laura)" userId="fd7970a2-7a0c-4b70-8263-dcc64c0076cf" providerId="ADAL" clId="{2E30AC29-01AD-49FF-A187-E210449B43FC}" dt="2020-06-24T11:42:29.303" v="4071" actId="478"/>
          <ac:spMkLst>
            <pc:docMk/>
            <pc:sldMk cId="4098785634" sldId="458"/>
            <ac:spMk id="6" creationId="{B4D7BB7C-E5F0-4CDE-BA8D-0CEC16FF38F1}"/>
          </ac:spMkLst>
        </pc:spChg>
        <pc:spChg chg="add mod">
          <ac:chgData name="Daniele, L.M. (Laura)" userId="fd7970a2-7a0c-4b70-8263-dcc64c0076cf" providerId="ADAL" clId="{2E30AC29-01AD-49FF-A187-E210449B43FC}" dt="2020-06-24T12:30:27.378" v="4666" actId="20577"/>
          <ac:spMkLst>
            <pc:docMk/>
            <pc:sldMk cId="4098785634" sldId="458"/>
            <ac:spMk id="8" creationId="{81981B26-1731-4689-B818-04F4E2F6AE73}"/>
          </ac:spMkLst>
        </pc:spChg>
      </pc:sldChg>
      <pc:sldChg chg="add del ord">
        <pc:chgData name="Daniele, L.M. (Laura)" userId="fd7970a2-7a0c-4b70-8263-dcc64c0076cf" providerId="ADAL" clId="{2E30AC29-01AD-49FF-A187-E210449B43FC}" dt="2020-06-24T11:36:03.935" v="3984"/>
        <pc:sldMkLst>
          <pc:docMk/>
          <pc:sldMk cId="974335966" sldId="459"/>
        </pc:sldMkLst>
      </pc:sldChg>
      <pc:sldChg chg="modSp add del ord">
        <pc:chgData name="Daniele, L.M. (Laura)" userId="fd7970a2-7a0c-4b70-8263-dcc64c0076cf" providerId="ADAL" clId="{2E30AC29-01AD-49FF-A187-E210449B43FC}" dt="2020-06-24T12:28:10.530" v="4634" actId="20577"/>
        <pc:sldMkLst>
          <pc:docMk/>
          <pc:sldMk cId="2401782720" sldId="460"/>
        </pc:sldMkLst>
        <pc:spChg chg="mod">
          <ac:chgData name="Daniele, L.M. (Laura)" userId="fd7970a2-7a0c-4b70-8263-dcc64c0076cf" providerId="ADAL" clId="{2E30AC29-01AD-49FF-A187-E210449B43FC}" dt="2020-06-24T12:28:10.530" v="4634" actId="20577"/>
          <ac:spMkLst>
            <pc:docMk/>
            <pc:sldMk cId="2401782720" sldId="460"/>
            <ac:spMk id="9" creationId="{00000000-0000-0000-0000-000000000000}"/>
          </ac:spMkLst>
        </pc:spChg>
      </pc:sldChg>
      <pc:sldChg chg="add ord">
        <pc:chgData name="Daniele, L.M. (Laura)" userId="fd7970a2-7a0c-4b70-8263-dcc64c0076cf" providerId="ADAL" clId="{2E30AC29-01AD-49FF-A187-E210449B43FC}" dt="2020-06-24T11:36:16.471" v="3985"/>
        <pc:sldMkLst>
          <pc:docMk/>
          <pc:sldMk cId="927207882" sldId="461"/>
        </pc:sldMkLst>
      </pc:sldChg>
      <pc:sldChg chg="addSp delSp modSp add ord">
        <pc:chgData name="Daniele, L.M. (Laura)" userId="fd7970a2-7a0c-4b70-8263-dcc64c0076cf" providerId="ADAL" clId="{2E30AC29-01AD-49FF-A187-E210449B43FC}" dt="2020-06-24T12:31:07.589" v="4676" actId="20577"/>
        <pc:sldMkLst>
          <pc:docMk/>
          <pc:sldMk cId="3065316987" sldId="462"/>
        </pc:sldMkLst>
        <pc:spChg chg="add del">
          <ac:chgData name="Daniele, L.M. (Laura)" userId="fd7970a2-7a0c-4b70-8263-dcc64c0076cf" providerId="ADAL" clId="{2E30AC29-01AD-49FF-A187-E210449B43FC}" dt="2020-06-24T11:53:26.710" v="4256"/>
          <ac:spMkLst>
            <pc:docMk/>
            <pc:sldMk cId="3065316987" sldId="462"/>
            <ac:spMk id="3" creationId="{801B034F-4702-4D1B-AF85-E899F83E5698}"/>
          </ac:spMkLst>
        </pc:spChg>
        <pc:spChg chg="add del mod">
          <ac:chgData name="Daniele, L.M. (Laura)" userId="fd7970a2-7a0c-4b70-8263-dcc64c0076cf" providerId="ADAL" clId="{2E30AC29-01AD-49FF-A187-E210449B43FC}" dt="2020-06-24T12:31:07.589" v="4676" actId="20577"/>
          <ac:spMkLst>
            <pc:docMk/>
            <pc:sldMk cId="3065316987" sldId="462"/>
            <ac:spMk id="10" creationId="{17841236-10E2-45DF-9E2B-95A5A7ACB959}"/>
          </ac:spMkLst>
        </pc:spChg>
        <pc:picChg chg="mod">
          <ac:chgData name="Daniele, L.M. (Laura)" userId="fd7970a2-7a0c-4b70-8263-dcc64c0076cf" providerId="ADAL" clId="{2E30AC29-01AD-49FF-A187-E210449B43FC}" dt="2020-06-24T12:04:14.394" v="4313" actId="1035"/>
          <ac:picMkLst>
            <pc:docMk/>
            <pc:sldMk cId="3065316987" sldId="462"/>
            <ac:picMk id="5" creationId="{9B4B853A-5631-41E0-A77D-D46ED992FBC8}"/>
          </ac:picMkLst>
        </pc:picChg>
      </pc:sldChg>
      <pc:sldChg chg="add del">
        <pc:chgData name="Daniele, L.M. (Laura)" userId="fd7970a2-7a0c-4b70-8263-dcc64c0076cf" providerId="ADAL" clId="{2E30AC29-01AD-49FF-A187-E210449B43FC}" dt="2020-06-24T11:35:09.015" v="3981" actId="2696"/>
        <pc:sldMkLst>
          <pc:docMk/>
          <pc:sldMk cId="418773137" sldId="463"/>
        </pc:sldMkLst>
      </pc:sldChg>
      <pc:sldChg chg="addSp delSp modSp add ord">
        <pc:chgData name="Daniele, L.M. (Laura)" userId="fd7970a2-7a0c-4b70-8263-dcc64c0076cf" providerId="ADAL" clId="{2E30AC29-01AD-49FF-A187-E210449B43FC}" dt="2020-06-24T12:28:31.295" v="4637"/>
        <pc:sldMkLst>
          <pc:docMk/>
          <pc:sldMk cId="2773459883" sldId="463"/>
        </pc:sldMkLst>
        <pc:spChg chg="del">
          <ac:chgData name="Daniele, L.M. (Laura)" userId="fd7970a2-7a0c-4b70-8263-dcc64c0076cf" providerId="ADAL" clId="{2E30AC29-01AD-49FF-A187-E210449B43FC}" dt="2020-06-24T11:52:22.634" v="4249" actId="478"/>
          <ac:spMkLst>
            <pc:docMk/>
            <pc:sldMk cId="2773459883" sldId="463"/>
            <ac:spMk id="6" creationId="{00000000-0000-0000-0000-000000000000}"/>
          </ac:spMkLst>
        </pc:spChg>
        <pc:spChg chg="add del">
          <ac:chgData name="Daniele, L.M. (Laura)" userId="fd7970a2-7a0c-4b70-8263-dcc64c0076cf" providerId="ADAL" clId="{2E30AC29-01AD-49FF-A187-E210449B43FC}" dt="2020-06-24T11:52:20.401" v="4248"/>
          <ac:spMkLst>
            <pc:docMk/>
            <pc:sldMk cId="2773459883" sldId="463"/>
            <ac:spMk id="92" creationId="{343D517C-A69E-4DF9-8E59-2B73016E810B}"/>
          </ac:spMkLst>
        </pc:spChg>
        <pc:spChg chg="add mod">
          <ac:chgData name="Daniele, L.M. (Laura)" userId="fd7970a2-7a0c-4b70-8263-dcc64c0076cf" providerId="ADAL" clId="{2E30AC29-01AD-49FF-A187-E210449B43FC}" dt="2020-06-24T12:28:31.295" v="4637"/>
          <ac:spMkLst>
            <pc:docMk/>
            <pc:sldMk cId="2773459883" sldId="463"/>
            <ac:spMk id="100" creationId="{193E6510-C820-4A7E-AF83-70A020490A9A}"/>
          </ac:spMkLst>
        </pc:spChg>
        <pc:picChg chg="del">
          <ac:chgData name="Daniele, L.M. (Laura)" userId="fd7970a2-7a0c-4b70-8263-dcc64c0076cf" providerId="ADAL" clId="{2E30AC29-01AD-49FF-A187-E210449B43FC}" dt="2020-06-24T11:46:40.691" v="4119" actId="478"/>
          <ac:picMkLst>
            <pc:docMk/>
            <pc:sldMk cId="2773459883" sldId="463"/>
            <ac:picMk id="85" creationId="{DB29DEA1-60D3-4CAB-AE85-E8979008548D}"/>
          </ac:picMkLst>
        </pc:picChg>
        <pc:picChg chg="add">
          <ac:chgData name="Daniele, L.M. (Laura)" userId="fd7970a2-7a0c-4b70-8263-dcc64c0076cf" providerId="ADAL" clId="{2E30AC29-01AD-49FF-A187-E210449B43FC}" dt="2020-06-24T11:46:47.662" v="4120"/>
          <ac:picMkLst>
            <pc:docMk/>
            <pc:sldMk cId="2773459883" sldId="463"/>
            <ac:picMk id="86" creationId="{2ADC46DF-50B1-49C1-BD85-CB9144598D2E}"/>
          </ac:picMkLst>
        </pc:picChg>
        <pc:picChg chg="add">
          <ac:chgData name="Daniele, L.M. (Laura)" userId="fd7970a2-7a0c-4b70-8263-dcc64c0076cf" providerId="ADAL" clId="{2E30AC29-01AD-49FF-A187-E210449B43FC}" dt="2020-06-24T11:46:47.662" v="4120"/>
          <ac:picMkLst>
            <pc:docMk/>
            <pc:sldMk cId="2773459883" sldId="463"/>
            <ac:picMk id="89" creationId="{9BD21332-F5C1-4BBF-9D87-659CD4F1849E}"/>
          </ac:picMkLst>
        </pc:picChg>
      </pc:sldChg>
    </pc:docChg>
  </pc:docChgLst>
  <pc:docChgLst>
    <pc:chgData name="Daniele, L.M. (Laura)" userId="fd7970a2-7a0c-4b70-8263-dcc64c0076cf" providerId="ADAL" clId="{05A1DA8D-63B9-4B1C-AA10-E7BD2B032652}"/>
    <pc:docChg chg="undo redo custSel mod addSld delSld modSld sldOrd">
      <pc:chgData name="Daniele, L.M. (Laura)" userId="fd7970a2-7a0c-4b70-8263-dcc64c0076cf" providerId="ADAL" clId="{05A1DA8D-63B9-4B1C-AA10-E7BD2B032652}" dt="2020-06-17T16:46:44.292" v="10070" actId="20577"/>
      <pc:docMkLst>
        <pc:docMk/>
      </pc:docMkLst>
      <pc:sldChg chg="del">
        <pc:chgData name="Daniele, L.M. (Laura)" userId="fd7970a2-7a0c-4b70-8263-dcc64c0076cf" providerId="ADAL" clId="{05A1DA8D-63B9-4B1C-AA10-E7BD2B032652}" dt="2020-06-17T11:48:43.089" v="7205" actId="2696"/>
        <pc:sldMkLst>
          <pc:docMk/>
          <pc:sldMk cId="3541085435" sldId="267"/>
        </pc:sldMkLst>
        <pc:spChg chg="add mod">
          <ac:chgData name="Daniele, L.M. (Laura)" userId="fd7970a2-7a0c-4b70-8263-dcc64c0076cf" providerId="ADAL" clId="{05A1DA8D-63B9-4B1C-AA10-E7BD2B032652}" dt="2020-06-17T13:08:58.244" v="8009" actId="1076"/>
          <ac:spMkLst>
            <pc:docMk/>
            <pc:sldMk cId="3541085435" sldId="267"/>
            <ac:spMk id="2" creationId="{B03FF19E-2329-4806-9F16-C1E04AA04A35}"/>
          </ac:spMkLst>
        </pc:spChg>
        <pc:spChg chg="add mod">
          <ac:chgData name="Daniele, L.M. (Laura)" userId="fd7970a2-7a0c-4b70-8263-dcc64c0076cf" providerId="ADAL" clId="{05A1DA8D-63B9-4B1C-AA10-E7BD2B032652}" dt="2020-06-17T13:12:06.173" v="8044" actId="20577"/>
          <ac:spMkLst>
            <pc:docMk/>
            <pc:sldMk cId="3541085435" sldId="267"/>
            <ac:spMk id="3" creationId="{DE1D38D6-337C-432D-84B7-AB65C334667A}"/>
          </ac:spMkLst>
        </pc:spChg>
        <pc:spChg chg="add mod">
          <ac:chgData name="Daniele, L.M. (Laura)" userId="fd7970a2-7a0c-4b70-8263-dcc64c0076cf" providerId="ADAL" clId="{05A1DA8D-63B9-4B1C-AA10-E7BD2B032652}" dt="2020-06-17T13:09:23.844" v="8026" actId="1076"/>
          <ac:spMkLst>
            <pc:docMk/>
            <pc:sldMk cId="3541085435" sldId="267"/>
            <ac:spMk id="6" creationId="{B41BA542-9BB3-4EB6-81FD-FECF08E1183B}"/>
          </ac:spMkLst>
        </pc:spChg>
        <pc:spChg chg="add del mod">
          <ac:chgData name="Daniele, L.M. (Laura)" userId="fd7970a2-7a0c-4b70-8263-dcc64c0076cf" providerId="ADAL" clId="{05A1DA8D-63B9-4B1C-AA10-E7BD2B032652}" dt="2020-06-17T13:10:42.331" v="8039" actId="1038"/>
          <ac:spMkLst>
            <pc:docMk/>
            <pc:sldMk cId="3541085435" sldId="267"/>
            <ac:spMk id="7" creationId="{57AD7543-6E18-40C2-BB8D-0F5F52ACBECB}"/>
          </ac:spMkLst>
        </pc:spChg>
        <pc:picChg chg="mod">
          <ac:chgData name="Daniele, L.M. (Laura)" userId="fd7970a2-7a0c-4b70-8263-dcc64c0076cf" providerId="ADAL" clId="{05A1DA8D-63B9-4B1C-AA10-E7BD2B032652}" dt="2020-06-17T13:08:16.420" v="7995" actId="1076"/>
          <ac:picMkLst>
            <pc:docMk/>
            <pc:sldMk cId="3541085435" sldId="267"/>
            <ac:picMk id="5" creationId="{00000000-0000-0000-0000-000000000000}"/>
          </ac:picMkLst>
        </pc:picChg>
      </pc:sldChg>
      <pc:sldChg chg="add del">
        <pc:chgData name="Daniele, L.M. (Laura)" userId="fd7970a2-7a0c-4b70-8263-dcc64c0076cf" providerId="ADAL" clId="{05A1DA8D-63B9-4B1C-AA10-E7BD2B032652}" dt="2020-06-17T08:54:16.156" v="4083" actId="2696"/>
        <pc:sldMkLst>
          <pc:docMk/>
          <pc:sldMk cId="1234440041" sldId="292"/>
        </pc:sldMkLst>
      </pc:sldChg>
      <pc:sldChg chg="del">
        <pc:chgData name="Daniele, L.M. (Laura)" userId="fd7970a2-7a0c-4b70-8263-dcc64c0076cf" providerId="ADAL" clId="{05A1DA8D-63B9-4B1C-AA10-E7BD2B032652}" dt="2020-06-12T12:36:46.933" v="2040" actId="2696"/>
        <pc:sldMkLst>
          <pc:docMk/>
          <pc:sldMk cId="1293511958" sldId="292"/>
        </pc:sldMkLst>
      </pc:sldChg>
      <pc:sldChg chg="del">
        <pc:chgData name="Daniele, L.M. (Laura)" userId="fd7970a2-7a0c-4b70-8263-dcc64c0076cf" providerId="ADAL" clId="{05A1DA8D-63B9-4B1C-AA10-E7BD2B032652}" dt="2020-06-12T12:36:43.520" v="2039" actId="2696"/>
        <pc:sldMkLst>
          <pc:docMk/>
          <pc:sldMk cId="1915675995" sldId="293"/>
        </pc:sldMkLst>
      </pc:sldChg>
      <pc:sldChg chg="addSp modSp del">
        <pc:chgData name="Daniele, L.M. (Laura)" userId="fd7970a2-7a0c-4b70-8263-dcc64c0076cf" providerId="ADAL" clId="{05A1DA8D-63B9-4B1C-AA10-E7BD2B032652}" dt="2020-06-12T12:49:39.636" v="2286" actId="2696"/>
        <pc:sldMkLst>
          <pc:docMk/>
          <pc:sldMk cId="389251154" sldId="294"/>
        </pc:sldMkLst>
        <pc:spChg chg="mod">
          <ac:chgData name="Daniele, L.M. (Laura)" userId="fd7970a2-7a0c-4b70-8263-dcc64c0076cf" providerId="ADAL" clId="{05A1DA8D-63B9-4B1C-AA10-E7BD2B032652}" dt="2020-06-12T12:47:29.699" v="2269" actId="20577"/>
          <ac:spMkLst>
            <pc:docMk/>
            <pc:sldMk cId="389251154" sldId="294"/>
            <ac:spMk id="5" creationId="{00000000-0000-0000-0000-000000000000}"/>
          </ac:spMkLst>
        </pc:spChg>
        <pc:spChg chg="mod">
          <ac:chgData name="Daniele, L.M. (Laura)" userId="fd7970a2-7a0c-4b70-8263-dcc64c0076cf" providerId="ADAL" clId="{05A1DA8D-63B9-4B1C-AA10-E7BD2B032652}" dt="2020-06-12T12:49:03.554" v="2277" actId="20577"/>
          <ac:spMkLst>
            <pc:docMk/>
            <pc:sldMk cId="389251154" sldId="294"/>
            <ac:spMk id="6" creationId="{00000000-0000-0000-0000-000000000000}"/>
          </ac:spMkLst>
        </pc:spChg>
        <pc:picChg chg="add mod">
          <ac:chgData name="Daniele, L.M. (Laura)" userId="fd7970a2-7a0c-4b70-8263-dcc64c0076cf" providerId="ADAL" clId="{05A1DA8D-63B9-4B1C-AA10-E7BD2B032652}" dt="2020-06-12T12:46:42.794" v="2212" actId="1076"/>
          <ac:picMkLst>
            <pc:docMk/>
            <pc:sldMk cId="389251154" sldId="294"/>
            <ac:picMk id="1026" creationId="{A4A117B1-757D-40B3-A289-00B6156C0CEF}"/>
          </ac:picMkLst>
        </pc:picChg>
      </pc:sldChg>
      <pc:sldChg chg="addSp add del">
        <pc:chgData name="Daniele, L.M. (Laura)" userId="fd7970a2-7a0c-4b70-8263-dcc64c0076cf" providerId="ADAL" clId="{05A1DA8D-63B9-4B1C-AA10-E7BD2B032652}" dt="2020-06-17T08:54:15.818" v="4081" actId="2696"/>
        <pc:sldMkLst>
          <pc:docMk/>
          <pc:sldMk cId="1780983301" sldId="295"/>
        </pc:sldMkLst>
        <pc:picChg chg="add">
          <ac:chgData name="Daniele, L.M. (Laura)" userId="fd7970a2-7a0c-4b70-8263-dcc64c0076cf" providerId="ADAL" clId="{05A1DA8D-63B9-4B1C-AA10-E7BD2B032652}" dt="2020-06-12T09:06:12.015" v="191"/>
          <ac:picMkLst>
            <pc:docMk/>
            <pc:sldMk cId="1780983301" sldId="295"/>
            <ac:picMk id="7" creationId="{55F0630C-1AB6-4679-AC05-E97488F9F2FC}"/>
          </ac:picMkLst>
        </pc:picChg>
      </pc:sldChg>
      <pc:sldChg chg="add del">
        <pc:chgData name="Daniele, L.M. (Laura)" userId="fd7970a2-7a0c-4b70-8263-dcc64c0076cf" providerId="ADAL" clId="{05A1DA8D-63B9-4B1C-AA10-E7BD2B032652}" dt="2020-06-17T08:54:15.991" v="4082" actId="2696"/>
        <pc:sldMkLst>
          <pc:docMk/>
          <pc:sldMk cId="286592161" sldId="296"/>
        </pc:sldMkLst>
      </pc:sldChg>
      <pc:sldChg chg="add del">
        <pc:chgData name="Daniele, L.M. (Laura)" userId="fd7970a2-7a0c-4b70-8263-dcc64c0076cf" providerId="ADAL" clId="{05A1DA8D-63B9-4B1C-AA10-E7BD2B032652}" dt="2020-06-17T08:54:16.496" v="4085" actId="2696"/>
        <pc:sldMkLst>
          <pc:docMk/>
          <pc:sldMk cId="2055378483" sldId="297"/>
        </pc:sldMkLst>
      </pc:sldChg>
      <pc:sldChg chg="add del">
        <pc:chgData name="Daniele, L.M. (Laura)" userId="fd7970a2-7a0c-4b70-8263-dcc64c0076cf" providerId="ADAL" clId="{05A1DA8D-63B9-4B1C-AA10-E7BD2B032652}" dt="2020-06-17T08:54:16.675" v="4086" actId="2696"/>
        <pc:sldMkLst>
          <pc:docMk/>
          <pc:sldMk cId="968249734" sldId="298"/>
        </pc:sldMkLst>
      </pc:sldChg>
      <pc:sldChg chg="add del">
        <pc:chgData name="Daniele, L.M. (Laura)" userId="fd7970a2-7a0c-4b70-8263-dcc64c0076cf" providerId="ADAL" clId="{05A1DA8D-63B9-4B1C-AA10-E7BD2B032652}" dt="2020-06-17T08:54:16.851" v="4087" actId="2696"/>
        <pc:sldMkLst>
          <pc:docMk/>
          <pc:sldMk cId="817265850" sldId="299"/>
        </pc:sldMkLst>
      </pc:sldChg>
      <pc:sldChg chg="add del">
        <pc:chgData name="Daniele, L.M. (Laura)" userId="fd7970a2-7a0c-4b70-8263-dcc64c0076cf" providerId="ADAL" clId="{05A1DA8D-63B9-4B1C-AA10-E7BD2B032652}" dt="2020-06-17T08:54:17.024" v="4088" actId="2696"/>
        <pc:sldMkLst>
          <pc:docMk/>
          <pc:sldMk cId="502392376" sldId="300"/>
        </pc:sldMkLst>
      </pc:sldChg>
      <pc:sldChg chg="add del">
        <pc:chgData name="Daniele, L.M. (Laura)" userId="fd7970a2-7a0c-4b70-8263-dcc64c0076cf" providerId="ADAL" clId="{05A1DA8D-63B9-4B1C-AA10-E7BD2B032652}" dt="2020-06-17T08:54:17.253" v="4089" actId="2696"/>
        <pc:sldMkLst>
          <pc:docMk/>
          <pc:sldMk cId="1973601717" sldId="301"/>
        </pc:sldMkLst>
      </pc:sldChg>
      <pc:sldChg chg="ord">
        <pc:chgData name="Daniele, L.M. (Laura)" userId="fd7970a2-7a0c-4b70-8263-dcc64c0076cf" providerId="ADAL" clId="{05A1DA8D-63B9-4B1C-AA10-E7BD2B032652}" dt="2020-06-17T13:03:08.969" v="7922"/>
        <pc:sldMkLst>
          <pc:docMk/>
          <pc:sldMk cId="1137597545" sldId="302"/>
        </pc:sldMkLst>
      </pc:sldChg>
      <pc:sldChg chg="delSp modSp">
        <pc:chgData name="Daniele, L.M. (Laura)" userId="fd7970a2-7a0c-4b70-8263-dcc64c0076cf" providerId="ADAL" clId="{05A1DA8D-63B9-4B1C-AA10-E7BD2B032652}" dt="2020-06-12T08:52:28.577" v="118" actId="20577"/>
        <pc:sldMkLst>
          <pc:docMk/>
          <pc:sldMk cId="1171484704" sldId="303"/>
        </pc:sldMkLst>
        <pc:spChg chg="mod">
          <ac:chgData name="Daniele, L.M. (Laura)" userId="fd7970a2-7a0c-4b70-8263-dcc64c0076cf" providerId="ADAL" clId="{05A1DA8D-63B9-4B1C-AA10-E7BD2B032652}" dt="2020-06-12T08:52:28.577" v="118" actId="20577"/>
          <ac:spMkLst>
            <pc:docMk/>
            <pc:sldMk cId="1171484704" sldId="303"/>
            <ac:spMk id="2" creationId="{00000000-0000-0000-0000-000000000000}"/>
          </ac:spMkLst>
        </pc:spChg>
        <pc:spChg chg="mod">
          <ac:chgData name="Daniele, L.M. (Laura)" userId="fd7970a2-7a0c-4b70-8263-dcc64c0076cf" providerId="ADAL" clId="{05A1DA8D-63B9-4B1C-AA10-E7BD2B032652}" dt="2020-06-11T11:28:08.926" v="100" actId="14100"/>
          <ac:spMkLst>
            <pc:docMk/>
            <pc:sldMk cId="1171484704" sldId="303"/>
            <ac:spMk id="3" creationId="{00000000-0000-0000-0000-000000000000}"/>
          </ac:spMkLst>
        </pc:spChg>
        <pc:spChg chg="mod">
          <ac:chgData name="Daniele, L.M. (Laura)" userId="fd7970a2-7a0c-4b70-8263-dcc64c0076cf" providerId="ADAL" clId="{05A1DA8D-63B9-4B1C-AA10-E7BD2B032652}" dt="2020-06-11T11:24:57.801" v="17" actId="20577"/>
          <ac:spMkLst>
            <pc:docMk/>
            <pc:sldMk cId="1171484704" sldId="303"/>
            <ac:spMk id="4" creationId="{00000000-0000-0000-0000-000000000000}"/>
          </ac:spMkLst>
        </pc:spChg>
        <pc:spChg chg="del">
          <ac:chgData name="Daniele, L.M. (Laura)" userId="fd7970a2-7a0c-4b70-8263-dcc64c0076cf" providerId="ADAL" clId="{05A1DA8D-63B9-4B1C-AA10-E7BD2B032652}" dt="2020-06-11T11:27:43.445" v="89" actId="478"/>
          <ac:spMkLst>
            <pc:docMk/>
            <pc:sldMk cId="1171484704" sldId="303"/>
            <ac:spMk id="5" creationId="{00000000-0000-0000-0000-000000000000}"/>
          </ac:spMkLst>
        </pc:spChg>
      </pc:sldChg>
      <pc:sldChg chg="add del">
        <pc:chgData name="Daniele, L.M. (Laura)" userId="fd7970a2-7a0c-4b70-8263-dcc64c0076cf" providerId="ADAL" clId="{05A1DA8D-63B9-4B1C-AA10-E7BD2B032652}" dt="2020-06-17T08:54:17.571" v="4091" actId="2696"/>
        <pc:sldMkLst>
          <pc:docMk/>
          <pc:sldMk cId="1779411319" sldId="304"/>
        </pc:sldMkLst>
      </pc:sldChg>
      <pc:sldChg chg="add del">
        <pc:chgData name="Daniele, L.M. (Laura)" userId="fd7970a2-7a0c-4b70-8263-dcc64c0076cf" providerId="ADAL" clId="{05A1DA8D-63B9-4B1C-AA10-E7BD2B032652}" dt="2020-06-17T08:54:17.391" v="4090" actId="2696"/>
        <pc:sldMkLst>
          <pc:docMk/>
          <pc:sldMk cId="481500932" sldId="305"/>
        </pc:sldMkLst>
      </pc:sldChg>
      <pc:sldChg chg="del">
        <pc:chgData name="Daniele, L.M. (Laura)" userId="fd7970a2-7a0c-4b70-8263-dcc64c0076cf" providerId="ADAL" clId="{05A1DA8D-63B9-4B1C-AA10-E7BD2B032652}" dt="2020-06-17T13:02:15.621" v="7900" actId="2696"/>
        <pc:sldMkLst>
          <pc:docMk/>
          <pc:sldMk cId="2907129873" sldId="306"/>
        </pc:sldMkLst>
      </pc:sldChg>
      <pc:sldChg chg="add del">
        <pc:chgData name="Daniele, L.M. (Laura)" userId="fd7970a2-7a0c-4b70-8263-dcc64c0076cf" providerId="ADAL" clId="{05A1DA8D-63B9-4B1C-AA10-E7BD2B032652}" dt="2020-06-17T08:54:16.343" v="4084" actId="2696"/>
        <pc:sldMkLst>
          <pc:docMk/>
          <pc:sldMk cId="786701254" sldId="307"/>
        </pc:sldMkLst>
      </pc:sldChg>
      <pc:sldChg chg="addSp delSp modSp add del">
        <pc:chgData name="Daniele, L.M. (Laura)" userId="fd7970a2-7a0c-4b70-8263-dcc64c0076cf" providerId="ADAL" clId="{05A1DA8D-63B9-4B1C-AA10-E7BD2B032652}" dt="2020-06-12T09:06:05.829" v="190" actId="2696"/>
        <pc:sldMkLst>
          <pc:docMk/>
          <pc:sldMk cId="232902747" sldId="308"/>
        </pc:sldMkLst>
        <pc:spChg chg="add del mod">
          <ac:chgData name="Daniele, L.M. (Laura)" userId="fd7970a2-7a0c-4b70-8263-dcc64c0076cf" providerId="ADAL" clId="{05A1DA8D-63B9-4B1C-AA10-E7BD2B032652}" dt="2020-06-12T09:05:56.381" v="187" actId="478"/>
          <ac:spMkLst>
            <pc:docMk/>
            <pc:sldMk cId="232902747" sldId="308"/>
            <ac:spMk id="4" creationId="{3E19161E-830D-4902-87E4-14C5D1D2BB41}"/>
          </ac:spMkLst>
        </pc:spChg>
        <pc:spChg chg="mod">
          <ac:chgData name="Daniele, L.M. (Laura)" userId="fd7970a2-7a0c-4b70-8263-dcc64c0076cf" providerId="ADAL" clId="{05A1DA8D-63B9-4B1C-AA10-E7BD2B032652}" dt="2020-06-12T09:05:32.310" v="172" actId="20577"/>
          <ac:spMkLst>
            <pc:docMk/>
            <pc:sldMk cId="232902747" sldId="308"/>
            <ac:spMk id="5" creationId="{00000000-0000-0000-0000-000000000000}"/>
          </ac:spMkLst>
        </pc:spChg>
        <pc:spChg chg="del mod">
          <ac:chgData name="Daniele, L.M. (Laura)" userId="fd7970a2-7a0c-4b70-8263-dcc64c0076cf" providerId="ADAL" clId="{05A1DA8D-63B9-4B1C-AA10-E7BD2B032652}" dt="2020-06-12T09:05:53.681" v="186" actId="478"/>
          <ac:spMkLst>
            <pc:docMk/>
            <pc:sldMk cId="232902747" sldId="308"/>
            <ac:spMk id="6" creationId="{00000000-0000-0000-0000-000000000000}"/>
          </ac:spMkLst>
        </pc:spChg>
        <pc:spChg chg="add del">
          <ac:chgData name="Daniele, L.M. (Laura)" userId="fd7970a2-7a0c-4b70-8263-dcc64c0076cf" providerId="ADAL" clId="{05A1DA8D-63B9-4B1C-AA10-E7BD2B032652}" dt="2020-06-12T09:06:01.745" v="189" actId="478"/>
          <ac:spMkLst>
            <pc:docMk/>
            <pc:sldMk cId="232902747" sldId="308"/>
            <ac:spMk id="8" creationId="{911B553E-3663-4EE8-AC5C-B447BDEA59EA}"/>
          </ac:spMkLst>
        </pc:spChg>
      </pc:sldChg>
      <pc:sldChg chg="add del">
        <pc:chgData name="Daniele, L.M. (Laura)" userId="fd7970a2-7a0c-4b70-8263-dcc64c0076cf" providerId="ADAL" clId="{05A1DA8D-63B9-4B1C-AA10-E7BD2B032652}" dt="2020-06-12T12:58:27.732" v="2399" actId="2696"/>
        <pc:sldMkLst>
          <pc:docMk/>
          <pc:sldMk cId="812599066" sldId="308"/>
        </pc:sldMkLst>
      </pc:sldChg>
      <pc:sldChg chg="modSp add del ord">
        <pc:chgData name="Daniele, L.M. (Laura)" userId="fd7970a2-7a0c-4b70-8263-dcc64c0076cf" providerId="ADAL" clId="{05A1DA8D-63B9-4B1C-AA10-E7BD2B032652}" dt="2020-06-12T12:50:48.238" v="2315" actId="2696"/>
        <pc:sldMkLst>
          <pc:docMk/>
          <pc:sldMk cId="2906223133" sldId="308"/>
        </pc:sldMkLst>
        <pc:spChg chg="mod">
          <ac:chgData name="Daniele, L.M. (Laura)" userId="fd7970a2-7a0c-4b70-8263-dcc64c0076cf" providerId="ADAL" clId="{05A1DA8D-63B9-4B1C-AA10-E7BD2B032652}" dt="2020-06-12T12:37:03.038" v="2041" actId="20577"/>
          <ac:spMkLst>
            <pc:docMk/>
            <pc:sldMk cId="2906223133" sldId="308"/>
            <ac:spMk id="6" creationId="{00000000-0000-0000-0000-000000000000}"/>
          </ac:spMkLst>
        </pc:spChg>
      </pc:sldChg>
      <pc:sldChg chg="addSp delSp modSp add">
        <pc:chgData name="Daniele, L.M. (Laura)" userId="fd7970a2-7a0c-4b70-8263-dcc64c0076cf" providerId="ADAL" clId="{05A1DA8D-63B9-4B1C-AA10-E7BD2B032652}" dt="2020-06-17T13:33:50.928" v="8334" actId="20577"/>
        <pc:sldMkLst>
          <pc:docMk/>
          <pc:sldMk cId="3193627321" sldId="308"/>
        </pc:sldMkLst>
        <pc:spChg chg="mod">
          <ac:chgData name="Daniele, L.M. (Laura)" userId="fd7970a2-7a0c-4b70-8263-dcc64c0076cf" providerId="ADAL" clId="{05A1DA8D-63B9-4B1C-AA10-E7BD2B032652}" dt="2020-06-17T13:33:50.928" v="8334" actId="20577"/>
          <ac:spMkLst>
            <pc:docMk/>
            <pc:sldMk cId="3193627321" sldId="308"/>
            <ac:spMk id="5" creationId="{00000000-0000-0000-0000-000000000000}"/>
          </ac:spMkLst>
        </pc:spChg>
        <pc:spChg chg="mod">
          <ac:chgData name="Daniele, L.M. (Laura)" userId="fd7970a2-7a0c-4b70-8263-dcc64c0076cf" providerId="ADAL" clId="{05A1DA8D-63B9-4B1C-AA10-E7BD2B032652}" dt="2020-06-12T13:26:40.458" v="3092" actId="20577"/>
          <ac:spMkLst>
            <pc:docMk/>
            <pc:sldMk cId="3193627321" sldId="308"/>
            <ac:spMk id="6" creationId="{00000000-0000-0000-0000-000000000000}"/>
          </ac:spMkLst>
        </pc:spChg>
        <pc:spChg chg="add mod">
          <ac:chgData name="Daniele, L.M. (Laura)" userId="fd7970a2-7a0c-4b70-8263-dcc64c0076cf" providerId="ADAL" clId="{05A1DA8D-63B9-4B1C-AA10-E7BD2B032652}" dt="2020-06-12T13:13:30.603" v="2799" actId="164"/>
          <ac:spMkLst>
            <pc:docMk/>
            <pc:sldMk cId="3193627321" sldId="308"/>
            <ac:spMk id="10" creationId="{0621538F-0F2C-4997-9A2E-F168C7707F1C}"/>
          </ac:spMkLst>
        </pc:spChg>
        <pc:spChg chg="add mod">
          <ac:chgData name="Daniele, L.M. (Laura)" userId="fd7970a2-7a0c-4b70-8263-dcc64c0076cf" providerId="ADAL" clId="{05A1DA8D-63B9-4B1C-AA10-E7BD2B032652}" dt="2020-06-12T13:13:30.603" v="2799" actId="164"/>
          <ac:spMkLst>
            <pc:docMk/>
            <pc:sldMk cId="3193627321" sldId="308"/>
            <ac:spMk id="11" creationId="{C3818AA3-725A-46B0-B2D0-3E335EAA050C}"/>
          </ac:spMkLst>
        </pc:spChg>
        <pc:spChg chg="add mod">
          <ac:chgData name="Daniele, L.M. (Laura)" userId="fd7970a2-7a0c-4b70-8263-dcc64c0076cf" providerId="ADAL" clId="{05A1DA8D-63B9-4B1C-AA10-E7BD2B032652}" dt="2020-06-12T13:15:29.813" v="2816" actId="1038"/>
          <ac:spMkLst>
            <pc:docMk/>
            <pc:sldMk cId="3193627321" sldId="308"/>
            <ac:spMk id="12" creationId="{58BF2AEC-5A2E-4D24-A583-CAC83F9DECCB}"/>
          </ac:spMkLst>
        </pc:spChg>
        <pc:spChg chg="add mod">
          <ac:chgData name="Daniele, L.M. (Laura)" userId="fd7970a2-7a0c-4b70-8263-dcc64c0076cf" providerId="ADAL" clId="{05A1DA8D-63B9-4B1C-AA10-E7BD2B032652}" dt="2020-06-12T13:16:09.728" v="2820" actId="164"/>
          <ac:spMkLst>
            <pc:docMk/>
            <pc:sldMk cId="3193627321" sldId="308"/>
            <ac:spMk id="14" creationId="{0D2661D8-87D2-4A51-9934-EBFB0DE48D7D}"/>
          </ac:spMkLst>
        </pc:spChg>
        <pc:spChg chg="add mod">
          <ac:chgData name="Daniele, L.M. (Laura)" userId="fd7970a2-7a0c-4b70-8263-dcc64c0076cf" providerId="ADAL" clId="{05A1DA8D-63B9-4B1C-AA10-E7BD2B032652}" dt="2020-06-12T13:28:35.396" v="3127" actId="164"/>
          <ac:spMkLst>
            <pc:docMk/>
            <pc:sldMk cId="3193627321" sldId="308"/>
            <ac:spMk id="16" creationId="{0310D0A5-95E9-4B32-884E-6059EE1F3F0E}"/>
          </ac:spMkLst>
        </pc:spChg>
        <pc:spChg chg="add mod">
          <ac:chgData name="Daniele, L.M. (Laura)" userId="fd7970a2-7a0c-4b70-8263-dcc64c0076cf" providerId="ADAL" clId="{05A1DA8D-63B9-4B1C-AA10-E7BD2B032652}" dt="2020-06-12T13:26:34.704" v="3088" actId="767"/>
          <ac:spMkLst>
            <pc:docMk/>
            <pc:sldMk cId="3193627321" sldId="308"/>
            <ac:spMk id="17" creationId="{710CF08E-BA87-4222-A1DF-CE2D9F1849BC}"/>
          </ac:spMkLst>
        </pc:spChg>
        <pc:spChg chg="add mod">
          <ac:chgData name="Daniele, L.M. (Laura)" userId="fd7970a2-7a0c-4b70-8263-dcc64c0076cf" providerId="ADAL" clId="{05A1DA8D-63B9-4B1C-AA10-E7BD2B032652}" dt="2020-06-12T13:28:35.396" v="3127" actId="164"/>
          <ac:spMkLst>
            <pc:docMk/>
            <pc:sldMk cId="3193627321" sldId="308"/>
            <ac:spMk id="18" creationId="{B5ABAAF7-68D9-464D-84CA-263BFABEBC30}"/>
          </ac:spMkLst>
        </pc:spChg>
        <pc:grpChg chg="add mod">
          <ac:chgData name="Daniele, L.M. (Laura)" userId="fd7970a2-7a0c-4b70-8263-dcc64c0076cf" providerId="ADAL" clId="{05A1DA8D-63B9-4B1C-AA10-E7BD2B032652}" dt="2020-06-12T13:16:09.728" v="2820" actId="164"/>
          <ac:grpSpMkLst>
            <pc:docMk/>
            <pc:sldMk cId="3193627321" sldId="308"/>
            <ac:grpSpMk id="13" creationId="{D9C77F48-2FBF-48FB-97C9-F64A6D73B5BB}"/>
          </ac:grpSpMkLst>
        </pc:grpChg>
        <pc:grpChg chg="add mod">
          <ac:chgData name="Daniele, L.M. (Laura)" userId="fd7970a2-7a0c-4b70-8263-dcc64c0076cf" providerId="ADAL" clId="{05A1DA8D-63B9-4B1C-AA10-E7BD2B032652}" dt="2020-06-12T13:28:35.396" v="3127" actId="164"/>
          <ac:grpSpMkLst>
            <pc:docMk/>
            <pc:sldMk cId="3193627321" sldId="308"/>
            <ac:grpSpMk id="15" creationId="{604A00A5-84AA-4FE7-8A21-E7AD3EAA985A}"/>
          </ac:grpSpMkLst>
        </pc:grpChg>
        <pc:grpChg chg="add mod">
          <ac:chgData name="Daniele, L.M. (Laura)" userId="fd7970a2-7a0c-4b70-8263-dcc64c0076cf" providerId="ADAL" clId="{05A1DA8D-63B9-4B1C-AA10-E7BD2B032652}" dt="2020-06-12T13:28:35.396" v="3127" actId="164"/>
          <ac:grpSpMkLst>
            <pc:docMk/>
            <pc:sldMk cId="3193627321" sldId="308"/>
            <ac:grpSpMk id="19" creationId="{9037DDE5-3AD3-4D2C-BC77-C23D7AD3C898}"/>
          </ac:grpSpMkLst>
        </pc:grpChg>
        <pc:picChg chg="add mod">
          <ac:chgData name="Daniele, L.M. (Laura)" userId="fd7970a2-7a0c-4b70-8263-dcc64c0076cf" providerId="ADAL" clId="{05A1DA8D-63B9-4B1C-AA10-E7BD2B032652}" dt="2020-06-12T13:13:30.603" v="2799" actId="164"/>
          <ac:picMkLst>
            <pc:docMk/>
            <pc:sldMk cId="3193627321" sldId="308"/>
            <ac:picMk id="4" creationId="{EE81DED8-42E5-482C-84F4-7C2C1797A2EC}"/>
          </ac:picMkLst>
        </pc:picChg>
        <pc:picChg chg="mod">
          <ac:chgData name="Daniele, L.M. (Laura)" userId="fd7970a2-7a0c-4b70-8263-dcc64c0076cf" providerId="ADAL" clId="{05A1DA8D-63B9-4B1C-AA10-E7BD2B032652}" dt="2020-06-12T14:30:13.610" v="3625" actId="1076"/>
          <ac:picMkLst>
            <pc:docMk/>
            <pc:sldMk cId="3193627321" sldId="308"/>
            <ac:picMk id="7" creationId="{55F0630C-1AB6-4679-AC05-E97488F9F2FC}"/>
          </ac:picMkLst>
        </pc:picChg>
        <pc:picChg chg="add del mod">
          <ac:chgData name="Daniele, L.M. (Laura)" userId="fd7970a2-7a0c-4b70-8263-dcc64c0076cf" providerId="ADAL" clId="{05A1DA8D-63B9-4B1C-AA10-E7BD2B032652}" dt="2020-06-12T13:09:04.520" v="2724" actId="478"/>
          <ac:picMkLst>
            <pc:docMk/>
            <pc:sldMk cId="3193627321" sldId="308"/>
            <ac:picMk id="9" creationId="{F086B7E1-041E-4FAC-A2F0-B236DE02089C}"/>
          </ac:picMkLst>
        </pc:picChg>
      </pc:sldChg>
      <pc:sldChg chg="addSp delSp modSp add del ord">
        <pc:chgData name="Daniele, L.M. (Laura)" userId="fd7970a2-7a0c-4b70-8263-dcc64c0076cf" providerId="ADAL" clId="{05A1DA8D-63B9-4B1C-AA10-E7BD2B032652}" dt="2020-06-12T09:35:49.140" v="578" actId="2696"/>
        <pc:sldMkLst>
          <pc:docMk/>
          <pc:sldMk cId="2765747149" sldId="309"/>
        </pc:sldMkLst>
        <pc:spChg chg="mod">
          <ac:chgData name="Daniele, L.M. (Laura)" userId="fd7970a2-7a0c-4b70-8263-dcc64c0076cf" providerId="ADAL" clId="{05A1DA8D-63B9-4B1C-AA10-E7BD2B032652}" dt="2020-06-12T09:08:32.170" v="336" actId="20577"/>
          <ac:spMkLst>
            <pc:docMk/>
            <pc:sldMk cId="2765747149" sldId="309"/>
            <ac:spMk id="5" creationId="{00000000-0000-0000-0000-000000000000}"/>
          </ac:spMkLst>
        </pc:spChg>
        <pc:spChg chg="mod">
          <ac:chgData name="Daniele, L.M. (Laura)" userId="fd7970a2-7a0c-4b70-8263-dcc64c0076cf" providerId="ADAL" clId="{05A1DA8D-63B9-4B1C-AA10-E7BD2B032652}" dt="2020-06-12T09:25:47.032" v="461" actId="20577"/>
          <ac:spMkLst>
            <pc:docMk/>
            <pc:sldMk cId="2765747149" sldId="309"/>
            <ac:spMk id="6" creationId="{00000000-0000-0000-0000-000000000000}"/>
          </ac:spMkLst>
        </pc:spChg>
        <pc:picChg chg="add del">
          <ac:chgData name="Daniele, L.M. (Laura)" userId="fd7970a2-7a0c-4b70-8263-dcc64c0076cf" providerId="ADAL" clId="{05A1DA8D-63B9-4B1C-AA10-E7BD2B032652}" dt="2020-06-12T09:17:38.083" v="410" actId="478"/>
          <ac:picMkLst>
            <pc:docMk/>
            <pc:sldMk cId="2765747149" sldId="309"/>
            <ac:picMk id="7" creationId="{8048D228-2359-41BB-9279-35164C767F20}"/>
          </ac:picMkLst>
        </pc:picChg>
      </pc:sldChg>
      <pc:sldChg chg="add">
        <pc:chgData name="Daniele, L.M. (Laura)" userId="fd7970a2-7a0c-4b70-8263-dcc64c0076cf" providerId="ADAL" clId="{05A1DA8D-63B9-4B1C-AA10-E7BD2B032652}" dt="2020-06-12T12:36:27.663" v="2038"/>
        <pc:sldMkLst>
          <pc:docMk/>
          <pc:sldMk cId="1160296208" sldId="334"/>
        </pc:sldMkLst>
      </pc:sldChg>
      <pc:sldChg chg="add">
        <pc:chgData name="Daniele, L.M. (Laura)" userId="fd7970a2-7a0c-4b70-8263-dcc64c0076cf" providerId="ADAL" clId="{05A1DA8D-63B9-4B1C-AA10-E7BD2B032652}" dt="2020-06-12T12:27:57.048" v="1973"/>
        <pc:sldMkLst>
          <pc:docMk/>
          <pc:sldMk cId="2406351988" sldId="335"/>
        </pc:sldMkLst>
      </pc:sldChg>
      <pc:sldChg chg="add del">
        <pc:chgData name="Daniele, L.M. (Laura)" userId="fd7970a2-7a0c-4b70-8263-dcc64c0076cf" providerId="ADAL" clId="{05A1DA8D-63B9-4B1C-AA10-E7BD2B032652}" dt="2020-06-12T16:01:14.681" v="3812"/>
        <pc:sldMkLst>
          <pc:docMk/>
          <pc:sldMk cId="2954171188" sldId="336"/>
        </pc:sldMkLst>
      </pc:sldChg>
      <pc:sldChg chg="addSp modSp add">
        <pc:chgData name="Daniele, L.M. (Laura)" userId="fd7970a2-7a0c-4b70-8263-dcc64c0076cf" providerId="ADAL" clId="{05A1DA8D-63B9-4B1C-AA10-E7BD2B032652}" dt="2020-06-17T13:04:39.963" v="7931" actId="1076"/>
        <pc:sldMkLst>
          <pc:docMk/>
          <pc:sldMk cId="3754676377" sldId="339"/>
        </pc:sldMkLst>
        <pc:picChg chg="add">
          <ac:chgData name="Daniele, L.M. (Laura)" userId="fd7970a2-7a0c-4b70-8263-dcc64c0076cf" providerId="ADAL" clId="{05A1DA8D-63B9-4B1C-AA10-E7BD2B032652}" dt="2020-06-17T13:04:33.893" v="7930"/>
          <ac:picMkLst>
            <pc:docMk/>
            <pc:sldMk cId="3754676377" sldId="339"/>
            <ac:picMk id="6" creationId="{CEBDD8F9-7ED6-4ED0-A353-581215AC85DC}"/>
          </ac:picMkLst>
        </pc:picChg>
        <pc:picChg chg="mod">
          <ac:chgData name="Daniele, L.M. (Laura)" userId="fd7970a2-7a0c-4b70-8263-dcc64c0076cf" providerId="ADAL" clId="{05A1DA8D-63B9-4B1C-AA10-E7BD2B032652}" dt="2020-06-17T13:04:39.963" v="7931" actId="1076"/>
          <ac:picMkLst>
            <pc:docMk/>
            <pc:sldMk cId="3754676377" sldId="339"/>
            <ac:picMk id="7" creationId="{B17F5ACB-3D19-47F0-B407-8AD0AFE6E3FC}"/>
          </ac:picMkLst>
        </pc:picChg>
      </pc:sldChg>
      <pc:sldChg chg="addSp modSp add">
        <pc:chgData name="Daniele, L.M. (Laura)" userId="fd7970a2-7a0c-4b70-8263-dcc64c0076cf" providerId="ADAL" clId="{05A1DA8D-63B9-4B1C-AA10-E7BD2B032652}" dt="2020-06-17T13:04:22.472" v="7928" actId="1076"/>
        <pc:sldMkLst>
          <pc:docMk/>
          <pc:sldMk cId="730599042" sldId="353"/>
        </pc:sldMkLst>
        <pc:spChg chg="mod">
          <ac:chgData name="Daniele, L.M. (Laura)" userId="fd7970a2-7a0c-4b70-8263-dcc64c0076cf" providerId="ADAL" clId="{05A1DA8D-63B9-4B1C-AA10-E7BD2B032652}" dt="2020-06-17T13:04:22.472" v="7928" actId="1076"/>
          <ac:spMkLst>
            <pc:docMk/>
            <pc:sldMk cId="730599042" sldId="353"/>
            <ac:spMk id="6" creationId="{B58422E5-460E-490E-AA81-155CBAD39170}"/>
          </ac:spMkLst>
        </pc:spChg>
        <pc:picChg chg="add">
          <ac:chgData name="Daniele, L.M. (Laura)" userId="fd7970a2-7a0c-4b70-8263-dcc64c0076cf" providerId="ADAL" clId="{05A1DA8D-63B9-4B1C-AA10-E7BD2B032652}" dt="2020-06-17T13:04:18.770" v="7927"/>
          <ac:picMkLst>
            <pc:docMk/>
            <pc:sldMk cId="730599042" sldId="353"/>
            <ac:picMk id="7" creationId="{89985E2F-232F-4ACC-AC25-8F330AF49F98}"/>
          </ac:picMkLst>
        </pc:picChg>
      </pc:sldChg>
      <pc:sldChg chg="addSp modSp add">
        <pc:chgData name="Daniele, L.M. (Laura)" userId="fd7970a2-7a0c-4b70-8263-dcc64c0076cf" providerId="ADAL" clId="{05A1DA8D-63B9-4B1C-AA10-E7BD2B032652}" dt="2020-06-17T13:04:52.468" v="7933" actId="1076"/>
        <pc:sldMkLst>
          <pc:docMk/>
          <pc:sldMk cId="2334441306" sldId="354"/>
        </pc:sldMkLst>
        <pc:spChg chg="mod">
          <ac:chgData name="Daniele, L.M. (Laura)" userId="fd7970a2-7a0c-4b70-8263-dcc64c0076cf" providerId="ADAL" clId="{05A1DA8D-63B9-4B1C-AA10-E7BD2B032652}" dt="2020-06-17T13:04:52.468" v="7933" actId="1076"/>
          <ac:spMkLst>
            <pc:docMk/>
            <pc:sldMk cId="2334441306" sldId="354"/>
            <ac:spMk id="6" creationId="{030F9544-5BB8-4D03-A4A7-10A67FF9A124}"/>
          </ac:spMkLst>
        </pc:spChg>
        <pc:picChg chg="add">
          <ac:chgData name="Daniele, L.M. (Laura)" userId="fd7970a2-7a0c-4b70-8263-dcc64c0076cf" providerId="ADAL" clId="{05A1DA8D-63B9-4B1C-AA10-E7BD2B032652}" dt="2020-06-17T13:04:49.414" v="7932"/>
          <ac:picMkLst>
            <pc:docMk/>
            <pc:sldMk cId="2334441306" sldId="354"/>
            <ac:picMk id="7" creationId="{13C3BEEF-58EB-4C54-809F-FEB46756F545}"/>
          </ac:picMkLst>
        </pc:picChg>
      </pc:sldChg>
      <pc:sldChg chg="add">
        <pc:chgData name="Daniele, L.M. (Laura)" userId="fd7970a2-7a0c-4b70-8263-dcc64c0076cf" providerId="ADAL" clId="{05A1DA8D-63B9-4B1C-AA10-E7BD2B032652}" dt="2020-06-12T12:27:57.048" v="1973"/>
        <pc:sldMkLst>
          <pc:docMk/>
          <pc:sldMk cId="2061997831" sldId="355"/>
        </pc:sldMkLst>
      </pc:sldChg>
      <pc:sldChg chg="add">
        <pc:chgData name="Daniele, L.M. (Laura)" userId="fd7970a2-7a0c-4b70-8263-dcc64c0076cf" providerId="ADAL" clId="{05A1DA8D-63B9-4B1C-AA10-E7BD2B032652}" dt="2020-06-12T12:27:57.048" v="1973"/>
        <pc:sldMkLst>
          <pc:docMk/>
          <pc:sldMk cId="3601009273" sldId="356"/>
        </pc:sldMkLst>
      </pc:sldChg>
      <pc:sldChg chg="add">
        <pc:chgData name="Daniele, L.M. (Laura)" userId="fd7970a2-7a0c-4b70-8263-dcc64c0076cf" providerId="ADAL" clId="{05A1DA8D-63B9-4B1C-AA10-E7BD2B032652}" dt="2020-06-12T12:27:57.048" v="1973"/>
        <pc:sldMkLst>
          <pc:docMk/>
          <pc:sldMk cId="1118053174" sldId="357"/>
        </pc:sldMkLst>
      </pc:sldChg>
      <pc:sldChg chg="add">
        <pc:chgData name="Daniele, L.M. (Laura)" userId="fd7970a2-7a0c-4b70-8263-dcc64c0076cf" providerId="ADAL" clId="{05A1DA8D-63B9-4B1C-AA10-E7BD2B032652}" dt="2020-06-12T12:27:57.048" v="1973"/>
        <pc:sldMkLst>
          <pc:docMk/>
          <pc:sldMk cId="934273704" sldId="358"/>
        </pc:sldMkLst>
      </pc:sldChg>
      <pc:sldChg chg="add">
        <pc:chgData name="Daniele, L.M. (Laura)" userId="fd7970a2-7a0c-4b70-8263-dcc64c0076cf" providerId="ADAL" clId="{05A1DA8D-63B9-4B1C-AA10-E7BD2B032652}" dt="2020-06-12T12:27:57.048" v="1973"/>
        <pc:sldMkLst>
          <pc:docMk/>
          <pc:sldMk cId="3686011078" sldId="359"/>
        </pc:sldMkLst>
      </pc:sldChg>
      <pc:sldChg chg="add">
        <pc:chgData name="Daniele, L.M. (Laura)" userId="fd7970a2-7a0c-4b70-8263-dcc64c0076cf" providerId="ADAL" clId="{05A1DA8D-63B9-4B1C-AA10-E7BD2B032652}" dt="2020-06-12T12:27:57.048" v="1973"/>
        <pc:sldMkLst>
          <pc:docMk/>
          <pc:sldMk cId="1953591420" sldId="360"/>
        </pc:sldMkLst>
      </pc:sldChg>
      <pc:sldChg chg="addSp modSp add del">
        <pc:chgData name="Daniele, L.M. (Laura)" userId="fd7970a2-7a0c-4b70-8263-dcc64c0076cf" providerId="ADAL" clId="{05A1DA8D-63B9-4B1C-AA10-E7BD2B032652}" dt="2020-06-17T13:05:46.098" v="7944" actId="1076"/>
        <pc:sldMkLst>
          <pc:docMk/>
          <pc:sldMk cId="3837350264" sldId="361"/>
        </pc:sldMkLst>
        <pc:spChg chg="mod">
          <ac:chgData name="Daniele, L.M. (Laura)" userId="fd7970a2-7a0c-4b70-8263-dcc64c0076cf" providerId="ADAL" clId="{05A1DA8D-63B9-4B1C-AA10-E7BD2B032652}" dt="2020-06-17T13:05:32.823" v="7942" actId="1076"/>
          <ac:spMkLst>
            <pc:docMk/>
            <pc:sldMk cId="3837350264" sldId="361"/>
            <ac:spMk id="8" creationId="{F5A3A2EA-5B46-4FF4-B2F0-5609A40B1FD7}"/>
          </ac:spMkLst>
        </pc:spChg>
        <pc:picChg chg="mod">
          <ac:chgData name="Daniele, L.M. (Laura)" userId="fd7970a2-7a0c-4b70-8263-dcc64c0076cf" providerId="ADAL" clId="{05A1DA8D-63B9-4B1C-AA10-E7BD2B032652}" dt="2020-06-17T13:05:46.098" v="7944" actId="1076"/>
          <ac:picMkLst>
            <pc:docMk/>
            <pc:sldMk cId="3837350264" sldId="361"/>
            <ac:picMk id="5" creationId="{9B4B853A-5631-41E0-A77D-D46ED992FBC8}"/>
          </ac:picMkLst>
        </pc:picChg>
        <pc:picChg chg="add ord">
          <ac:chgData name="Daniele, L.M. (Laura)" userId="fd7970a2-7a0c-4b70-8263-dcc64c0076cf" providerId="ADAL" clId="{05A1DA8D-63B9-4B1C-AA10-E7BD2B032652}" dt="2020-06-17T13:05:36.479" v="7943" actId="167"/>
          <ac:picMkLst>
            <pc:docMk/>
            <pc:sldMk cId="3837350264" sldId="361"/>
            <ac:picMk id="6" creationId="{F91B7C9B-A978-41E1-BAD5-780A0368E09D}"/>
          </ac:picMkLst>
        </pc:picChg>
      </pc:sldChg>
      <pc:sldChg chg="addSp modSp add del">
        <pc:chgData name="Daniele, L.M. (Laura)" userId="fd7970a2-7a0c-4b70-8263-dcc64c0076cf" providerId="ADAL" clId="{05A1DA8D-63B9-4B1C-AA10-E7BD2B032652}" dt="2020-06-17T13:05:55.360" v="7946" actId="1076"/>
        <pc:sldMkLst>
          <pc:docMk/>
          <pc:sldMk cId="281294950" sldId="362"/>
        </pc:sldMkLst>
        <pc:picChg chg="mod">
          <ac:chgData name="Daniele, L.M. (Laura)" userId="fd7970a2-7a0c-4b70-8263-dcc64c0076cf" providerId="ADAL" clId="{05A1DA8D-63B9-4B1C-AA10-E7BD2B032652}" dt="2020-06-17T13:05:55.360" v="7946" actId="1076"/>
          <ac:picMkLst>
            <pc:docMk/>
            <pc:sldMk cId="281294950" sldId="362"/>
            <ac:picMk id="6" creationId="{C42315FC-B8CA-409A-89CC-8D3ABA9CD01F}"/>
          </ac:picMkLst>
        </pc:picChg>
        <pc:picChg chg="add">
          <ac:chgData name="Daniele, L.M. (Laura)" userId="fd7970a2-7a0c-4b70-8263-dcc64c0076cf" providerId="ADAL" clId="{05A1DA8D-63B9-4B1C-AA10-E7BD2B032652}" dt="2020-06-17T13:05:52.694" v="7945"/>
          <ac:picMkLst>
            <pc:docMk/>
            <pc:sldMk cId="281294950" sldId="362"/>
            <ac:picMk id="8" creationId="{A0E83C2D-43C3-4FFB-A5E1-FB92C82F978B}"/>
          </ac:picMkLst>
        </pc:picChg>
      </pc:sldChg>
      <pc:sldChg chg="delSp modSp add del">
        <pc:chgData name="Daniele, L.M. (Laura)" userId="fd7970a2-7a0c-4b70-8263-dcc64c0076cf" providerId="ADAL" clId="{05A1DA8D-63B9-4B1C-AA10-E7BD2B032652}" dt="2020-06-12T11:25:18.633" v="1331" actId="2696"/>
        <pc:sldMkLst>
          <pc:docMk/>
          <pc:sldMk cId="3352523824" sldId="363"/>
        </pc:sldMkLst>
        <pc:spChg chg="mod">
          <ac:chgData name="Daniele, L.M. (Laura)" userId="fd7970a2-7a0c-4b70-8263-dcc64c0076cf" providerId="ADAL" clId="{05A1DA8D-63B9-4B1C-AA10-E7BD2B032652}" dt="2020-06-12T09:15:11.103" v="398"/>
          <ac:spMkLst>
            <pc:docMk/>
            <pc:sldMk cId="3352523824" sldId="363"/>
            <ac:spMk id="2" creationId="{9B71C370-D5AD-4285-B597-DF811FF69E0D}"/>
          </ac:spMkLst>
        </pc:spChg>
        <pc:spChg chg="mod">
          <ac:chgData name="Daniele, L.M. (Laura)" userId="fd7970a2-7a0c-4b70-8263-dcc64c0076cf" providerId="ADAL" clId="{05A1DA8D-63B9-4B1C-AA10-E7BD2B032652}" dt="2020-06-12T09:36:00.849" v="579" actId="20577"/>
          <ac:spMkLst>
            <pc:docMk/>
            <pc:sldMk cId="3352523824" sldId="363"/>
            <ac:spMk id="3" creationId="{923D42D1-1F34-40BB-9E8D-5C741129D4F8}"/>
          </ac:spMkLst>
        </pc:spChg>
        <pc:spChg chg="del">
          <ac:chgData name="Daniele, L.M. (Laura)" userId="fd7970a2-7a0c-4b70-8263-dcc64c0076cf" providerId="ADAL" clId="{05A1DA8D-63B9-4B1C-AA10-E7BD2B032652}" dt="2020-06-12T09:15:14.872" v="399" actId="478"/>
          <ac:spMkLst>
            <pc:docMk/>
            <pc:sldMk cId="3352523824" sldId="363"/>
            <ac:spMk id="5" creationId="{4F03DCA2-D4D2-4924-9990-895D56EA21CD}"/>
          </ac:spMkLst>
        </pc:spChg>
      </pc:sldChg>
      <pc:sldChg chg="addSp delSp modSp add">
        <pc:chgData name="Daniele, L.M. (Laura)" userId="fd7970a2-7a0c-4b70-8263-dcc64c0076cf" providerId="ADAL" clId="{05A1DA8D-63B9-4B1C-AA10-E7BD2B032652}" dt="2020-06-17T13:15:54.163" v="8111" actId="20577"/>
        <pc:sldMkLst>
          <pc:docMk/>
          <pc:sldMk cId="802480430" sldId="364"/>
        </pc:sldMkLst>
        <pc:spChg chg="mod">
          <ac:chgData name="Daniele, L.M. (Laura)" userId="fd7970a2-7a0c-4b70-8263-dcc64c0076cf" providerId="ADAL" clId="{05A1DA8D-63B9-4B1C-AA10-E7BD2B032652}" dt="2020-06-17T13:15:54.163" v="8111" actId="20577"/>
          <ac:spMkLst>
            <pc:docMk/>
            <pc:sldMk cId="802480430" sldId="364"/>
            <ac:spMk id="2" creationId="{9B71C370-D5AD-4285-B597-DF811FF69E0D}"/>
          </ac:spMkLst>
        </pc:spChg>
        <pc:spChg chg="del">
          <ac:chgData name="Daniele, L.M. (Laura)" userId="fd7970a2-7a0c-4b70-8263-dcc64c0076cf" providerId="ADAL" clId="{05A1DA8D-63B9-4B1C-AA10-E7BD2B032652}" dt="2020-06-12T09:16:35.392" v="407" actId="478"/>
          <ac:spMkLst>
            <pc:docMk/>
            <pc:sldMk cId="802480430" sldId="364"/>
            <ac:spMk id="3" creationId="{923D42D1-1F34-40BB-9E8D-5C741129D4F8}"/>
          </ac:spMkLst>
        </pc:spChg>
        <pc:spChg chg="add del mod">
          <ac:chgData name="Daniele, L.M. (Laura)" userId="fd7970a2-7a0c-4b70-8263-dcc64c0076cf" providerId="ADAL" clId="{05A1DA8D-63B9-4B1C-AA10-E7BD2B032652}" dt="2020-06-12T09:16:37.952" v="408" actId="478"/>
          <ac:spMkLst>
            <pc:docMk/>
            <pc:sldMk cId="802480430" sldId="364"/>
            <ac:spMk id="6" creationId="{8280EFFB-BDB0-484D-BD69-80C11B39A802}"/>
          </ac:spMkLst>
        </pc:spChg>
        <pc:spChg chg="add mod">
          <ac:chgData name="Daniele, L.M. (Laura)" userId="fd7970a2-7a0c-4b70-8263-dcc64c0076cf" providerId="ADAL" clId="{05A1DA8D-63B9-4B1C-AA10-E7BD2B032652}" dt="2020-06-12T12:54:53.986" v="2378" actId="20577"/>
          <ac:spMkLst>
            <pc:docMk/>
            <pc:sldMk cId="802480430" sldId="364"/>
            <ac:spMk id="7" creationId="{50BD104E-D604-481F-9F5B-AB0FC4650B1F}"/>
          </ac:spMkLst>
        </pc:spChg>
      </pc:sldChg>
      <pc:sldChg chg="addSp delSp modSp add mod modClrScheme chgLayout">
        <pc:chgData name="Daniele, L.M. (Laura)" userId="fd7970a2-7a0c-4b70-8263-dcc64c0076cf" providerId="ADAL" clId="{05A1DA8D-63B9-4B1C-AA10-E7BD2B032652}" dt="2020-06-17T12:43:11.280" v="7655" actId="478"/>
        <pc:sldMkLst>
          <pc:docMk/>
          <pc:sldMk cId="1422724938" sldId="365"/>
        </pc:sldMkLst>
        <pc:spChg chg="mod">
          <ac:chgData name="Daniele, L.M. (Laura)" userId="fd7970a2-7a0c-4b70-8263-dcc64c0076cf" providerId="ADAL" clId="{05A1DA8D-63B9-4B1C-AA10-E7BD2B032652}" dt="2020-06-12T09:44:07.204" v="997" actId="6549"/>
          <ac:spMkLst>
            <pc:docMk/>
            <pc:sldMk cId="1422724938" sldId="365"/>
            <ac:spMk id="2" creationId="{9B71C370-D5AD-4285-B597-DF811FF69E0D}"/>
          </ac:spMkLst>
        </pc:spChg>
        <pc:spChg chg="mod ord">
          <ac:chgData name="Daniele, L.M. (Laura)" userId="fd7970a2-7a0c-4b70-8263-dcc64c0076cf" providerId="ADAL" clId="{05A1DA8D-63B9-4B1C-AA10-E7BD2B032652}" dt="2020-06-12T09:18:56.020" v="414" actId="26606"/>
          <ac:spMkLst>
            <pc:docMk/>
            <pc:sldMk cId="1422724938" sldId="365"/>
            <ac:spMk id="4" creationId="{0BC0E82D-E994-409C-ADF9-120374BDE6FD}"/>
          </ac:spMkLst>
        </pc:spChg>
        <pc:spChg chg="add mod">
          <ac:chgData name="Daniele, L.M. (Laura)" userId="fd7970a2-7a0c-4b70-8263-dcc64c0076cf" providerId="ADAL" clId="{05A1DA8D-63B9-4B1C-AA10-E7BD2B032652}" dt="2020-06-12T09:24:58.266" v="455" actId="122"/>
          <ac:spMkLst>
            <pc:docMk/>
            <pc:sldMk cId="1422724938" sldId="365"/>
            <ac:spMk id="6" creationId="{770B1F2E-C82F-409D-8056-03F4377DA737}"/>
          </ac:spMkLst>
        </pc:spChg>
        <pc:spChg chg="add del mod">
          <ac:chgData name="Daniele, L.M. (Laura)" userId="fd7970a2-7a0c-4b70-8263-dcc64c0076cf" providerId="ADAL" clId="{05A1DA8D-63B9-4B1C-AA10-E7BD2B032652}" dt="2020-06-12T09:18:56.020" v="414" actId="26606"/>
          <ac:spMkLst>
            <pc:docMk/>
            <pc:sldMk cId="1422724938" sldId="365"/>
            <ac:spMk id="10" creationId="{785BCC92-5321-4B7D-99AF-4CBECC53AAB6}"/>
          </ac:spMkLst>
        </pc:spChg>
        <pc:spChg chg="add del mod">
          <ac:chgData name="Daniele, L.M. (Laura)" userId="fd7970a2-7a0c-4b70-8263-dcc64c0076cf" providerId="ADAL" clId="{05A1DA8D-63B9-4B1C-AA10-E7BD2B032652}" dt="2020-06-12T09:18:56.020" v="414" actId="26606"/>
          <ac:spMkLst>
            <pc:docMk/>
            <pc:sldMk cId="1422724938" sldId="365"/>
            <ac:spMk id="12" creationId="{746811A4-2FDA-4086-A7BF-2292C3F5D90D}"/>
          </ac:spMkLst>
        </pc:spChg>
        <pc:spChg chg="add mod">
          <ac:chgData name="Daniele, L.M. (Laura)" userId="fd7970a2-7a0c-4b70-8263-dcc64c0076cf" providerId="ADAL" clId="{05A1DA8D-63B9-4B1C-AA10-E7BD2B032652}" dt="2020-06-17T12:29:26.924" v="7505" actId="1076"/>
          <ac:spMkLst>
            <pc:docMk/>
            <pc:sldMk cId="1422724938" sldId="365"/>
            <ac:spMk id="13" creationId="{A0092BA1-734C-4F6D-86F9-99A4E71A9AC5}"/>
          </ac:spMkLst>
        </pc:spChg>
        <pc:picChg chg="add mod">
          <ac:chgData name="Daniele, L.M. (Laura)" userId="fd7970a2-7a0c-4b70-8263-dcc64c0076cf" providerId="ADAL" clId="{05A1DA8D-63B9-4B1C-AA10-E7BD2B032652}" dt="2020-06-12T09:25:08.134" v="459" actId="1076"/>
          <ac:picMkLst>
            <pc:docMk/>
            <pc:sldMk cId="1422724938" sldId="365"/>
            <ac:picMk id="5" creationId="{A2617F31-8467-4815-BFD1-E29230D27B9B}"/>
          </ac:picMkLst>
        </pc:picChg>
        <pc:picChg chg="add mod">
          <ac:chgData name="Daniele, L.M. (Laura)" userId="fd7970a2-7a0c-4b70-8263-dcc64c0076cf" providerId="ADAL" clId="{05A1DA8D-63B9-4B1C-AA10-E7BD2B032652}" dt="2020-06-17T12:43:10.305" v="7654" actId="1076"/>
          <ac:picMkLst>
            <pc:docMk/>
            <pc:sldMk cId="1422724938" sldId="365"/>
            <ac:picMk id="8" creationId="{DB29DEA1-60D3-4CAB-AE85-E8979008548D}"/>
          </ac:picMkLst>
        </pc:picChg>
        <pc:picChg chg="add del mod">
          <ac:chgData name="Daniele, L.M. (Laura)" userId="fd7970a2-7a0c-4b70-8263-dcc64c0076cf" providerId="ADAL" clId="{05A1DA8D-63B9-4B1C-AA10-E7BD2B032652}" dt="2020-06-17T12:43:11.280" v="7655" actId="478"/>
          <ac:picMkLst>
            <pc:docMk/>
            <pc:sldMk cId="1422724938" sldId="365"/>
            <ac:picMk id="9" creationId="{11A7B3A8-21BE-49B7-B51B-E3176A0CCC42}"/>
          </ac:picMkLst>
        </pc:picChg>
      </pc:sldChg>
      <pc:sldChg chg="addSp delSp modSp add">
        <pc:chgData name="Daniele, L.M. (Laura)" userId="fd7970a2-7a0c-4b70-8263-dcc64c0076cf" providerId="ADAL" clId="{05A1DA8D-63B9-4B1C-AA10-E7BD2B032652}" dt="2020-06-17T16:22:49.261" v="9501" actId="1076"/>
        <pc:sldMkLst>
          <pc:docMk/>
          <pc:sldMk cId="2415796511" sldId="366"/>
        </pc:sldMkLst>
        <pc:spChg chg="mod">
          <ac:chgData name="Daniele, L.M. (Laura)" userId="fd7970a2-7a0c-4b70-8263-dcc64c0076cf" providerId="ADAL" clId="{05A1DA8D-63B9-4B1C-AA10-E7BD2B032652}" dt="2020-06-17T16:22:49.261" v="9501" actId="1076"/>
          <ac:spMkLst>
            <pc:docMk/>
            <pc:sldMk cId="2415796511" sldId="366"/>
            <ac:spMk id="2" creationId="{9B71C370-D5AD-4285-B597-DF811FF69E0D}"/>
          </ac:spMkLst>
        </pc:spChg>
        <pc:spChg chg="add mod">
          <ac:chgData name="Daniele, L.M. (Laura)" userId="fd7970a2-7a0c-4b70-8263-dcc64c0076cf" providerId="ADAL" clId="{05A1DA8D-63B9-4B1C-AA10-E7BD2B032652}" dt="2020-06-17T15:15:23.542" v="9372" actId="1076"/>
          <ac:spMkLst>
            <pc:docMk/>
            <pc:sldMk cId="2415796511" sldId="366"/>
            <ac:spMk id="5" creationId="{8C1F54F4-ECC4-4575-B0EC-52431EBF99B6}"/>
          </ac:spMkLst>
        </pc:spChg>
        <pc:spChg chg="del">
          <ac:chgData name="Daniele, L.M. (Laura)" userId="fd7970a2-7a0c-4b70-8263-dcc64c0076cf" providerId="ADAL" clId="{05A1DA8D-63B9-4B1C-AA10-E7BD2B032652}" dt="2020-06-12T09:28:49.640" v="464" actId="478"/>
          <ac:spMkLst>
            <pc:docMk/>
            <pc:sldMk cId="2415796511" sldId="366"/>
            <ac:spMk id="6" creationId="{770B1F2E-C82F-409D-8056-03F4377DA737}"/>
          </ac:spMkLst>
        </pc:spChg>
        <pc:spChg chg="add mod">
          <ac:chgData name="Daniele, L.M. (Laura)" userId="fd7970a2-7a0c-4b70-8263-dcc64c0076cf" providerId="ADAL" clId="{05A1DA8D-63B9-4B1C-AA10-E7BD2B032652}" dt="2020-06-17T15:15:09.484" v="9367" actId="1076"/>
          <ac:spMkLst>
            <pc:docMk/>
            <pc:sldMk cId="2415796511" sldId="366"/>
            <ac:spMk id="10" creationId="{D5DD1B4E-D1C6-457B-8BEF-595BA13FB236}"/>
          </ac:spMkLst>
        </pc:spChg>
        <pc:spChg chg="del">
          <ac:chgData name="Daniele, L.M. (Laura)" userId="fd7970a2-7a0c-4b70-8263-dcc64c0076cf" providerId="ADAL" clId="{05A1DA8D-63B9-4B1C-AA10-E7BD2B032652}" dt="2020-06-12T09:29:52.449" v="474" actId="478"/>
          <ac:spMkLst>
            <pc:docMk/>
            <pc:sldMk cId="2415796511" sldId="366"/>
            <ac:spMk id="13" creationId="{A0092BA1-734C-4F6D-86F9-99A4E71A9AC5}"/>
          </ac:spMkLst>
        </pc:spChg>
        <pc:picChg chg="add mod">
          <ac:chgData name="Daniele, L.M. (Laura)" userId="fd7970a2-7a0c-4b70-8263-dcc64c0076cf" providerId="ADAL" clId="{05A1DA8D-63B9-4B1C-AA10-E7BD2B032652}" dt="2020-06-17T15:15:29.295" v="9373" actId="1076"/>
          <ac:picMkLst>
            <pc:docMk/>
            <pc:sldMk cId="2415796511" sldId="366"/>
            <ac:picMk id="3" creationId="{3A87C5E7-9DB5-451C-9E88-1483AE54B8C8}"/>
          </ac:picMkLst>
        </pc:picChg>
        <pc:picChg chg="del">
          <ac:chgData name="Daniele, L.M. (Laura)" userId="fd7970a2-7a0c-4b70-8263-dcc64c0076cf" providerId="ADAL" clId="{05A1DA8D-63B9-4B1C-AA10-E7BD2B032652}" dt="2020-06-12T09:28:46.583" v="463" actId="478"/>
          <ac:picMkLst>
            <pc:docMk/>
            <pc:sldMk cId="2415796511" sldId="366"/>
            <ac:picMk id="5" creationId="{A2617F31-8467-4815-BFD1-E29230D27B9B}"/>
          </ac:picMkLst>
        </pc:picChg>
        <pc:picChg chg="add mod">
          <ac:chgData name="Daniele, L.M. (Laura)" userId="fd7970a2-7a0c-4b70-8263-dcc64c0076cf" providerId="ADAL" clId="{05A1DA8D-63B9-4B1C-AA10-E7BD2B032652}" dt="2020-06-12T13:40:19.482" v="3189" actId="1076"/>
          <ac:picMkLst>
            <pc:docMk/>
            <pc:sldMk cId="2415796511" sldId="366"/>
            <ac:picMk id="7" creationId="{903E5D6E-D9D7-4860-A57A-F091F0085CA2}"/>
          </ac:picMkLst>
        </pc:picChg>
        <pc:picChg chg="mod">
          <ac:chgData name="Daniele, L.M. (Laura)" userId="fd7970a2-7a0c-4b70-8263-dcc64c0076cf" providerId="ADAL" clId="{05A1DA8D-63B9-4B1C-AA10-E7BD2B032652}" dt="2020-06-17T12:43:18.377" v="7657" actId="1076"/>
          <ac:picMkLst>
            <pc:docMk/>
            <pc:sldMk cId="2415796511" sldId="366"/>
            <ac:picMk id="8" creationId="{DB29DEA1-60D3-4CAB-AE85-E8979008548D}"/>
          </ac:picMkLst>
        </pc:picChg>
        <pc:picChg chg="del">
          <ac:chgData name="Daniele, L.M. (Laura)" userId="fd7970a2-7a0c-4b70-8263-dcc64c0076cf" providerId="ADAL" clId="{05A1DA8D-63B9-4B1C-AA10-E7BD2B032652}" dt="2020-06-17T12:43:15.400" v="7656" actId="478"/>
          <ac:picMkLst>
            <pc:docMk/>
            <pc:sldMk cId="2415796511" sldId="366"/>
            <ac:picMk id="9" creationId="{11A7B3A8-21BE-49B7-B51B-E3176A0CCC42}"/>
          </ac:picMkLst>
        </pc:picChg>
      </pc:sldChg>
      <pc:sldChg chg="addSp delSp modSp add">
        <pc:chgData name="Daniele, L.M. (Laura)" userId="fd7970a2-7a0c-4b70-8263-dcc64c0076cf" providerId="ADAL" clId="{05A1DA8D-63B9-4B1C-AA10-E7BD2B032652}" dt="2020-06-17T16:26:06.275" v="9575" actId="1076"/>
        <pc:sldMkLst>
          <pc:docMk/>
          <pc:sldMk cId="787657119" sldId="367"/>
        </pc:sldMkLst>
        <pc:spChg chg="mod">
          <ac:chgData name="Daniele, L.M. (Laura)" userId="fd7970a2-7a0c-4b70-8263-dcc64c0076cf" providerId="ADAL" clId="{05A1DA8D-63B9-4B1C-AA10-E7BD2B032652}" dt="2020-06-12T09:43:04.100" v="875" actId="20577"/>
          <ac:spMkLst>
            <pc:docMk/>
            <pc:sldMk cId="787657119" sldId="367"/>
            <ac:spMk id="2" creationId="{9B71C370-D5AD-4285-B597-DF811FF69E0D}"/>
          </ac:spMkLst>
        </pc:spChg>
        <pc:spChg chg="add mod">
          <ac:chgData name="Daniele, L.M. (Laura)" userId="fd7970a2-7a0c-4b70-8263-dcc64c0076cf" providerId="ADAL" clId="{05A1DA8D-63B9-4B1C-AA10-E7BD2B032652}" dt="2020-06-17T16:26:03.347" v="9574" actId="404"/>
          <ac:spMkLst>
            <pc:docMk/>
            <pc:sldMk cId="787657119" sldId="367"/>
            <ac:spMk id="3" creationId="{255782FB-3B8F-474B-8C3F-D7A33D0701FB}"/>
          </ac:spMkLst>
        </pc:spChg>
        <pc:spChg chg="mod">
          <ac:chgData name="Daniele, L.M. (Laura)" userId="fd7970a2-7a0c-4b70-8263-dcc64c0076cf" providerId="ADAL" clId="{05A1DA8D-63B9-4B1C-AA10-E7BD2B032652}" dt="2020-06-17T13:17:07.265" v="8117" actId="1076"/>
          <ac:spMkLst>
            <pc:docMk/>
            <pc:sldMk cId="787657119" sldId="367"/>
            <ac:spMk id="10" creationId="{D5DD1B4E-D1C6-457B-8BEF-595BA13FB236}"/>
          </ac:spMkLst>
        </pc:spChg>
        <pc:picChg chg="add mod ord">
          <ac:chgData name="Daniele, L.M. (Laura)" userId="fd7970a2-7a0c-4b70-8263-dcc64c0076cf" providerId="ADAL" clId="{05A1DA8D-63B9-4B1C-AA10-E7BD2B032652}" dt="2020-06-17T13:17:11.683" v="8119" actId="1076"/>
          <ac:picMkLst>
            <pc:docMk/>
            <pc:sldMk cId="787657119" sldId="367"/>
            <ac:picMk id="5" creationId="{A49A8564-E024-49D2-9ECA-0DB838BB7216}"/>
          </ac:picMkLst>
        </pc:picChg>
        <pc:picChg chg="del">
          <ac:chgData name="Daniele, L.M. (Laura)" userId="fd7970a2-7a0c-4b70-8263-dcc64c0076cf" providerId="ADAL" clId="{05A1DA8D-63B9-4B1C-AA10-E7BD2B032652}" dt="2020-06-12T09:34:11.177" v="562" actId="478"/>
          <ac:picMkLst>
            <pc:docMk/>
            <pc:sldMk cId="787657119" sldId="367"/>
            <ac:picMk id="7" creationId="{903E5D6E-D9D7-4860-A57A-F091F0085CA2}"/>
          </ac:picMkLst>
        </pc:picChg>
        <pc:picChg chg="mod">
          <ac:chgData name="Daniele, L.M. (Laura)" userId="fd7970a2-7a0c-4b70-8263-dcc64c0076cf" providerId="ADAL" clId="{05A1DA8D-63B9-4B1C-AA10-E7BD2B032652}" dt="2020-06-17T16:26:06.275" v="9575" actId="1076"/>
          <ac:picMkLst>
            <pc:docMk/>
            <pc:sldMk cId="787657119" sldId="367"/>
            <ac:picMk id="8" creationId="{DB29DEA1-60D3-4CAB-AE85-E8979008548D}"/>
          </ac:picMkLst>
        </pc:picChg>
        <pc:picChg chg="del">
          <ac:chgData name="Daniele, L.M. (Laura)" userId="fd7970a2-7a0c-4b70-8263-dcc64c0076cf" providerId="ADAL" clId="{05A1DA8D-63B9-4B1C-AA10-E7BD2B032652}" dt="2020-06-17T12:43:21.836" v="7658" actId="478"/>
          <ac:picMkLst>
            <pc:docMk/>
            <pc:sldMk cId="787657119" sldId="367"/>
            <ac:picMk id="9" creationId="{11A7B3A8-21BE-49B7-B51B-E3176A0CCC42}"/>
          </ac:picMkLst>
        </pc:picChg>
      </pc:sldChg>
      <pc:sldChg chg="addSp delSp modSp add ord">
        <pc:chgData name="Daniele, L.M. (Laura)" userId="fd7970a2-7a0c-4b70-8263-dcc64c0076cf" providerId="ADAL" clId="{05A1DA8D-63B9-4B1C-AA10-E7BD2B032652}" dt="2020-06-17T13:16:49.995" v="8116" actId="478"/>
        <pc:sldMkLst>
          <pc:docMk/>
          <pc:sldMk cId="2018758032" sldId="368"/>
        </pc:sldMkLst>
        <pc:spChg chg="mod">
          <ac:chgData name="Daniele, L.M. (Laura)" userId="fd7970a2-7a0c-4b70-8263-dcc64c0076cf" providerId="ADAL" clId="{05A1DA8D-63B9-4B1C-AA10-E7BD2B032652}" dt="2020-06-17T13:16:40.642" v="8115" actId="20577"/>
          <ac:spMkLst>
            <pc:docMk/>
            <pc:sldMk cId="2018758032" sldId="368"/>
            <ac:spMk id="2" creationId="{9B71C370-D5AD-4285-B597-DF811FF69E0D}"/>
          </ac:spMkLst>
        </pc:spChg>
        <pc:spChg chg="del">
          <ac:chgData name="Daniele, L.M. (Laura)" userId="fd7970a2-7a0c-4b70-8263-dcc64c0076cf" providerId="ADAL" clId="{05A1DA8D-63B9-4B1C-AA10-E7BD2B032652}" dt="2020-06-12T09:36:30.839" v="582" actId="478"/>
          <ac:spMkLst>
            <pc:docMk/>
            <pc:sldMk cId="2018758032" sldId="368"/>
            <ac:spMk id="10" creationId="{D5DD1B4E-D1C6-457B-8BEF-595BA13FB236}"/>
          </ac:spMkLst>
        </pc:spChg>
        <pc:spChg chg="add del mod">
          <ac:chgData name="Daniele, L.M. (Laura)" userId="fd7970a2-7a0c-4b70-8263-dcc64c0076cf" providerId="ADAL" clId="{05A1DA8D-63B9-4B1C-AA10-E7BD2B032652}" dt="2020-06-12T09:40:34.825" v="637" actId="1076"/>
          <ac:spMkLst>
            <pc:docMk/>
            <pc:sldMk cId="2018758032" sldId="368"/>
            <ac:spMk id="11" creationId="{8B931C60-B751-4D40-A679-4B6147277B01}"/>
          </ac:spMkLst>
        </pc:spChg>
        <pc:spChg chg="add del mod">
          <ac:chgData name="Daniele, L.M. (Laura)" userId="fd7970a2-7a0c-4b70-8263-dcc64c0076cf" providerId="ADAL" clId="{05A1DA8D-63B9-4B1C-AA10-E7BD2B032652}" dt="2020-06-17T13:16:49.995" v="8116" actId="478"/>
          <ac:spMkLst>
            <pc:docMk/>
            <pc:sldMk cId="2018758032" sldId="368"/>
            <ac:spMk id="12" creationId="{D7E94118-9C8D-4391-ADC3-D7AF815C231D}"/>
          </ac:spMkLst>
        </pc:spChg>
        <pc:picChg chg="del">
          <ac:chgData name="Daniele, L.M. (Laura)" userId="fd7970a2-7a0c-4b70-8263-dcc64c0076cf" providerId="ADAL" clId="{05A1DA8D-63B9-4B1C-AA10-E7BD2B032652}" dt="2020-06-12T09:36:28.254" v="581" actId="478"/>
          <ac:picMkLst>
            <pc:docMk/>
            <pc:sldMk cId="2018758032" sldId="368"/>
            <ac:picMk id="5" creationId="{A49A8564-E024-49D2-9ECA-0DB838BB7216}"/>
          </ac:picMkLst>
        </pc:picChg>
        <pc:picChg chg="add mod ord">
          <ac:chgData name="Daniele, L.M. (Laura)" userId="fd7970a2-7a0c-4b70-8263-dcc64c0076cf" providerId="ADAL" clId="{05A1DA8D-63B9-4B1C-AA10-E7BD2B032652}" dt="2020-06-12T09:40:14.371" v="631" actId="1076"/>
          <ac:picMkLst>
            <pc:docMk/>
            <pc:sldMk cId="2018758032" sldId="368"/>
            <ac:picMk id="6" creationId="{140D98CA-9BC1-42A8-B19E-FF1397A9237F}"/>
          </ac:picMkLst>
        </pc:picChg>
      </pc:sldChg>
      <pc:sldChg chg="addSp modSp add del">
        <pc:chgData name="Daniele, L.M. (Laura)" userId="fd7970a2-7a0c-4b70-8263-dcc64c0076cf" providerId="ADAL" clId="{05A1DA8D-63B9-4B1C-AA10-E7BD2B032652}" dt="2020-06-12T12:57:13.360" v="2393" actId="2696"/>
        <pc:sldMkLst>
          <pc:docMk/>
          <pc:sldMk cId="4235997955" sldId="369"/>
        </pc:sldMkLst>
        <pc:spChg chg="mod">
          <ac:chgData name="Daniele, L.M. (Laura)" userId="fd7970a2-7a0c-4b70-8263-dcc64c0076cf" providerId="ADAL" clId="{05A1DA8D-63B9-4B1C-AA10-E7BD2B032652}" dt="2020-06-12T12:56:39.330" v="2381"/>
          <ac:spMkLst>
            <pc:docMk/>
            <pc:sldMk cId="4235997955" sldId="369"/>
            <ac:spMk id="7" creationId="{50BD104E-D604-481F-9F5B-AB0FC4650B1F}"/>
          </ac:spMkLst>
        </pc:spChg>
        <pc:picChg chg="add">
          <ac:chgData name="Daniele, L.M. (Laura)" userId="fd7970a2-7a0c-4b70-8263-dcc64c0076cf" providerId="ADAL" clId="{05A1DA8D-63B9-4B1C-AA10-E7BD2B032652}" dt="2020-06-12T09:46:59.921" v="1079"/>
          <ac:picMkLst>
            <pc:docMk/>
            <pc:sldMk cId="4235997955" sldId="369"/>
            <ac:picMk id="5" creationId="{9A582598-E72E-4648-9755-5145908DB1A1}"/>
          </ac:picMkLst>
        </pc:picChg>
      </pc:sldChg>
      <pc:sldChg chg="addSp delSp modSp add">
        <pc:chgData name="Daniele, L.M. (Laura)" userId="fd7970a2-7a0c-4b70-8263-dcc64c0076cf" providerId="ADAL" clId="{05A1DA8D-63B9-4B1C-AA10-E7BD2B032652}" dt="2020-06-12T16:05:14.722" v="3894" actId="1076"/>
        <pc:sldMkLst>
          <pc:docMk/>
          <pc:sldMk cId="1689786166" sldId="370"/>
        </pc:sldMkLst>
        <pc:spChg chg="mod">
          <ac:chgData name="Daniele, L.M. (Laura)" userId="fd7970a2-7a0c-4b70-8263-dcc64c0076cf" providerId="ADAL" clId="{05A1DA8D-63B9-4B1C-AA10-E7BD2B032652}" dt="2020-06-12T09:47:20.035" v="1086" actId="20577"/>
          <ac:spMkLst>
            <pc:docMk/>
            <pc:sldMk cId="1689786166" sldId="370"/>
            <ac:spMk id="2" creationId="{9B71C370-D5AD-4285-B597-DF811FF69E0D}"/>
          </ac:spMkLst>
        </pc:spChg>
        <pc:spChg chg="del">
          <ac:chgData name="Daniele, L.M. (Laura)" userId="fd7970a2-7a0c-4b70-8263-dcc64c0076cf" providerId="ADAL" clId="{05A1DA8D-63B9-4B1C-AA10-E7BD2B032652}" dt="2020-06-12T09:47:26.943" v="1088" actId="478"/>
          <ac:spMkLst>
            <pc:docMk/>
            <pc:sldMk cId="1689786166" sldId="370"/>
            <ac:spMk id="6" creationId="{770B1F2E-C82F-409D-8056-03F4377DA737}"/>
          </ac:spMkLst>
        </pc:spChg>
        <pc:spChg chg="add del mod">
          <ac:chgData name="Daniele, L.M. (Laura)" userId="fd7970a2-7a0c-4b70-8263-dcc64c0076cf" providerId="ADAL" clId="{05A1DA8D-63B9-4B1C-AA10-E7BD2B032652}" dt="2020-06-12T13:10:32.503" v="2770" actId="478"/>
          <ac:spMkLst>
            <pc:docMk/>
            <pc:sldMk cId="1689786166" sldId="370"/>
            <ac:spMk id="11" creationId="{9A78A86E-6C3C-40DC-AB27-EA95BEFC2D44}"/>
          </ac:spMkLst>
        </pc:spChg>
        <pc:spChg chg="add mod">
          <ac:chgData name="Daniele, L.M. (Laura)" userId="fd7970a2-7a0c-4b70-8263-dcc64c0076cf" providerId="ADAL" clId="{05A1DA8D-63B9-4B1C-AA10-E7BD2B032652}" dt="2020-06-12T16:05:14.722" v="3894" actId="1076"/>
          <ac:spMkLst>
            <pc:docMk/>
            <pc:sldMk cId="1689786166" sldId="370"/>
            <ac:spMk id="12" creationId="{FA073468-6822-4926-ADFF-43EB81727B77}"/>
          </ac:spMkLst>
        </pc:spChg>
        <pc:spChg chg="del">
          <ac:chgData name="Daniele, L.M. (Laura)" userId="fd7970a2-7a0c-4b70-8263-dcc64c0076cf" providerId="ADAL" clId="{05A1DA8D-63B9-4B1C-AA10-E7BD2B032652}" dt="2020-06-12T09:47:32.635" v="1089"/>
          <ac:spMkLst>
            <pc:docMk/>
            <pc:sldMk cId="1689786166" sldId="370"/>
            <ac:spMk id="13" creationId="{A0092BA1-734C-4F6D-86F9-99A4E71A9AC5}"/>
          </ac:spMkLst>
        </pc:spChg>
        <pc:spChg chg="add del mod">
          <ac:chgData name="Daniele, L.M. (Laura)" userId="fd7970a2-7a0c-4b70-8263-dcc64c0076cf" providerId="ADAL" clId="{05A1DA8D-63B9-4B1C-AA10-E7BD2B032652}" dt="2020-06-12T13:10:36.534" v="2771" actId="478"/>
          <ac:spMkLst>
            <pc:docMk/>
            <pc:sldMk cId="1689786166" sldId="370"/>
            <ac:spMk id="14" creationId="{4B7286C6-2309-4869-B729-0E752BF87CDC}"/>
          </ac:spMkLst>
        </pc:spChg>
        <pc:spChg chg="add mod">
          <ac:chgData name="Daniele, L.M. (Laura)" userId="fd7970a2-7a0c-4b70-8263-dcc64c0076cf" providerId="ADAL" clId="{05A1DA8D-63B9-4B1C-AA10-E7BD2B032652}" dt="2020-06-12T16:05:06.308" v="3893" actId="122"/>
          <ac:spMkLst>
            <pc:docMk/>
            <pc:sldMk cId="1689786166" sldId="370"/>
            <ac:spMk id="15" creationId="{A845CBAA-B94C-4C02-BB0C-07E1D449B9F2}"/>
          </ac:spMkLst>
        </pc:spChg>
        <pc:picChg chg="del">
          <ac:chgData name="Daniele, L.M. (Laura)" userId="fd7970a2-7a0c-4b70-8263-dcc64c0076cf" providerId="ADAL" clId="{05A1DA8D-63B9-4B1C-AA10-E7BD2B032652}" dt="2020-06-12T09:47:23.736" v="1087" actId="478"/>
          <ac:picMkLst>
            <pc:docMk/>
            <pc:sldMk cId="1689786166" sldId="370"/>
            <ac:picMk id="5" creationId="{A2617F31-8467-4815-BFD1-E29230D27B9B}"/>
          </ac:picMkLst>
        </pc:picChg>
        <pc:picChg chg="add mod">
          <ac:chgData name="Daniele, L.M. (Laura)" userId="fd7970a2-7a0c-4b70-8263-dcc64c0076cf" providerId="ADAL" clId="{05A1DA8D-63B9-4B1C-AA10-E7BD2B032652}" dt="2020-06-12T11:18:58.199" v="1108" actId="1076"/>
          <ac:picMkLst>
            <pc:docMk/>
            <pc:sldMk cId="1689786166" sldId="370"/>
            <ac:picMk id="7" creationId="{4E8FA422-73A2-416C-A55C-A71CEEA573B3}"/>
          </ac:picMkLst>
        </pc:picChg>
      </pc:sldChg>
      <pc:sldChg chg="addSp delSp modSp add ord modNotesTx">
        <pc:chgData name="Daniele, L.M. (Laura)" userId="fd7970a2-7a0c-4b70-8263-dcc64c0076cf" providerId="ADAL" clId="{05A1DA8D-63B9-4B1C-AA10-E7BD2B032652}" dt="2020-06-12T13:32:30.829" v="3130"/>
        <pc:sldMkLst>
          <pc:docMk/>
          <pc:sldMk cId="3142690285" sldId="371"/>
        </pc:sldMkLst>
        <pc:spChg chg="mod">
          <ac:chgData name="Daniele, L.M. (Laura)" userId="fd7970a2-7a0c-4b70-8263-dcc64c0076cf" providerId="ADAL" clId="{05A1DA8D-63B9-4B1C-AA10-E7BD2B032652}" dt="2020-06-12T12:43:41.563" v="2208" actId="20577"/>
          <ac:spMkLst>
            <pc:docMk/>
            <pc:sldMk cId="3142690285" sldId="371"/>
            <ac:spMk id="2" creationId="{9B71C370-D5AD-4285-B597-DF811FF69E0D}"/>
          </ac:spMkLst>
        </pc:spChg>
        <pc:spChg chg="add del mod">
          <ac:chgData name="Daniele, L.M. (Laura)" userId="fd7970a2-7a0c-4b70-8263-dcc64c0076cf" providerId="ADAL" clId="{05A1DA8D-63B9-4B1C-AA10-E7BD2B032652}" dt="2020-06-12T11:34:12.210" v="1447" actId="478"/>
          <ac:spMkLst>
            <pc:docMk/>
            <pc:sldMk cId="3142690285" sldId="371"/>
            <ac:spMk id="6" creationId="{66766408-E2D4-48EA-9BCB-C54405A502EB}"/>
          </ac:spMkLst>
        </pc:spChg>
        <pc:spChg chg="del">
          <ac:chgData name="Daniele, L.M. (Laura)" userId="fd7970a2-7a0c-4b70-8263-dcc64c0076cf" providerId="ADAL" clId="{05A1DA8D-63B9-4B1C-AA10-E7BD2B032652}" dt="2020-06-12T11:34:07.796" v="1446" actId="478"/>
          <ac:spMkLst>
            <pc:docMk/>
            <pc:sldMk cId="3142690285" sldId="371"/>
            <ac:spMk id="7" creationId="{50BD104E-D604-481F-9F5B-AB0FC4650B1F}"/>
          </ac:spMkLst>
        </pc:spChg>
        <pc:spChg chg="add del">
          <ac:chgData name="Daniele, L.M. (Laura)" userId="fd7970a2-7a0c-4b70-8263-dcc64c0076cf" providerId="ADAL" clId="{05A1DA8D-63B9-4B1C-AA10-E7BD2B032652}" dt="2020-06-12T11:34:18.169" v="1449"/>
          <ac:spMkLst>
            <pc:docMk/>
            <pc:sldMk cId="3142690285" sldId="371"/>
            <ac:spMk id="10" creationId="{279B5BE0-1649-4F59-AFA9-12FEC0D89380}"/>
          </ac:spMkLst>
        </pc:spChg>
        <pc:spChg chg="add del">
          <ac:chgData name="Daniele, L.M. (Laura)" userId="fd7970a2-7a0c-4b70-8263-dcc64c0076cf" providerId="ADAL" clId="{05A1DA8D-63B9-4B1C-AA10-E7BD2B032652}" dt="2020-06-12T11:34:18.169" v="1449"/>
          <ac:spMkLst>
            <pc:docMk/>
            <pc:sldMk cId="3142690285" sldId="371"/>
            <ac:spMk id="15" creationId="{4A62FC6D-FC2C-4825-9653-5A0F3027EB85}"/>
          </ac:spMkLst>
        </pc:spChg>
        <pc:spChg chg="add del">
          <ac:chgData name="Daniele, L.M. (Laura)" userId="fd7970a2-7a0c-4b70-8263-dcc64c0076cf" providerId="ADAL" clId="{05A1DA8D-63B9-4B1C-AA10-E7BD2B032652}" dt="2020-06-12T11:34:18.169" v="1449"/>
          <ac:spMkLst>
            <pc:docMk/>
            <pc:sldMk cId="3142690285" sldId="371"/>
            <ac:spMk id="17" creationId="{1467B0CE-3D46-447D-AF65-F9A7A50B27C4}"/>
          </ac:spMkLst>
        </pc:spChg>
        <pc:spChg chg="add del">
          <ac:chgData name="Daniele, L.M. (Laura)" userId="fd7970a2-7a0c-4b70-8263-dcc64c0076cf" providerId="ADAL" clId="{05A1DA8D-63B9-4B1C-AA10-E7BD2B032652}" dt="2020-06-12T11:34:18.169" v="1449"/>
          <ac:spMkLst>
            <pc:docMk/>
            <pc:sldMk cId="3142690285" sldId="371"/>
            <ac:spMk id="18" creationId="{54E94DA8-842C-45A1-9A9C-0621BBC64B91}"/>
          </ac:spMkLst>
        </pc:spChg>
        <pc:spChg chg="add del">
          <ac:chgData name="Daniele, L.M. (Laura)" userId="fd7970a2-7a0c-4b70-8263-dcc64c0076cf" providerId="ADAL" clId="{05A1DA8D-63B9-4B1C-AA10-E7BD2B032652}" dt="2020-06-12T11:34:18.169" v="1449"/>
          <ac:spMkLst>
            <pc:docMk/>
            <pc:sldMk cId="3142690285" sldId="371"/>
            <ac:spMk id="19" creationId="{8DDE1325-84D9-4B09-A26C-58595FFE68B7}"/>
          </ac:spMkLst>
        </pc:spChg>
        <pc:spChg chg="add del">
          <ac:chgData name="Daniele, L.M. (Laura)" userId="fd7970a2-7a0c-4b70-8263-dcc64c0076cf" providerId="ADAL" clId="{05A1DA8D-63B9-4B1C-AA10-E7BD2B032652}" dt="2020-06-12T11:34:18.169" v="1449"/>
          <ac:spMkLst>
            <pc:docMk/>
            <pc:sldMk cId="3142690285" sldId="371"/>
            <ac:spMk id="21" creationId="{18E193D6-0090-46AF-927D-D05C19A6A562}"/>
          </ac:spMkLst>
        </pc:spChg>
        <pc:spChg chg="add del">
          <ac:chgData name="Daniele, L.M. (Laura)" userId="fd7970a2-7a0c-4b70-8263-dcc64c0076cf" providerId="ADAL" clId="{05A1DA8D-63B9-4B1C-AA10-E7BD2B032652}" dt="2020-06-12T11:34:18.169" v="1449"/>
          <ac:spMkLst>
            <pc:docMk/>
            <pc:sldMk cId="3142690285" sldId="371"/>
            <ac:spMk id="22" creationId="{10F4E51E-0CED-4D82-8040-17E9A59363C9}"/>
          </ac:spMkLst>
        </pc:spChg>
        <pc:spChg chg="add del">
          <ac:chgData name="Daniele, L.M. (Laura)" userId="fd7970a2-7a0c-4b70-8263-dcc64c0076cf" providerId="ADAL" clId="{05A1DA8D-63B9-4B1C-AA10-E7BD2B032652}" dt="2020-06-12T11:34:18.169" v="1449"/>
          <ac:spMkLst>
            <pc:docMk/>
            <pc:sldMk cId="3142690285" sldId="371"/>
            <ac:spMk id="23" creationId="{D25BB30E-B967-4029-ABD2-336BAE046AED}"/>
          </ac:spMkLst>
        </pc:spChg>
        <pc:spChg chg="add del">
          <ac:chgData name="Daniele, L.M. (Laura)" userId="fd7970a2-7a0c-4b70-8263-dcc64c0076cf" providerId="ADAL" clId="{05A1DA8D-63B9-4B1C-AA10-E7BD2B032652}" dt="2020-06-12T11:34:18.169" v="1449"/>
          <ac:spMkLst>
            <pc:docMk/>
            <pc:sldMk cId="3142690285" sldId="371"/>
            <ac:spMk id="25" creationId="{ED2EF9FA-19E7-4368-BDC1-39B18A086250}"/>
          </ac:spMkLst>
        </pc:spChg>
        <pc:spChg chg="add del">
          <ac:chgData name="Daniele, L.M. (Laura)" userId="fd7970a2-7a0c-4b70-8263-dcc64c0076cf" providerId="ADAL" clId="{05A1DA8D-63B9-4B1C-AA10-E7BD2B032652}" dt="2020-06-12T11:34:18.169" v="1449"/>
          <ac:spMkLst>
            <pc:docMk/>
            <pc:sldMk cId="3142690285" sldId="371"/>
            <ac:spMk id="26" creationId="{4CE38BFC-A017-4B5F-BFB9-89010714DBB6}"/>
          </ac:spMkLst>
        </pc:spChg>
        <pc:spChg chg="add del">
          <ac:chgData name="Daniele, L.M. (Laura)" userId="fd7970a2-7a0c-4b70-8263-dcc64c0076cf" providerId="ADAL" clId="{05A1DA8D-63B9-4B1C-AA10-E7BD2B032652}" dt="2020-06-12T11:34:18.169" v="1449"/>
          <ac:spMkLst>
            <pc:docMk/>
            <pc:sldMk cId="3142690285" sldId="371"/>
            <ac:spMk id="27" creationId="{4D43C2FA-E959-4B1A-A53A-729F0AD2D323}"/>
          </ac:spMkLst>
        </pc:spChg>
        <pc:spChg chg="add del">
          <ac:chgData name="Daniele, L.M. (Laura)" userId="fd7970a2-7a0c-4b70-8263-dcc64c0076cf" providerId="ADAL" clId="{05A1DA8D-63B9-4B1C-AA10-E7BD2B032652}" dt="2020-06-12T11:34:18.169" v="1449"/>
          <ac:spMkLst>
            <pc:docMk/>
            <pc:sldMk cId="3142690285" sldId="371"/>
            <ac:spMk id="29" creationId="{D317F61D-CDFC-48EF-895F-B0FDBF9D00AC}"/>
          </ac:spMkLst>
        </pc:spChg>
        <pc:spChg chg="add del">
          <ac:chgData name="Daniele, L.M. (Laura)" userId="fd7970a2-7a0c-4b70-8263-dcc64c0076cf" providerId="ADAL" clId="{05A1DA8D-63B9-4B1C-AA10-E7BD2B032652}" dt="2020-06-12T11:34:18.169" v="1449"/>
          <ac:spMkLst>
            <pc:docMk/>
            <pc:sldMk cId="3142690285" sldId="371"/>
            <ac:spMk id="30" creationId="{4ED5BF3E-6C09-4C79-A0CC-79D1ADA53B44}"/>
          </ac:spMkLst>
        </pc:spChg>
        <pc:spChg chg="add del">
          <ac:chgData name="Daniele, L.M. (Laura)" userId="fd7970a2-7a0c-4b70-8263-dcc64c0076cf" providerId="ADAL" clId="{05A1DA8D-63B9-4B1C-AA10-E7BD2B032652}" dt="2020-06-12T11:34:18.169" v="1449"/>
          <ac:spMkLst>
            <pc:docMk/>
            <pc:sldMk cId="3142690285" sldId="371"/>
            <ac:spMk id="31" creationId="{7359C957-6F8A-4FBA-A4AE-2A4B44AFCFA8}"/>
          </ac:spMkLst>
        </pc:spChg>
        <pc:spChg chg="add del">
          <ac:chgData name="Daniele, L.M. (Laura)" userId="fd7970a2-7a0c-4b70-8263-dcc64c0076cf" providerId="ADAL" clId="{05A1DA8D-63B9-4B1C-AA10-E7BD2B032652}" dt="2020-06-12T11:34:18.169" v="1449"/>
          <ac:spMkLst>
            <pc:docMk/>
            <pc:sldMk cId="3142690285" sldId="371"/>
            <ac:spMk id="33" creationId="{A9B5B15F-4C98-4B17-A0D9-D9F0C750FECA}"/>
          </ac:spMkLst>
        </pc:spChg>
        <pc:spChg chg="add del">
          <ac:chgData name="Daniele, L.M. (Laura)" userId="fd7970a2-7a0c-4b70-8263-dcc64c0076cf" providerId="ADAL" clId="{05A1DA8D-63B9-4B1C-AA10-E7BD2B032652}" dt="2020-06-12T11:34:18.169" v="1449"/>
          <ac:spMkLst>
            <pc:docMk/>
            <pc:sldMk cId="3142690285" sldId="371"/>
            <ac:spMk id="34" creationId="{ED8A6BA7-2B59-45D7-A8ED-3E83D5456B37}"/>
          </ac:spMkLst>
        </pc:spChg>
        <pc:spChg chg="add del">
          <ac:chgData name="Daniele, L.M. (Laura)" userId="fd7970a2-7a0c-4b70-8263-dcc64c0076cf" providerId="ADAL" clId="{05A1DA8D-63B9-4B1C-AA10-E7BD2B032652}" dt="2020-06-12T11:34:18.169" v="1449"/>
          <ac:spMkLst>
            <pc:docMk/>
            <pc:sldMk cId="3142690285" sldId="371"/>
            <ac:spMk id="36" creationId="{9510107B-775C-42E1-B4F7-59E140B65742}"/>
          </ac:spMkLst>
        </pc:spChg>
        <pc:spChg chg="add del">
          <ac:chgData name="Daniele, L.M. (Laura)" userId="fd7970a2-7a0c-4b70-8263-dcc64c0076cf" providerId="ADAL" clId="{05A1DA8D-63B9-4B1C-AA10-E7BD2B032652}" dt="2020-06-12T11:34:18.169" v="1449"/>
          <ac:spMkLst>
            <pc:docMk/>
            <pc:sldMk cId="3142690285" sldId="371"/>
            <ac:spMk id="37" creationId="{070C8F0B-48A6-4CC1-BB0F-F1BD18BACD22}"/>
          </ac:spMkLst>
        </pc:spChg>
        <pc:spChg chg="add del">
          <ac:chgData name="Daniele, L.M. (Laura)" userId="fd7970a2-7a0c-4b70-8263-dcc64c0076cf" providerId="ADAL" clId="{05A1DA8D-63B9-4B1C-AA10-E7BD2B032652}" dt="2020-06-12T11:34:18.169" v="1449"/>
          <ac:spMkLst>
            <pc:docMk/>
            <pc:sldMk cId="3142690285" sldId="371"/>
            <ac:spMk id="39" creationId="{BEC82451-A38D-4EA2-9265-DB1695F29042}"/>
          </ac:spMkLst>
        </pc:spChg>
        <pc:spChg chg="add del">
          <ac:chgData name="Daniele, L.M. (Laura)" userId="fd7970a2-7a0c-4b70-8263-dcc64c0076cf" providerId="ADAL" clId="{05A1DA8D-63B9-4B1C-AA10-E7BD2B032652}" dt="2020-06-12T11:34:18.169" v="1449"/>
          <ac:spMkLst>
            <pc:docMk/>
            <pc:sldMk cId="3142690285" sldId="371"/>
            <ac:spMk id="40" creationId="{86324A39-B96E-4F59-89B9-0862AF0704B4}"/>
          </ac:spMkLst>
        </pc:spChg>
        <pc:spChg chg="add del">
          <ac:chgData name="Daniele, L.M. (Laura)" userId="fd7970a2-7a0c-4b70-8263-dcc64c0076cf" providerId="ADAL" clId="{05A1DA8D-63B9-4B1C-AA10-E7BD2B032652}" dt="2020-06-12T11:34:18.169" v="1449"/>
          <ac:spMkLst>
            <pc:docMk/>
            <pc:sldMk cId="3142690285" sldId="371"/>
            <ac:spMk id="42" creationId="{E1767452-6492-4DC7-96D5-776246E07A8A}"/>
          </ac:spMkLst>
        </pc:spChg>
        <pc:spChg chg="add del">
          <ac:chgData name="Daniele, L.M. (Laura)" userId="fd7970a2-7a0c-4b70-8263-dcc64c0076cf" providerId="ADAL" clId="{05A1DA8D-63B9-4B1C-AA10-E7BD2B032652}" dt="2020-06-12T11:34:18.169" v="1449"/>
          <ac:spMkLst>
            <pc:docMk/>
            <pc:sldMk cId="3142690285" sldId="371"/>
            <ac:spMk id="43" creationId="{F746E31C-7A00-4511-85DB-89FB7FD155A3}"/>
          </ac:spMkLst>
        </pc:spChg>
        <pc:spChg chg="add del">
          <ac:chgData name="Daniele, L.M. (Laura)" userId="fd7970a2-7a0c-4b70-8263-dcc64c0076cf" providerId="ADAL" clId="{05A1DA8D-63B9-4B1C-AA10-E7BD2B032652}" dt="2020-06-12T11:34:18.169" v="1449"/>
          <ac:spMkLst>
            <pc:docMk/>
            <pc:sldMk cId="3142690285" sldId="371"/>
            <ac:spMk id="44" creationId="{0D9C5BD3-8AB6-45EB-BE0A-4559D36E9F6B}"/>
          </ac:spMkLst>
        </pc:spChg>
        <pc:spChg chg="add del">
          <ac:chgData name="Daniele, L.M. (Laura)" userId="fd7970a2-7a0c-4b70-8263-dcc64c0076cf" providerId="ADAL" clId="{05A1DA8D-63B9-4B1C-AA10-E7BD2B032652}" dt="2020-06-12T11:34:18.169" v="1449"/>
          <ac:spMkLst>
            <pc:docMk/>
            <pc:sldMk cId="3142690285" sldId="371"/>
            <ac:spMk id="45" creationId="{D4501C9F-4E8E-47B5-B01D-31114BACC969}"/>
          </ac:spMkLst>
        </pc:spChg>
        <pc:spChg chg="add del">
          <ac:chgData name="Daniele, L.M. (Laura)" userId="fd7970a2-7a0c-4b70-8263-dcc64c0076cf" providerId="ADAL" clId="{05A1DA8D-63B9-4B1C-AA10-E7BD2B032652}" dt="2020-06-12T11:34:18.169" v="1449"/>
          <ac:spMkLst>
            <pc:docMk/>
            <pc:sldMk cId="3142690285" sldId="371"/>
            <ac:spMk id="46" creationId="{DD0D3694-AC30-4B73-BB1E-D4724FA6C03A}"/>
          </ac:spMkLst>
        </pc:spChg>
        <pc:spChg chg="add del">
          <ac:chgData name="Daniele, L.M. (Laura)" userId="fd7970a2-7a0c-4b70-8263-dcc64c0076cf" providerId="ADAL" clId="{05A1DA8D-63B9-4B1C-AA10-E7BD2B032652}" dt="2020-06-12T11:34:18.169" v="1449"/>
          <ac:spMkLst>
            <pc:docMk/>
            <pc:sldMk cId="3142690285" sldId="371"/>
            <ac:spMk id="47" creationId="{D149589A-B614-4007-8D23-0EFE5FA46907}"/>
          </ac:spMkLst>
        </pc:spChg>
        <pc:spChg chg="add del mod">
          <ac:chgData name="Daniele, L.M. (Laura)" userId="fd7970a2-7a0c-4b70-8263-dcc64c0076cf" providerId="ADAL" clId="{05A1DA8D-63B9-4B1C-AA10-E7BD2B032652}" dt="2020-06-12T11:34:37.820" v="1452" actId="478"/>
          <ac:spMkLst>
            <pc:docMk/>
            <pc:sldMk cId="3142690285" sldId="371"/>
            <ac:spMk id="52" creationId="{221F28DA-C9BD-4AA1-8BD9-3F582CE1058D}"/>
          </ac:spMkLst>
        </pc:spChg>
        <pc:spChg chg="add mod">
          <ac:chgData name="Daniele, L.M. (Laura)" userId="fd7970a2-7a0c-4b70-8263-dcc64c0076cf" providerId="ADAL" clId="{05A1DA8D-63B9-4B1C-AA10-E7BD2B032652}" dt="2020-06-12T11:58:55.137" v="1724" actId="1076"/>
          <ac:spMkLst>
            <pc:docMk/>
            <pc:sldMk cId="3142690285" sldId="371"/>
            <ac:spMk id="57" creationId="{E4348D5B-D8B6-4F6C-A04E-7934D27668D3}"/>
          </ac:spMkLst>
        </pc:spChg>
        <pc:spChg chg="add mod">
          <ac:chgData name="Daniele, L.M. (Laura)" userId="fd7970a2-7a0c-4b70-8263-dcc64c0076cf" providerId="ADAL" clId="{05A1DA8D-63B9-4B1C-AA10-E7BD2B032652}" dt="2020-06-12T11:58:55.137" v="1724" actId="1076"/>
          <ac:spMkLst>
            <pc:docMk/>
            <pc:sldMk cId="3142690285" sldId="371"/>
            <ac:spMk id="59" creationId="{CD143121-6E12-4B74-A81B-00C229185FD7}"/>
          </ac:spMkLst>
        </pc:spChg>
        <pc:spChg chg="add mod">
          <ac:chgData name="Daniele, L.M. (Laura)" userId="fd7970a2-7a0c-4b70-8263-dcc64c0076cf" providerId="ADAL" clId="{05A1DA8D-63B9-4B1C-AA10-E7BD2B032652}" dt="2020-06-12T11:58:58.938" v="1725" actId="1076"/>
          <ac:spMkLst>
            <pc:docMk/>
            <pc:sldMk cId="3142690285" sldId="371"/>
            <ac:spMk id="60" creationId="{6CEC1D7A-DE1A-4C82-AE3D-8C629F4C7119}"/>
          </ac:spMkLst>
        </pc:spChg>
        <pc:spChg chg="add mod">
          <ac:chgData name="Daniele, L.M. (Laura)" userId="fd7970a2-7a0c-4b70-8263-dcc64c0076cf" providerId="ADAL" clId="{05A1DA8D-63B9-4B1C-AA10-E7BD2B032652}" dt="2020-06-12T11:58:04.779" v="1700" actId="1035"/>
          <ac:spMkLst>
            <pc:docMk/>
            <pc:sldMk cId="3142690285" sldId="371"/>
            <ac:spMk id="61" creationId="{01966F20-56C8-4B62-A526-98881A3D3DC3}"/>
          </ac:spMkLst>
        </pc:spChg>
        <pc:spChg chg="add mod">
          <ac:chgData name="Daniele, L.M. (Laura)" userId="fd7970a2-7a0c-4b70-8263-dcc64c0076cf" providerId="ADAL" clId="{05A1DA8D-63B9-4B1C-AA10-E7BD2B032652}" dt="2020-06-12T11:58:04.779" v="1700" actId="1035"/>
          <ac:spMkLst>
            <pc:docMk/>
            <pc:sldMk cId="3142690285" sldId="371"/>
            <ac:spMk id="63" creationId="{EC223CFC-F61C-4E18-9BC4-8AD1709F5D19}"/>
          </ac:spMkLst>
        </pc:spChg>
        <pc:spChg chg="add mod">
          <ac:chgData name="Daniele, L.M. (Laura)" userId="fd7970a2-7a0c-4b70-8263-dcc64c0076cf" providerId="ADAL" clId="{05A1DA8D-63B9-4B1C-AA10-E7BD2B032652}" dt="2020-06-12T11:58:04.779" v="1700" actId="1035"/>
          <ac:spMkLst>
            <pc:docMk/>
            <pc:sldMk cId="3142690285" sldId="371"/>
            <ac:spMk id="64" creationId="{BD2645FE-6E66-436D-A4E3-5F66AF547607}"/>
          </ac:spMkLst>
        </pc:spChg>
        <pc:spChg chg="add mod">
          <ac:chgData name="Daniele, L.M. (Laura)" userId="fd7970a2-7a0c-4b70-8263-dcc64c0076cf" providerId="ADAL" clId="{05A1DA8D-63B9-4B1C-AA10-E7BD2B032652}" dt="2020-06-12T11:58:04.779" v="1700" actId="1035"/>
          <ac:spMkLst>
            <pc:docMk/>
            <pc:sldMk cId="3142690285" sldId="371"/>
            <ac:spMk id="65" creationId="{8C23288B-9CCF-44EA-8C9D-5C48421E3609}"/>
          </ac:spMkLst>
        </pc:spChg>
        <pc:spChg chg="add mod">
          <ac:chgData name="Daniele, L.M. (Laura)" userId="fd7970a2-7a0c-4b70-8263-dcc64c0076cf" providerId="ADAL" clId="{05A1DA8D-63B9-4B1C-AA10-E7BD2B032652}" dt="2020-06-12T11:58:04.779" v="1700" actId="1035"/>
          <ac:spMkLst>
            <pc:docMk/>
            <pc:sldMk cId="3142690285" sldId="371"/>
            <ac:spMk id="67" creationId="{C0C4C348-BB40-455C-A5A4-40310746DAE1}"/>
          </ac:spMkLst>
        </pc:spChg>
        <pc:spChg chg="add mod">
          <ac:chgData name="Daniele, L.M. (Laura)" userId="fd7970a2-7a0c-4b70-8263-dcc64c0076cf" providerId="ADAL" clId="{05A1DA8D-63B9-4B1C-AA10-E7BD2B032652}" dt="2020-06-12T11:58:04.779" v="1700" actId="1035"/>
          <ac:spMkLst>
            <pc:docMk/>
            <pc:sldMk cId="3142690285" sldId="371"/>
            <ac:spMk id="68" creationId="{50397559-6E41-4BBB-9577-4164EB12B363}"/>
          </ac:spMkLst>
        </pc:spChg>
        <pc:spChg chg="add mod">
          <ac:chgData name="Daniele, L.M. (Laura)" userId="fd7970a2-7a0c-4b70-8263-dcc64c0076cf" providerId="ADAL" clId="{05A1DA8D-63B9-4B1C-AA10-E7BD2B032652}" dt="2020-06-12T11:58:04.779" v="1700" actId="1035"/>
          <ac:spMkLst>
            <pc:docMk/>
            <pc:sldMk cId="3142690285" sldId="371"/>
            <ac:spMk id="69" creationId="{7CE92919-AB44-4504-A5C1-AB538654F3FA}"/>
          </ac:spMkLst>
        </pc:spChg>
        <pc:spChg chg="add mod">
          <ac:chgData name="Daniele, L.M. (Laura)" userId="fd7970a2-7a0c-4b70-8263-dcc64c0076cf" providerId="ADAL" clId="{05A1DA8D-63B9-4B1C-AA10-E7BD2B032652}" dt="2020-06-12T11:58:04.779" v="1700" actId="1035"/>
          <ac:spMkLst>
            <pc:docMk/>
            <pc:sldMk cId="3142690285" sldId="371"/>
            <ac:spMk id="71" creationId="{79F89FF8-144F-4FD1-A220-DE4E0954D6D8}"/>
          </ac:spMkLst>
        </pc:spChg>
        <pc:spChg chg="add mod">
          <ac:chgData name="Daniele, L.M. (Laura)" userId="fd7970a2-7a0c-4b70-8263-dcc64c0076cf" providerId="ADAL" clId="{05A1DA8D-63B9-4B1C-AA10-E7BD2B032652}" dt="2020-06-12T12:05:57.113" v="1788" actId="1076"/>
          <ac:spMkLst>
            <pc:docMk/>
            <pc:sldMk cId="3142690285" sldId="371"/>
            <ac:spMk id="72" creationId="{CB93E789-0C63-4116-9526-09747931E6B9}"/>
          </ac:spMkLst>
        </pc:spChg>
        <pc:spChg chg="add mod">
          <ac:chgData name="Daniele, L.M. (Laura)" userId="fd7970a2-7a0c-4b70-8263-dcc64c0076cf" providerId="ADAL" clId="{05A1DA8D-63B9-4B1C-AA10-E7BD2B032652}" dt="2020-06-12T11:58:04.779" v="1700" actId="1035"/>
          <ac:spMkLst>
            <pc:docMk/>
            <pc:sldMk cId="3142690285" sldId="371"/>
            <ac:spMk id="73" creationId="{25D8B06D-A063-4336-A524-EC1C4C10E20D}"/>
          </ac:spMkLst>
        </pc:spChg>
        <pc:spChg chg="add mod">
          <ac:chgData name="Daniele, L.M. (Laura)" userId="fd7970a2-7a0c-4b70-8263-dcc64c0076cf" providerId="ADAL" clId="{05A1DA8D-63B9-4B1C-AA10-E7BD2B032652}" dt="2020-06-12T11:58:04.779" v="1700" actId="1035"/>
          <ac:spMkLst>
            <pc:docMk/>
            <pc:sldMk cId="3142690285" sldId="371"/>
            <ac:spMk id="75" creationId="{B52958F1-A563-44EA-9B40-2E0CD337D5D9}"/>
          </ac:spMkLst>
        </pc:spChg>
        <pc:spChg chg="add mod">
          <ac:chgData name="Daniele, L.M. (Laura)" userId="fd7970a2-7a0c-4b70-8263-dcc64c0076cf" providerId="ADAL" clId="{05A1DA8D-63B9-4B1C-AA10-E7BD2B032652}" dt="2020-06-12T11:58:04.779" v="1700" actId="1035"/>
          <ac:spMkLst>
            <pc:docMk/>
            <pc:sldMk cId="3142690285" sldId="371"/>
            <ac:spMk id="76" creationId="{214CE2F4-4A23-4722-A5E4-EEDF78EA8E82}"/>
          </ac:spMkLst>
        </pc:spChg>
        <pc:spChg chg="add mod">
          <ac:chgData name="Daniele, L.M. (Laura)" userId="fd7970a2-7a0c-4b70-8263-dcc64c0076cf" providerId="ADAL" clId="{05A1DA8D-63B9-4B1C-AA10-E7BD2B032652}" dt="2020-06-12T11:58:04.779" v="1700" actId="1035"/>
          <ac:spMkLst>
            <pc:docMk/>
            <pc:sldMk cId="3142690285" sldId="371"/>
            <ac:spMk id="78" creationId="{EEC524D8-ED9B-4403-86F6-6B2F7A3768B6}"/>
          </ac:spMkLst>
        </pc:spChg>
        <pc:spChg chg="add mod">
          <ac:chgData name="Daniele, L.M. (Laura)" userId="fd7970a2-7a0c-4b70-8263-dcc64c0076cf" providerId="ADAL" clId="{05A1DA8D-63B9-4B1C-AA10-E7BD2B032652}" dt="2020-06-12T12:05:37.259" v="1782" actId="1076"/>
          <ac:spMkLst>
            <pc:docMk/>
            <pc:sldMk cId="3142690285" sldId="371"/>
            <ac:spMk id="79" creationId="{63F762DE-DC7D-474D-8345-2A612D909EE8}"/>
          </ac:spMkLst>
        </pc:spChg>
        <pc:spChg chg="add mod">
          <ac:chgData name="Daniele, L.M. (Laura)" userId="fd7970a2-7a0c-4b70-8263-dcc64c0076cf" providerId="ADAL" clId="{05A1DA8D-63B9-4B1C-AA10-E7BD2B032652}" dt="2020-06-12T12:05:37.259" v="1782" actId="1076"/>
          <ac:spMkLst>
            <pc:docMk/>
            <pc:sldMk cId="3142690285" sldId="371"/>
            <ac:spMk id="81" creationId="{58B4CD55-BFE0-403E-AC4F-E28AF54FE7D0}"/>
          </ac:spMkLst>
        </pc:spChg>
        <pc:spChg chg="add mod">
          <ac:chgData name="Daniele, L.M. (Laura)" userId="fd7970a2-7a0c-4b70-8263-dcc64c0076cf" providerId="ADAL" clId="{05A1DA8D-63B9-4B1C-AA10-E7BD2B032652}" dt="2020-06-12T11:58:04.779" v="1700" actId="1035"/>
          <ac:spMkLst>
            <pc:docMk/>
            <pc:sldMk cId="3142690285" sldId="371"/>
            <ac:spMk id="82" creationId="{CC20F9D3-C30D-49DF-A56E-30FF32FEA0C8}"/>
          </ac:spMkLst>
        </pc:spChg>
        <pc:spChg chg="add mod">
          <ac:chgData name="Daniele, L.M. (Laura)" userId="fd7970a2-7a0c-4b70-8263-dcc64c0076cf" providerId="ADAL" clId="{05A1DA8D-63B9-4B1C-AA10-E7BD2B032652}" dt="2020-06-12T11:58:04.779" v="1700" actId="1035"/>
          <ac:spMkLst>
            <pc:docMk/>
            <pc:sldMk cId="3142690285" sldId="371"/>
            <ac:spMk id="84" creationId="{5295F75F-8550-47B9-8F2B-0EFC0412EFB1}"/>
          </ac:spMkLst>
        </pc:spChg>
        <pc:spChg chg="add mod">
          <ac:chgData name="Daniele, L.M. (Laura)" userId="fd7970a2-7a0c-4b70-8263-dcc64c0076cf" providerId="ADAL" clId="{05A1DA8D-63B9-4B1C-AA10-E7BD2B032652}" dt="2020-06-12T11:58:04.779" v="1700" actId="1035"/>
          <ac:spMkLst>
            <pc:docMk/>
            <pc:sldMk cId="3142690285" sldId="371"/>
            <ac:spMk id="85" creationId="{5DFDC7D8-58A6-40C0-BA7A-8F14D12B58BC}"/>
          </ac:spMkLst>
        </pc:spChg>
        <pc:spChg chg="add mod">
          <ac:chgData name="Daniele, L.M. (Laura)" userId="fd7970a2-7a0c-4b70-8263-dcc64c0076cf" providerId="ADAL" clId="{05A1DA8D-63B9-4B1C-AA10-E7BD2B032652}" dt="2020-06-12T11:58:04.779" v="1700" actId="1035"/>
          <ac:spMkLst>
            <pc:docMk/>
            <pc:sldMk cId="3142690285" sldId="371"/>
            <ac:spMk id="86" creationId="{534ADEFA-8533-4736-AF8F-B1D3C3BAEFA7}"/>
          </ac:spMkLst>
        </pc:spChg>
        <pc:spChg chg="add mod">
          <ac:chgData name="Daniele, L.M. (Laura)" userId="fd7970a2-7a0c-4b70-8263-dcc64c0076cf" providerId="ADAL" clId="{05A1DA8D-63B9-4B1C-AA10-E7BD2B032652}" dt="2020-06-12T12:06:18.440" v="1791" actId="1076"/>
          <ac:spMkLst>
            <pc:docMk/>
            <pc:sldMk cId="3142690285" sldId="371"/>
            <ac:spMk id="87" creationId="{E9EC65FB-35D7-485F-9C1B-D5A1E645F54F}"/>
          </ac:spMkLst>
        </pc:spChg>
        <pc:spChg chg="add del mod">
          <ac:chgData name="Daniele, L.M. (Laura)" userId="fd7970a2-7a0c-4b70-8263-dcc64c0076cf" providerId="ADAL" clId="{05A1DA8D-63B9-4B1C-AA10-E7BD2B032652}" dt="2020-06-12T11:49:03.366" v="1589" actId="478"/>
          <ac:spMkLst>
            <pc:docMk/>
            <pc:sldMk cId="3142690285" sldId="371"/>
            <ac:spMk id="88" creationId="{000C738C-45B1-45EF-B277-FBF3AAE45CE5}"/>
          </ac:spMkLst>
        </pc:spChg>
        <pc:spChg chg="add mod">
          <ac:chgData name="Daniele, L.M. (Laura)" userId="fd7970a2-7a0c-4b70-8263-dcc64c0076cf" providerId="ADAL" clId="{05A1DA8D-63B9-4B1C-AA10-E7BD2B032652}" dt="2020-06-12T11:58:04.779" v="1700" actId="1035"/>
          <ac:spMkLst>
            <pc:docMk/>
            <pc:sldMk cId="3142690285" sldId="371"/>
            <ac:spMk id="89" creationId="{E3E01570-9703-41B6-98A1-54F16E700CFF}"/>
          </ac:spMkLst>
        </pc:spChg>
        <pc:spChg chg="add del mod">
          <ac:chgData name="Daniele, L.M. (Laura)" userId="fd7970a2-7a0c-4b70-8263-dcc64c0076cf" providerId="ADAL" clId="{05A1DA8D-63B9-4B1C-AA10-E7BD2B032652}" dt="2020-06-12T11:49:13.644" v="1591" actId="478"/>
          <ac:spMkLst>
            <pc:docMk/>
            <pc:sldMk cId="3142690285" sldId="371"/>
            <ac:spMk id="95" creationId="{31EF7DB3-D2D3-440A-8DB2-B906C3672567}"/>
          </ac:spMkLst>
        </pc:spChg>
        <pc:spChg chg="add mod ord">
          <ac:chgData name="Daniele, L.M. (Laura)" userId="fd7970a2-7a0c-4b70-8263-dcc64c0076cf" providerId="ADAL" clId="{05A1DA8D-63B9-4B1C-AA10-E7BD2B032652}" dt="2020-06-12T12:07:06.622" v="1796" actId="167"/>
          <ac:spMkLst>
            <pc:docMk/>
            <pc:sldMk cId="3142690285" sldId="371"/>
            <ac:spMk id="96" creationId="{0150C155-3C45-4E6D-9E89-98D5D4F2E1B8}"/>
          </ac:spMkLst>
        </pc:spChg>
        <pc:spChg chg="add del mod">
          <ac:chgData name="Daniele, L.M. (Laura)" userId="fd7970a2-7a0c-4b70-8263-dcc64c0076cf" providerId="ADAL" clId="{05A1DA8D-63B9-4B1C-AA10-E7BD2B032652}" dt="2020-06-12T11:40:29.132" v="1477" actId="478"/>
          <ac:spMkLst>
            <pc:docMk/>
            <pc:sldMk cId="3142690285" sldId="371"/>
            <ac:spMk id="97" creationId="{A1A26D4C-2D24-466A-9F48-3203A67ACCBF}"/>
          </ac:spMkLst>
        </pc:spChg>
        <pc:spChg chg="add del mod">
          <ac:chgData name="Daniele, L.M. (Laura)" userId="fd7970a2-7a0c-4b70-8263-dcc64c0076cf" providerId="ADAL" clId="{05A1DA8D-63B9-4B1C-AA10-E7BD2B032652}" dt="2020-06-12T11:46:28.293" v="1553" actId="478"/>
          <ac:spMkLst>
            <pc:docMk/>
            <pc:sldMk cId="3142690285" sldId="371"/>
            <ac:spMk id="98" creationId="{F5E9FC5C-53D2-40FB-A369-F1F74C6AA42F}"/>
          </ac:spMkLst>
        </pc:spChg>
        <pc:spChg chg="add del mod">
          <ac:chgData name="Daniele, L.M. (Laura)" userId="fd7970a2-7a0c-4b70-8263-dcc64c0076cf" providerId="ADAL" clId="{05A1DA8D-63B9-4B1C-AA10-E7BD2B032652}" dt="2020-06-12T11:50:38.626" v="1605" actId="478"/>
          <ac:spMkLst>
            <pc:docMk/>
            <pc:sldMk cId="3142690285" sldId="371"/>
            <ac:spMk id="99" creationId="{18F9D831-D241-4240-99FB-7CF35E164AED}"/>
          </ac:spMkLst>
        </pc:spChg>
        <pc:spChg chg="add del mod">
          <ac:chgData name="Daniele, L.M. (Laura)" userId="fd7970a2-7a0c-4b70-8263-dcc64c0076cf" providerId="ADAL" clId="{05A1DA8D-63B9-4B1C-AA10-E7BD2B032652}" dt="2020-06-12T11:52:22.870" v="1621" actId="478"/>
          <ac:spMkLst>
            <pc:docMk/>
            <pc:sldMk cId="3142690285" sldId="371"/>
            <ac:spMk id="100" creationId="{3BA05055-4590-4035-B7B6-E09C1AAFFDAD}"/>
          </ac:spMkLst>
        </pc:spChg>
        <pc:spChg chg="add del mod">
          <ac:chgData name="Daniele, L.M. (Laura)" userId="fd7970a2-7a0c-4b70-8263-dcc64c0076cf" providerId="ADAL" clId="{05A1DA8D-63B9-4B1C-AA10-E7BD2B032652}" dt="2020-06-12T11:52:20.168" v="1620" actId="478"/>
          <ac:spMkLst>
            <pc:docMk/>
            <pc:sldMk cId="3142690285" sldId="371"/>
            <ac:spMk id="101" creationId="{39B8B428-78E1-41D6-8F56-FB026863BC7C}"/>
          </ac:spMkLst>
        </pc:spChg>
        <pc:spChg chg="add mod">
          <ac:chgData name="Daniele, L.M. (Laura)" userId="fd7970a2-7a0c-4b70-8263-dcc64c0076cf" providerId="ADAL" clId="{05A1DA8D-63B9-4B1C-AA10-E7BD2B032652}" dt="2020-06-12T12:05:25.521" v="1780" actId="1076"/>
          <ac:spMkLst>
            <pc:docMk/>
            <pc:sldMk cId="3142690285" sldId="371"/>
            <ac:spMk id="111" creationId="{A84ECCB0-15E7-4E1E-B15A-B123A3138D9C}"/>
          </ac:spMkLst>
        </pc:spChg>
        <pc:spChg chg="add mod">
          <ac:chgData name="Daniele, L.M. (Laura)" userId="fd7970a2-7a0c-4b70-8263-dcc64c0076cf" providerId="ADAL" clId="{05A1DA8D-63B9-4B1C-AA10-E7BD2B032652}" dt="2020-06-12T12:05:25.521" v="1780" actId="1076"/>
          <ac:spMkLst>
            <pc:docMk/>
            <pc:sldMk cId="3142690285" sldId="371"/>
            <ac:spMk id="113" creationId="{ECCC1BC8-FC0F-4F62-8FCA-C90D74A74C0C}"/>
          </ac:spMkLst>
        </pc:spChg>
        <pc:spChg chg="add mod">
          <ac:chgData name="Daniele, L.M. (Laura)" userId="fd7970a2-7a0c-4b70-8263-dcc64c0076cf" providerId="ADAL" clId="{05A1DA8D-63B9-4B1C-AA10-E7BD2B032652}" dt="2020-06-12T12:42:25.896" v="2145" actId="20577"/>
          <ac:spMkLst>
            <pc:docMk/>
            <pc:sldMk cId="3142690285" sldId="371"/>
            <ac:spMk id="114" creationId="{335575C0-7909-4C2D-9B08-1731CAECBF94}"/>
          </ac:spMkLst>
        </pc:spChg>
        <pc:picChg chg="add mod">
          <ac:chgData name="Daniele, L.M. (Laura)" userId="fd7970a2-7a0c-4b70-8263-dcc64c0076cf" providerId="ADAL" clId="{05A1DA8D-63B9-4B1C-AA10-E7BD2B032652}" dt="2020-06-12T11:52:51.206" v="1623" actId="1076"/>
          <ac:picMkLst>
            <pc:docMk/>
            <pc:sldMk cId="3142690285" sldId="371"/>
            <ac:picMk id="5" creationId="{C9462BD8-1782-428B-A508-E9267A5D7608}"/>
          </ac:picMkLst>
        </pc:picChg>
        <pc:cxnChg chg="add del">
          <ac:chgData name="Daniele, L.M. (Laura)" userId="fd7970a2-7a0c-4b70-8263-dcc64c0076cf" providerId="ADAL" clId="{05A1DA8D-63B9-4B1C-AA10-E7BD2B032652}" dt="2020-06-12T11:34:18.169" v="1449"/>
          <ac:cxnSpMkLst>
            <pc:docMk/>
            <pc:sldMk cId="3142690285" sldId="371"/>
            <ac:cxnSpMk id="8" creationId="{9CD545AA-9C86-4ECF-B068-DD6AEC391251}"/>
          </ac:cxnSpMkLst>
        </pc:cxnChg>
        <pc:cxnChg chg="add del">
          <ac:chgData name="Daniele, L.M. (Laura)" userId="fd7970a2-7a0c-4b70-8263-dcc64c0076cf" providerId="ADAL" clId="{05A1DA8D-63B9-4B1C-AA10-E7BD2B032652}" dt="2020-06-12T11:34:18.169" v="1449"/>
          <ac:cxnSpMkLst>
            <pc:docMk/>
            <pc:sldMk cId="3142690285" sldId="371"/>
            <ac:cxnSpMk id="9" creationId="{C7814226-A42C-49DF-8B26-DEFF53368075}"/>
          </ac:cxnSpMkLst>
        </pc:cxnChg>
        <pc:cxnChg chg="add del">
          <ac:chgData name="Daniele, L.M. (Laura)" userId="fd7970a2-7a0c-4b70-8263-dcc64c0076cf" providerId="ADAL" clId="{05A1DA8D-63B9-4B1C-AA10-E7BD2B032652}" dt="2020-06-12T11:34:18.169" v="1449"/>
          <ac:cxnSpMkLst>
            <pc:docMk/>
            <pc:sldMk cId="3142690285" sldId="371"/>
            <ac:cxnSpMk id="11" creationId="{41DC1888-4241-41A8-AE5E-945C49A702F1}"/>
          </ac:cxnSpMkLst>
        </pc:cxnChg>
        <pc:cxnChg chg="add del">
          <ac:chgData name="Daniele, L.M. (Laura)" userId="fd7970a2-7a0c-4b70-8263-dcc64c0076cf" providerId="ADAL" clId="{05A1DA8D-63B9-4B1C-AA10-E7BD2B032652}" dt="2020-06-12T11:34:18.169" v="1449"/>
          <ac:cxnSpMkLst>
            <pc:docMk/>
            <pc:sldMk cId="3142690285" sldId="371"/>
            <ac:cxnSpMk id="12" creationId="{BF371707-9AFA-4053-81A1-83CA0C0EC599}"/>
          </ac:cxnSpMkLst>
        </pc:cxnChg>
        <pc:cxnChg chg="add del">
          <ac:chgData name="Daniele, L.M. (Laura)" userId="fd7970a2-7a0c-4b70-8263-dcc64c0076cf" providerId="ADAL" clId="{05A1DA8D-63B9-4B1C-AA10-E7BD2B032652}" dt="2020-06-12T11:34:18.169" v="1449"/>
          <ac:cxnSpMkLst>
            <pc:docMk/>
            <pc:sldMk cId="3142690285" sldId="371"/>
            <ac:cxnSpMk id="13" creationId="{C351D1B7-C571-4964-B5CC-C90BD1B27DC4}"/>
          </ac:cxnSpMkLst>
        </pc:cxnChg>
        <pc:cxnChg chg="add del">
          <ac:chgData name="Daniele, L.M. (Laura)" userId="fd7970a2-7a0c-4b70-8263-dcc64c0076cf" providerId="ADAL" clId="{05A1DA8D-63B9-4B1C-AA10-E7BD2B032652}" dt="2020-06-12T11:34:18.169" v="1449"/>
          <ac:cxnSpMkLst>
            <pc:docMk/>
            <pc:sldMk cId="3142690285" sldId="371"/>
            <ac:cxnSpMk id="14" creationId="{19C704A7-EDB9-425C-9AB0-F35DAC1D40FC}"/>
          </ac:cxnSpMkLst>
        </pc:cxnChg>
        <pc:cxnChg chg="add del">
          <ac:chgData name="Daniele, L.M. (Laura)" userId="fd7970a2-7a0c-4b70-8263-dcc64c0076cf" providerId="ADAL" clId="{05A1DA8D-63B9-4B1C-AA10-E7BD2B032652}" dt="2020-06-12T11:34:18.169" v="1449"/>
          <ac:cxnSpMkLst>
            <pc:docMk/>
            <pc:sldMk cId="3142690285" sldId="371"/>
            <ac:cxnSpMk id="16" creationId="{37048B15-4ADF-445D-9BE8-E045349E2B93}"/>
          </ac:cxnSpMkLst>
        </pc:cxnChg>
        <pc:cxnChg chg="add del">
          <ac:chgData name="Daniele, L.M. (Laura)" userId="fd7970a2-7a0c-4b70-8263-dcc64c0076cf" providerId="ADAL" clId="{05A1DA8D-63B9-4B1C-AA10-E7BD2B032652}" dt="2020-06-12T11:34:18.169" v="1449"/>
          <ac:cxnSpMkLst>
            <pc:docMk/>
            <pc:sldMk cId="3142690285" sldId="371"/>
            <ac:cxnSpMk id="20" creationId="{291FE5E2-5290-40B7-A9DF-DCB836B6D162}"/>
          </ac:cxnSpMkLst>
        </pc:cxnChg>
        <pc:cxnChg chg="add del">
          <ac:chgData name="Daniele, L.M. (Laura)" userId="fd7970a2-7a0c-4b70-8263-dcc64c0076cf" providerId="ADAL" clId="{05A1DA8D-63B9-4B1C-AA10-E7BD2B032652}" dt="2020-06-12T11:34:18.169" v="1449"/>
          <ac:cxnSpMkLst>
            <pc:docMk/>
            <pc:sldMk cId="3142690285" sldId="371"/>
            <ac:cxnSpMk id="24" creationId="{407823D9-4134-4374-9C9D-D6D4985F39C9}"/>
          </ac:cxnSpMkLst>
        </pc:cxnChg>
        <pc:cxnChg chg="add del">
          <ac:chgData name="Daniele, L.M. (Laura)" userId="fd7970a2-7a0c-4b70-8263-dcc64c0076cf" providerId="ADAL" clId="{05A1DA8D-63B9-4B1C-AA10-E7BD2B032652}" dt="2020-06-12T11:34:18.169" v="1449"/>
          <ac:cxnSpMkLst>
            <pc:docMk/>
            <pc:sldMk cId="3142690285" sldId="371"/>
            <ac:cxnSpMk id="28" creationId="{0E3A8A33-1839-41E9-A7D2-08E5295B28CE}"/>
          </ac:cxnSpMkLst>
        </pc:cxnChg>
        <pc:cxnChg chg="add del">
          <ac:chgData name="Daniele, L.M. (Laura)" userId="fd7970a2-7a0c-4b70-8263-dcc64c0076cf" providerId="ADAL" clId="{05A1DA8D-63B9-4B1C-AA10-E7BD2B032652}" dt="2020-06-12T11:34:18.169" v="1449"/>
          <ac:cxnSpMkLst>
            <pc:docMk/>
            <pc:sldMk cId="3142690285" sldId="371"/>
            <ac:cxnSpMk id="32" creationId="{8E884BB9-B1EA-479B-881F-20AAB41AAC6C}"/>
          </ac:cxnSpMkLst>
        </pc:cxnChg>
        <pc:cxnChg chg="add del">
          <ac:chgData name="Daniele, L.M. (Laura)" userId="fd7970a2-7a0c-4b70-8263-dcc64c0076cf" providerId="ADAL" clId="{05A1DA8D-63B9-4B1C-AA10-E7BD2B032652}" dt="2020-06-12T11:34:18.169" v="1449"/>
          <ac:cxnSpMkLst>
            <pc:docMk/>
            <pc:sldMk cId="3142690285" sldId="371"/>
            <ac:cxnSpMk id="35" creationId="{E63E413C-4837-4318-90F9-1B4D3E7D8536}"/>
          </ac:cxnSpMkLst>
        </pc:cxnChg>
        <pc:cxnChg chg="add del">
          <ac:chgData name="Daniele, L.M. (Laura)" userId="fd7970a2-7a0c-4b70-8263-dcc64c0076cf" providerId="ADAL" clId="{05A1DA8D-63B9-4B1C-AA10-E7BD2B032652}" dt="2020-06-12T11:34:18.169" v="1449"/>
          <ac:cxnSpMkLst>
            <pc:docMk/>
            <pc:sldMk cId="3142690285" sldId="371"/>
            <ac:cxnSpMk id="38" creationId="{F1DE8F67-FDD9-4D78-9641-BC148F38A3FE}"/>
          </ac:cxnSpMkLst>
        </pc:cxnChg>
        <pc:cxnChg chg="add del">
          <ac:chgData name="Daniele, L.M. (Laura)" userId="fd7970a2-7a0c-4b70-8263-dcc64c0076cf" providerId="ADAL" clId="{05A1DA8D-63B9-4B1C-AA10-E7BD2B032652}" dt="2020-06-12T11:34:18.169" v="1449"/>
          <ac:cxnSpMkLst>
            <pc:docMk/>
            <pc:sldMk cId="3142690285" sldId="371"/>
            <ac:cxnSpMk id="41" creationId="{622043E7-3182-48BB-9C16-80E681D88247}"/>
          </ac:cxnSpMkLst>
        </pc:cxnChg>
        <pc:cxnChg chg="add del">
          <ac:chgData name="Daniele, L.M. (Laura)" userId="fd7970a2-7a0c-4b70-8263-dcc64c0076cf" providerId="ADAL" clId="{05A1DA8D-63B9-4B1C-AA10-E7BD2B032652}" dt="2020-06-12T11:34:18.169" v="1449"/>
          <ac:cxnSpMkLst>
            <pc:docMk/>
            <pc:sldMk cId="3142690285" sldId="371"/>
            <ac:cxnSpMk id="48" creationId="{979E75F2-E7E1-4C72-A5AA-C538048EBD8B}"/>
          </ac:cxnSpMkLst>
        </pc:cxnChg>
        <pc:cxnChg chg="add del">
          <ac:chgData name="Daniele, L.M. (Laura)" userId="fd7970a2-7a0c-4b70-8263-dcc64c0076cf" providerId="ADAL" clId="{05A1DA8D-63B9-4B1C-AA10-E7BD2B032652}" dt="2020-06-12T11:34:18.169" v="1449"/>
          <ac:cxnSpMkLst>
            <pc:docMk/>
            <pc:sldMk cId="3142690285" sldId="371"/>
            <ac:cxnSpMk id="49" creationId="{1A04E8E3-378C-4C5D-963E-2032F8DD0D1D}"/>
          </ac:cxnSpMkLst>
        </pc:cxnChg>
        <pc:cxnChg chg="add mod">
          <ac:chgData name="Daniele, L.M. (Laura)" userId="fd7970a2-7a0c-4b70-8263-dcc64c0076cf" providerId="ADAL" clId="{05A1DA8D-63B9-4B1C-AA10-E7BD2B032652}" dt="2020-06-12T11:58:04.779" v="1700" actId="1035"/>
          <ac:cxnSpMkLst>
            <pc:docMk/>
            <pc:sldMk cId="3142690285" sldId="371"/>
            <ac:cxnSpMk id="50" creationId="{1ECF2C72-0EDD-472C-8ED2-3E547E018D38}"/>
          </ac:cxnSpMkLst>
        </pc:cxnChg>
        <pc:cxnChg chg="add mod">
          <ac:chgData name="Daniele, L.M. (Laura)" userId="fd7970a2-7a0c-4b70-8263-dcc64c0076cf" providerId="ADAL" clId="{05A1DA8D-63B9-4B1C-AA10-E7BD2B032652}" dt="2020-06-12T11:58:04.779" v="1700" actId="1035"/>
          <ac:cxnSpMkLst>
            <pc:docMk/>
            <pc:sldMk cId="3142690285" sldId="371"/>
            <ac:cxnSpMk id="51" creationId="{5BBF3AA5-C7FC-455F-9591-ECEC7BD369E6}"/>
          </ac:cxnSpMkLst>
        </pc:cxnChg>
        <pc:cxnChg chg="add mod">
          <ac:chgData name="Daniele, L.M. (Laura)" userId="fd7970a2-7a0c-4b70-8263-dcc64c0076cf" providerId="ADAL" clId="{05A1DA8D-63B9-4B1C-AA10-E7BD2B032652}" dt="2020-06-12T11:58:04.779" v="1700" actId="1035"/>
          <ac:cxnSpMkLst>
            <pc:docMk/>
            <pc:sldMk cId="3142690285" sldId="371"/>
            <ac:cxnSpMk id="53" creationId="{43E12E51-A0C8-424B-8194-AD015B02F8B8}"/>
          </ac:cxnSpMkLst>
        </pc:cxnChg>
        <pc:cxnChg chg="add mod">
          <ac:chgData name="Daniele, L.M. (Laura)" userId="fd7970a2-7a0c-4b70-8263-dcc64c0076cf" providerId="ADAL" clId="{05A1DA8D-63B9-4B1C-AA10-E7BD2B032652}" dt="2020-06-12T11:58:45.257" v="1723" actId="14100"/>
          <ac:cxnSpMkLst>
            <pc:docMk/>
            <pc:sldMk cId="3142690285" sldId="371"/>
            <ac:cxnSpMk id="54" creationId="{6069E1C8-E9D3-4E6F-98DE-4F640D3A5304}"/>
          </ac:cxnSpMkLst>
        </pc:cxnChg>
        <pc:cxnChg chg="add mod">
          <ac:chgData name="Daniele, L.M. (Laura)" userId="fd7970a2-7a0c-4b70-8263-dcc64c0076cf" providerId="ADAL" clId="{05A1DA8D-63B9-4B1C-AA10-E7BD2B032652}" dt="2020-06-12T11:58:04.779" v="1700" actId="1035"/>
          <ac:cxnSpMkLst>
            <pc:docMk/>
            <pc:sldMk cId="3142690285" sldId="371"/>
            <ac:cxnSpMk id="55" creationId="{BD458D13-36F4-46E6-986F-BA0F35E3B9B0}"/>
          </ac:cxnSpMkLst>
        </pc:cxnChg>
        <pc:cxnChg chg="add mod">
          <ac:chgData name="Daniele, L.M. (Laura)" userId="fd7970a2-7a0c-4b70-8263-dcc64c0076cf" providerId="ADAL" clId="{05A1DA8D-63B9-4B1C-AA10-E7BD2B032652}" dt="2020-06-12T11:58:04.779" v="1700" actId="1035"/>
          <ac:cxnSpMkLst>
            <pc:docMk/>
            <pc:sldMk cId="3142690285" sldId="371"/>
            <ac:cxnSpMk id="56" creationId="{DCD903A4-9AF4-45C7-B6C3-4A4B0F43AC55}"/>
          </ac:cxnSpMkLst>
        </pc:cxnChg>
        <pc:cxnChg chg="add mod">
          <ac:chgData name="Daniele, L.M. (Laura)" userId="fd7970a2-7a0c-4b70-8263-dcc64c0076cf" providerId="ADAL" clId="{05A1DA8D-63B9-4B1C-AA10-E7BD2B032652}" dt="2020-06-12T11:58:55.137" v="1724" actId="1076"/>
          <ac:cxnSpMkLst>
            <pc:docMk/>
            <pc:sldMk cId="3142690285" sldId="371"/>
            <ac:cxnSpMk id="58" creationId="{8C0D702D-DFD6-4893-BB4E-DBDCD53CA231}"/>
          </ac:cxnSpMkLst>
        </pc:cxnChg>
        <pc:cxnChg chg="add mod">
          <ac:chgData name="Daniele, L.M. (Laura)" userId="fd7970a2-7a0c-4b70-8263-dcc64c0076cf" providerId="ADAL" clId="{05A1DA8D-63B9-4B1C-AA10-E7BD2B032652}" dt="2020-06-12T11:58:04.779" v="1700" actId="1035"/>
          <ac:cxnSpMkLst>
            <pc:docMk/>
            <pc:sldMk cId="3142690285" sldId="371"/>
            <ac:cxnSpMk id="62" creationId="{D3B4BAC8-6376-4874-92A8-7A8F29B559EA}"/>
          </ac:cxnSpMkLst>
        </pc:cxnChg>
        <pc:cxnChg chg="add mod">
          <ac:chgData name="Daniele, L.M. (Laura)" userId="fd7970a2-7a0c-4b70-8263-dcc64c0076cf" providerId="ADAL" clId="{05A1DA8D-63B9-4B1C-AA10-E7BD2B032652}" dt="2020-06-12T11:58:04.779" v="1700" actId="1035"/>
          <ac:cxnSpMkLst>
            <pc:docMk/>
            <pc:sldMk cId="3142690285" sldId="371"/>
            <ac:cxnSpMk id="66" creationId="{71510B5A-50C7-4471-8D49-DD646939ADAF}"/>
          </ac:cxnSpMkLst>
        </pc:cxnChg>
        <pc:cxnChg chg="add mod">
          <ac:chgData name="Daniele, L.M. (Laura)" userId="fd7970a2-7a0c-4b70-8263-dcc64c0076cf" providerId="ADAL" clId="{05A1DA8D-63B9-4B1C-AA10-E7BD2B032652}" dt="2020-06-12T12:02:04.242" v="1766" actId="14100"/>
          <ac:cxnSpMkLst>
            <pc:docMk/>
            <pc:sldMk cId="3142690285" sldId="371"/>
            <ac:cxnSpMk id="70" creationId="{A8311EE2-61E7-447E-BD28-80C5C71D3747}"/>
          </ac:cxnSpMkLst>
        </pc:cxnChg>
        <pc:cxnChg chg="add mod">
          <ac:chgData name="Daniele, L.M. (Laura)" userId="fd7970a2-7a0c-4b70-8263-dcc64c0076cf" providerId="ADAL" clId="{05A1DA8D-63B9-4B1C-AA10-E7BD2B032652}" dt="2020-06-12T11:58:04.779" v="1700" actId="1035"/>
          <ac:cxnSpMkLst>
            <pc:docMk/>
            <pc:sldMk cId="3142690285" sldId="371"/>
            <ac:cxnSpMk id="74" creationId="{4A1B18D6-7235-4839-99E6-CE9690C792C7}"/>
          </ac:cxnSpMkLst>
        </pc:cxnChg>
        <pc:cxnChg chg="add mod">
          <ac:chgData name="Daniele, L.M. (Laura)" userId="fd7970a2-7a0c-4b70-8263-dcc64c0076cf" providerId="ADAL" clId="{05A1DA8D-63B9-4B1C-AA10-E7BD2B032652}" dt="2020-06-12T11:58:04.779" v="1700" actId="1035"/>
          <ac:cxnSpMkLst>
            <pc:docMk/>
            <pc:sldMk cId="3142690285" sldId="371"/>
            <ac:cxnSpMk id="77" creationId="{B8A1FA8C-BB17-4E9F-8514-48F8D09273E9}"/>
          </ac:cxnSpMkLst>
        </pc:cxnChg>
        <pc:cxnChg chg="add mod">
          <ac:chgData name="Daniele, L.M. (Laura)" userId="fd7970a2-7a0c-4b70-8263-dcc64c0076cf" providerId="ADAL" clId="{05A1DA8D-63B9-4B1C-AA10-E7BD2B032652}" dt="2020-06-12T12:05:37.259" v="1782" actId="1076"/>
          <ac:cxnSpMkLst>
            <pc:docMk/>
            <pc:sldMk cId="3142690285" sldId="371"/>
            <ac:cxnSpMk id="80" creationId="{AA57CE2D-D3C8-4770-8F5B-C4EFFB80D83A}"/>
          </ac:cxnSpMkLst>
        </pc:cxnChg>
        <pc:cxnChg chg="add mod">
          <ac:chgData name="Daniele, L.M. (Laura)" userId="fd7970a2-7a0c-4b70-8263-dcc64c0076cf" providerId="ADAL" clId="{05A1DA8D-63B9-4B1C-AA10-E7BD2B032652}" dt="2020-06-12T11:58:04.779" v="1700" actId="1035"/>
          <ac:cxnSpMkLst>
            <pc:docMk/>
            <pc:sldMk cId="3142690285" sldId="371"/>
            <ac:cxnSpMk id="83" creationId="{30AD0F72-B162-4995-AB2A-642DB055015D}"/>
          </ac:cxnSpMkLst>
        </pc:cxnChg>
        <pc:cxnChg chg="add mod">
          <ac:chgData name="Daniele, L.M. (Laura)" userId="fd7970a2-7a0c-4b70-8263-dcc64c0076cf" providerId="ADAL" clId="{05A1DA8D-63B9-4B1C-AA10-E7BD2B032652}" dt="2020-06-12T11:58:04.779" v="1700" actId="1035"/>
          <ac:cxnSpMkLst>
            <pc:docMk/>
            <pc:sldMk cId="3142690285" sldId="371"/>
            <ac:cxnSpMk id="90" creationId="{ADCA782B-9F67-49E3-AE03-07452FA4CEBD}"/>
          </ac:cxnSpMkLst>
        </pc:cxnChg>
        <pc:cxnChg chg="add del mod">
          <ac:chgData name="Daniele, L.M. (Laura)" userId="fd7970a2-7a0c-4b70-8263-dcc64c0076cf" providerId="ADAL" clId="{05A1DA8D-63B9-4B1C-AA10-E7BD2B032652}" dt="2020-06-12T11:54:42.244" v="1634" actId="478"/>
          <ac:cxnSpMkLst>
            <pc:docMk/>
            <pc:sldMk cId="3142690285" sldId="371"/>
            <ac:cxnSpMk id="91" creationId="{1537050E-52D7-4A5C-B316-26DB90125097}"/>
          </ac:cxnSpMkLst>
        </pc:cxnChg>
        <pc:cxnChg chg="add mod">
          <ac:chgData name="Daniele, L.M. (Laura)" userId="fd7970a2-7a0c-4b70-8263-dcc64c0076cf" providerId="ADAL" clId="{05A1DA8D-63B9-4B1C-AA10-E7BD2B032652}" dt="2020-06-12T12:05:25.521" v="1780" actId="1076"/>
          <ac:cxnSpMkLst>
            <pc:docMk/>
            <pc:sldMk cId="3142690285" sldId="371"/>
            <ac:cxnSpMk id="112" creationId="{386B267C-953F-4580-BEBD-B5F4134F94BB}"/>
          </ac:cxnSpMkLst>
        </pc:cxnChg>
      </pc:sldChg>
      <pc:sldChg chg="add del">
        <pc:chgData name="Daniele, L.M. (Laura)" userId="fd7970a2-7a0c-4b70-8263-dcc64c0076cf" providerId="ADAL" clId="{05A1DA8D-63B9-4B1C-AA10-E7BD2B032652}" dt="2020-06-17T13:02:25.725" v="7901" actId="2696"/>
        <pc:sldMkLst>
          <pc:docMk/>
          <pc:sldMk cId="648740574" sldId="372"/>
        </pc:sldMkLst>
      </pc:sldChg>
      <pc:sldChg chg="addSp modSp add del">
        <pc:chgData name="Daniele, L.M. (Laura)" userId="fd7970a2-7a0c-4b70-8263-dcc64c0076cf" providerId="ADAL" clId="{05A1DA8D-63B9-4B1C-AA10-E7BD2B032652}" dt="2020-06-12T12:34:18.280" v="1979" actId="2696"/>
        <pc:sldMkLst>
          <pc:docMk/>
          <pc:sldMk cId="1674593645" sldId="372"/>
        </pc:sldMkLst>
        <pc:spChg chg="mod">
          <ac:chgData name="Daniele, L.M. (Laura)" userId="fd7970a2-7a0c-4b70-8263-dcc64c0076cf" providerId="ADAL" clId="{05A1DA8D-63B9-4B1C-AA10-E7BD2B032652}" dt="2020-06-12T12:12:04.657" v="1825" actId="20577"/>
          <ac:spMkLst>
            <pc:docMk/>
            <pc:sldMk cId="1674593645" sldId="372"/>
            <ac:spMk id="2" creationId="{35258151-2BDA-420A-B170-6C531CD4A7E6}"/>
          </ac:spMkLst>
        </pc:spChg>
        <pc:spChg chg="mod">
          <ac:chgData name="Daniele, L.M. (Laura)" userId="fd7970a2-7a0c-4b70-8263-dcc64c0076cf" providerId="ADAL" clId="{05A1DA8D-63B9-4B1C-AA10-E7BD2B032652}" dt="2020-06-12T12:24:02.162" v="1969" actId="404"/>
          <ac:spMkLst>
            <pc:docMk/>
            <pc:sldMk cId="1674593645" sldId="372"/>
            <ac:spMk id="3" creationId="{83A1818B-EC20-409A-BC35-074CD75E24AC}"/>
          </ac:spMkLst>
        </pc:spChg>
        <pc:picChg chg="add mod">
          <ac:chgData name="Daniele, L.M. (Laura)" userId="fd7970a2-7a0c-4b70-8263-dcc64c0076cf" providerId="ADAL" clId="{05A1DA8D-63B9-4B1C-AA10-E7BD2B032652}" dt="2020-06-12T12:14:06.674" v="1855" actId="1076"/>
          <ac:picMkLst>
            <pc:docMk/>
            <pc:sldMk cId="1674593645" sldId="372"/>
            <ac:picMk id="5" creationId="{E6FCB523-BAF3-465E-9B60-3955DBB73CA8}"/>
          </ac:picMkLst>
        </pc:picChg>
      </pc:sldChg>
      <pc:sldChg chg="add del">
        <pc:chgData name="Daniele, L.M. (Laura)" userId="fd7970a2-7a0c-4b70-8263-dcc64c0076cf" providerId="ADAL" clId="{05A1DA8D-63B9-4B1C-AA10-E7BD2B032652}" dt="2020-06-12T12:01:29.848" v="1761" actId="2696"/>
        <pc:sldMkLst>
          <pc:docMk/>
          <pc:sldMk cId="3593537683" sldId="372"/>
        </pc:sldMkLst>
      </pc:sldChg>
      <pc:sldChg chg="add del">
        <pc:chgData name="Daniele, L.M. (Laura)" userId="fd7970a2-7a0c-4b70-8263-dcc64c0076cf" providerId="ADAL" clId="{05A1DA8D-63B9-4B1C-AA10-E7BD2B032652}" dt="2020-06-17T13:02:28.512" v="7902" actId="2696"/>
        <pc:sldMkLst>
          <pc:docMk/>
          <pc:sldMk cId="1735599994" sldId="373"/>
        </pc:sldMkLst>
      </pc:sldChg>
      <pc:sldChg chg="addSp modSp add del">
        <pc:chgData name="Daniele, L.M. (Laura)" userId="fd7970a2-7a0c-4b70-8263-dcc64c0076cf" providerId="ADAL" clId="{05A1DA8D-63B9-4B1C-AA10-E7BD2B032652}" dt="2020-06-12T12:34:18.276" v="1978" actId="2696"/>
        <pc:sldMkLst>
          <pc:docMk/>
          <pc:sldMk cId="1735754162" sldId="373"/>
        </pc:sldMkLst>
        <pc:spChg chg="mod">
          <ac:chgData name="Daniele, L.M. (Laura)" userId="fd7970a2-7a0c-4b70-8263-dcc64c0076cf" providerId="ADAL" clId="{05A1DA8D-63B9-4B1C-AA10-E7BD2B032652}" dt="2020-06-12T12:12:10.081" v="1835" actId="20577"/>
          <ac:spMkLst>
            <pc:docMk/>
            <pc:sldMk cId="1735754162" sldId="373"/>
            <ac:spMk id="2" creationId="{35258151-2BDA-420A-B170-6C531CD4A7E6}"/>
          </ac:spMkLst>
        </pc:spChg>
        <pc:spChg chg="mod">
          <ac:chgData name="Daniele, L.M. (Laura)" userId="fd7970a2-7a0c-4b70-8263-dcc64c0076cf" providerId="ADAL" clId="{05A1DA8D-63B9-4B1C-AA10-E7BD2B032652}" dt="2020-06-12T12:24:09.655" v="1970" actId="1076"/>
          <ac:spMkLst>
            <pc:docMk/>
            <pc:sldMk cId="1735754162" sldId="373"/>
            <ac:spMk id="3" creationId="{83A1818B-EC20-409A-BC35-074CD75E24AC}"/>
          </ac:spMkLst>
        </pc:spChg>
        <pc:picChg chg="add mod">
          <ac:chgData name="Daniele, L.M. (Laura)" userId="fd7970a2-7a0c-4b70-8263-dcc64c0076cf" providerId="ADAL" clId="{05A1DA8D-63B9-4B1C-AA10-E7BD2B032652}" dt="2020-06-12T12:14:02.607" v="1853" actId="1076"/>
          <ac:picMkLst>
            <pc:docMk/>
            <pc:sldMk cId="1735754162" sldId="373"/>
            <ac:picMk id="5" creationId="{59D5CCF0-35ED-4072-A96A-3986BB6F8C3E}"/>
          </ac:picMkLst>
        </pc:picChg>
      </pc:sldChg>
      <pc:sldChg chg="add del">
        <pc:chgData name="Daniele, L.M. (Laura)" userId="fd7970a2-7a0c-4b70-8263-dcc64c0076cf" providerId="ADAL" clId="{05A1DA8D-63B9-4B1C-AA10-E7BD2B032652}" dt="2020-06-17T13:06:34.604" v="7948" actId="2696"/>
        <pc:sldMkLst>
          <pc:docMk/>
          <pc:sldMk cId="2067197435" sldId="374"/>
        </pc:sldMkLst>
      </pc:sldChg>
      <pc:sldChg chg="addSp delSp modSp add del">
        <pc:chgData name="Daniele, L.M. (Laura)" userId="fd7970a2-7a0c-4b70-8263-dcc64c0076cf" providerId="ADAL" clId="{05A1DA8D-63B9-4B1C-AA10-E7BD2B032652}" dt="2020-06-12T12:34:18.270" v="1977" actId="2696"/>
        <pc:sldMkLst>
          <pc:docMk/>
          <pc:sldMk cId="2928703994" sldId="374"/>
        </pc:sldMkLst>
        <pc:spChg chg="mod">
          <ac:chgData name="Daniele, L.M. (Laura)" userId="fd7970a2-7a0c-4b70-8263-dcc64c0076cf" providerId="ADAL" clId="{05A1DA8D-63B9-4B1C-AA10-E7BD2B032652}" dt="2020-06-12T12:13:39.979" v="1846" actId="1076"/>
          <ac:spMkLst>
            <pc:docMk/>
            <pc:sldMk cId="2928703994" sldId="374"/>
            <ac:spMk id="2" creationId="{35258151-2BDA-420A-B170-6C531CD4A7E6}"/>
          </ac:spMkLst>
        </pc:spChg>
        <pc:spChg chg="del">
          <ac:chgData name="Daniele, L.M. (Laura)" userId="fd7970a2-7a0c-4b70-8263-dcc64c0076cf" providerId="ADAL" clId="{05A1DA8D-63B9-4B1C-AA10-E7BD2B032652}" dt="2020-06-12T12:12:45.091" v="1837" actId="478"/>
          <ac:spMkLst>
            <pc:docMk/>
            <pc:sldMk cId="2928703994" sldId="374"/>
            <ac:spMk id="3" creationId="{83A1818B-EC20-409A-BC35-074CD75E24AC}"/>
          </ac:spMkLst>
        </pc:spChg>
        <pc:spChg chg="add del mod">
          <ac:chgData name="Daniele, L.M. (Laura)" userId="fd7970a2-7a0c-4b70-8263-dcc64c0076cf" providerId="ADAL" clId="{05A1DA8D-63B9-4B1C-AA10-E7BD2B032652}" dt="2020-06-12T12:12:46.837" v="1838" actId="478"/>
          <ac:spMkLst>
            <pc:docMk/>
            <pc:sldMk cId="2928703994" sldId="374"/>
            <ac:spMk id="6" creationId="{D3339188-6BE7-4560-94B4-995D466A7246}"/>
          </ac:spMkLst>
        </pc:spChg>
        <pc:picChg chg="add mod">
          <ac:chgData name="Daniele, L.M. (Laura)" userId="fd7970a2-7a0c-4b70-8263-dcc64c0076cf" providerId="ADAL" clId="{05A1DA8D-63B9-4B1C-AA10-E7BD2B032652}" dt="2020-06-12T12:13:54.481" v="1850" actId="1076"/>
          <ac:picMkLst>
            <pc:docMk/>
            <pc:sldMk cId="2928703994" sldId="374"/>
            <ac:picMk id="7" creationId="{E5B4BFE8-5B6D-44BC-A274-663C4B63A651}"/>
          </ac:picMkLst>
        </pc:picChg>
        <pc:picChg chg="add mod">
          <ac:chgData name="Daniele, L.M. (Laura)" userId="fd7970a2-7a0c-4b70-8263-dcc64c0076cf" providerId="ADAL" clId="{05A1DA8D-63B9-4B1C-AA10-E7BD2B032652}" dt="2020-06-12T12:13:57.606" v="1851" actId="1076"/>
          <ac:picMkLst>
            <pc:docMk/>
            <pc:sldMk cId="2928703994" sldId="374"/>
            <ac:picMk id="8" creationId="{1A99D6A6-8189-4E39-8AB1-FC92DB596A74}"/>
          </ac:picMkLst>
        </pc:picChg>
      </pc:sldChg>
      <pc:sldChg chg="addSp delSp modSp add del">
        <pc:chgData name="Daniele, L.M. (Laura)" userId="fd7970a2-7a0c-4b70-8263-dcc64c0076cf" providerId="ADAL" clId="{05A1DA8D-63B9-4B1C-AA10-E7BD2B032652}" dt="2020-06-12T12:34:18.266" v="1976" actId="2696"/>
        <pc:sldMkLst>
          <pc:docMk/>
          <pc:sldMk cId="2225626788" sldId="375"/>
        </pc:sldMkLst>
        <pc:spChg chg="mod">
          <ac:chgData name="Daniele, L.M. (Laura)" userId="fd7970a2-7a0c-4b70-8263-dcc64c0076cf" providerId="ADAL" clId="{05A1DA8D-63B9-4B1C-AA10-E7BD2B032652}" dt="2020-06-12T12:19:00.968" v="1940" actId="20577"/>
          <ac:spMkLst>
            <pc:docMk/>
            <pc:sldMk cId="2225626788" sldId="375"/>
            <ac:spMk id="2" creationId="{00A0D8B4-1772-405D-A494-7A54B9FD5056}"/>
          </ac:spMkLst>
        </pc:spChg>
        <pc:spChg chg="mod">
          <ac:chgData name="Daniele, L.M. (Laura)" userId="fd7970a2-7a0c-4b70-8263-dcc64c0076cf" providerId="ADAL" clId="{05A1DA8D-63B9-4B1C-AA10-E7BD2B032652}" dt="2020-06-12T12:18:45.819" v="1937" actId="1076"/>
          <ac:spMkLst>
            <pc:docMk/>
            <pc:sldMk cId="2225626788" sldId="375"/>
            <ac:spMk id="3" creationId="{5076E1FE-4F13-4A76-B9A6-30815243819B}"/>
          </ac:spMkLst>
        </pc:spChg>
        <pc:picChg chg="add del mod ord">
          <ac:chgData name="Daniele, L.M. (Laura)" userId="fd7970a2-7a0c-4b70-8263-dcc64c0076cf" providerId="ADAL" clId="{05A1DA8D-63B9-4B1C-AA10-E7BD2B032652}" dt="2020-06-12T12:17:23.086" v="1929" actId="478"/>
          <ac:picMkLst>
            <pc:docMk/>
            <pc:sldMk cId="2225626788" sldId="375"/>
            <ac:picMk id="5" creationId="{2317595D-CC1C-475D-BED8-85441A0B542D}"/>
          </ac:picMkLst>
        </pc:picChg>
        <pc:picChg chg="add mod ord">
          <ac:chgData name="Daniele, L.M. (Laura)" userId="fd7970a2-7a0c-4b70-8263-dcc64c0076cf" providerId="ADAL" clId="{05A1DA8D-63B9-4B1C-AA10-E7BD2B032652}" dt="2020-06-12T12:18:40.443" v="1936" actId="1076"/>
          <ac:picMkLst>
            <pc:docMk/>
            <pc:sldMk cId="2225626788" sldId="375"/>
            <ac:picMk id="6" creationId="{D342071D-E228-4AFD-AB41-4F601892CFE2}"/>
          </ac:picMkLst>
        </pc:picChg>
        <pc:picChg chg="add">
          <ac:chgData name="Daniele, L.M. (Laura)" userId="fd7970a2-7a0c-4b70-8263-dcc64c0076cf" providerId="ADAL" clId="{05A1DA8D-63B9-4B1C-AA10-E7BD2B032652}" dt="2020-06-12T12:18:51.560" v="1938"/>
          <ac:picMkLst>
            <pc:docMk/>
            <pc:sldMk cId="2225626788" sldId="375"/>
            <ac:picMk id="7" creationId="{F607F12F-9074-44AF-A82B-CCC66E12B971}"/>
          </ac:picMkLst>
        </pc:picChg>
      </pc:sldChg>
      <pc:sldChg chg="add del">
        <pc:chgData name="Daniele, L.M. (Laura)" userId="fd7970a2-7a0c-4b70-8263-dcc64c0076cf" providerId="ADAL" clId="{05A1DA8D-63B9-4B1C-AA10-E7BD2B032652}" dt="2020-06-17T13:06:36.914" v="7949" actId="2696"/>
        <pc:sldMkLst>
          <pc:docMk/>
          <pc:sldMk cId="3410233052" sldId="375"/>
        </pc:sldMkLst>
      </pc:sldChg>
      <pc:sldChg chg="add del">
        <pc:chgData name="Daniele, L.M. (Laura)" userId="fd7970a2-7a0c-4b70-8263-dcc64c0076cf" providerId="ADAL" clId="{05A1DA8D-63B9-4B1C-AA10-E7BD2B032652}" dt="2020-06-17T13:06:38.583" v="7950" actId="2696"/>
        <pc:sldMkLst>
          <pc:docMk/>
          <pc:sldMk cId="1477140534" sldId="376"/>
        </pc:sldMkLst>
      </pc:sldChg>
      <pc:sldChg chg="addSp modSp add del">
        <pc:chgData name="Daniele, L.M. (Laura)" userId="fd7970a2-7a0c-4b70-8263-dcc64c0076cf" providerId="ADAL" clId="{05A1DA8D-63B9-4B1C-AA10-E7BD2B032652}" dt="2020-06-12T12:34:18.259" v="1975" actId="2696"/>
        <pc:sldMkLst>
          <pc:docMk/>
          <pc:sldMk cId="2350197143" sldId="376"/>
        </pc:sldMkLst>
        <pc:spChg chg="mod">
          <ac:chgData name="Daniele, L.M. (Laura)" userId="fd7970a2-7a0c-4b70-8263-dcc64c0076cf" providerId="ADAL" clId="{05A1DA8D-63B9-4B1C-AA10-E7BD2B032652}" dt="2020-06-12T12:21:09.407" v="1946" actId="20577"/>
          <ac:spMkLst>
            <pc:docMk/>
            <pc:sldMk cId="2350197143" sldId="376"/>
            <ac:spMk id="2" creationId="{321FA881-7214-409F-BEC3-A0BC23099CB5}"/>
          </ac:spMkLst>
        </pc:spChg>
        <pc:spChg chg="mod">
          <ac:chgData name="Daniele, L.M. (Laura)" userId="fd7970a2-7a0c-4b70-8263-dcc64c0076cf" providerId="ADAL" clId="{05A1DA8D-63B9-4B1C-AA10-E7BD2B032652}" dt="2020-06-12T12:23:15.416" v="1964" actId="1076"/>
          <ac:spMkLst>
            <pc:docMk/>
            <pc:sldMk cId="2350197143" sldId="376"/>
            <ac:spMk id="3" creationId="{073FB467-1EBA-409A-8DEF-BC37DB3BF1BF}"/>
          </ac:spMkLst>
        </pc:spChg>
        <pc:spChg chg="add mod">
          <ac:chgData name="Daniele, L.M. (Laura)" userId="fd7970a2-7a0c-4b70-8263-dcc64c0076cf" providerId="ADAL" clId="{05A1DA8D-63B9-4B1C-AA10-E7BD2B032652}" dt="2020-06-12T12:23:26.216" v="1965" actId="1076"/>
          <ac:spMkLst>
            <pc:docMk/>
            <pc:sldMk cId="2350197143" sldId="376"/>
            <ac:spMk id="6" creationId="{63F6F680-6F8C-4F51-89C0-C56DD493FE3A}"/>
          </ac:spMkLst>
        </pc:spChg>
        <pc:spChg chg="add mod">
          <ac:chgData name="Daniele, L.M. (Laura)" userId="fd7970a2-7a0c-4b70-8263-dcc64c0076cf" providerId="ADAL" clId="{05A1DA8D-63B9-4B1C-AA10-E7BD2B032652}" dt="2020-06-12T12:23:26.216" v="1965" actId="1076"/>
          <ac:spMkLst>
            <pc:docMk/>
            <pc:sldMk cId="2350197143" sldId="376"/>
            <ac:spMk id="7" creationId="{2F4EF830-4944-43D3-B092-3B56E1F33176}"/>
          </ac:spMkLst>
        </pc:spChg>
        <pc:spChg chg="add mod">
          <ac:chgData name="Daniele, L.M. (Laura)" userId="fd7970a2-7a0c-4b70-8263-dcc64c0076cf" providerId="ADAL" clId="{05A1DA8D-63B9-4B1C-AA10-E7BD2B032652}" dt="2020-06-12T12:23:26.216" v="1965" actId="1076"/>
          <ac:spMkLst>
            <pc:docMk/>
            <pc:sldMk cId="2350197143" sldId="376"/>
            <ac:spMk id="8" creationId="{C5F41D6C-0EA9-4AB1-A6E4-D0AFC5375F56}"/>
          </ac:spMkLst>
        </pc:spChg>
        <pc:spChg chg="add mod">
          <ac:chgData name="Daniele, L.M. (Laura)" userId="fd7970a2-7a0c-4b70-8263-dcc64c0076cf" providerId="ADAL" clId="{05A1DA8D-63B9-4B1C-AA10-E7BD2B032652}" dt="2020-06-12T12:23:26.216" v="1965" actId="1076"/>
          <ac:spMkLst>
            <pc:docMk/>
            <pc:sldMk cId="2350197143" sldId="376"/>
            <ac:spMk id="9" creationId="{C0370C65-F05B-468B-8FF4-D6BE7695DD4C}"/>
          </ac:spMkLst>
        </pc:spChg>
        <pc:spChg chg="add mod">
          <ac:chgData name="Daniele, L.M. (Laura)" userId="fd7970a2-7a0c-4b70-8263-dcc64c0076cf" providerId="ADAL" clId="{05A1DA8D-63B9-4B1C-AA10-E7BD2B032652}" dt="2020-06-12T12:23:26.216" v="1965" actId="1076"/>
          <ac:spMkLst>
            <pc:docMk/>
            <pc:sldMk cId="2350197143" sldId="376"/>
            <ac:spMk id="10" creationId="{A489A3DF-5AE9-4A2E-AA8D-9F80C3335724}"/>
          </ac:spMkLst>
        </pc:spChg>
        <pc:spChg chg="add mod">
          <ac:chgData name="Daniele, L.M. (Laura)" userId="fd7970a2-7a0c-4b70-8263-dcc64c0076cf" providerId="ADAL" clId="{05A1DA8D-63B9-4B1C-AA10-E7BD2B032652}" dt="2020-06-12T12:23:26.216" v="1965" actId="1076"/>
          <ac:spMkLst>
            <pc:docMk/>
            <pc:sldMk cId="2350197143" sldId="376"/>
            <ac:spMk id="11" creationId="{5715CD0B-BF0B-4EED-80E8-BA6D6BB160EC}"/>
          </ac:spMkLst>
        </pc:spChg>
        <pc:spChg chg="add mod">
          <ac:chgData name="Daniele, L.M. (Laura)" userId="fd7970a2-7a0c-4b70-8263-dcc64c0076cf" providerId="ADAL" clId="{05A1DA8D-63B9-4B1C-AA10-E7BD2B032652}" dt="2020-06-12T12:23:26.216" v="1965" actId="1076"/>
          <ac:spMkLst>
            <pc:docMk/>
            <pc:sldMk cId="2350197143" sldId="376"/>
            <ac:spMk id="12" creationId="{58DB1287-17ED-42DC-A265-FC8FEA1A28F2}"/>
          </ac:spMkLst>
        </pc:spChg>
        <pc:spChg chg="add mod">
          <ac:chgData name="Daniele, L.M. (Laura)" userId="fd7970a2-7a0c-4b70-8263-dcc64c0076cf" providerId="ADAL" clId="{05A1DA8D-63B9-4B1C-AA10-E7BD2B032652}" dt="2020-06-12T12:23:26.216" v="1965" actId="1076"/>
          <ac:spMkLst>
            <pc:docMk/>
            <pc:sldMk cId="2350197143" sldId="376"/>
            <ac:spMk id="13" creationId="{E157FC02-1FC3-4C75-9D64-9265FE263467}"/>
          </ac:spMkLst>
        </pc:spChg>
        <pc:picChg chg="add mod">
          <ac:chgData name="Daniele, L.M. (Laura)" userId="fd7970a2-7a0c-4b70-8263-dcc64c0076cf" providerId="ADAL" clId="{05A1DA8D-63B9-4B1C-AA10-E7BD2B032652}" dt="2020-06-12T12:23:26.216" v="1965" actId="1076"/>
          <ac:picMkLst>
            <pc:docMk/>
            <pc:sldMk cId="2350197143" sldId="376"/>
            <ac:picMk id="5" creationId="{1B4E1014-BA87-4579-950D-E8CE51E2AD34}"/>
          </ac:picMkLst>
        </pc:picChg>
        <pc:picChg chg="add mod">
          <ac:chgData name="Daniele, L.M. (Laura)" userId="fd7970a2-7a0c-4b70-8263-dcc64c0076cf" providerId="ADAL" clId="{05A1DA8D-63B9-4B1C-AA10-E7BD2B032652}" dt="2020-06-12T12:23:39.073" v="1968" actId="167"/>
          <ac:picMkLst>
            <pc:docMk/>
            <pc:sldMk cId="2350197143" sldId="376"/>
            <ac:picMk id="14" creationId="{8ABB2AF6-C04E-4AEE-8525-E981991FBE29}"/>
          </ac:picMkLst>
        </pc:picChg>
      </pc:sldChg>
      <pc:sldChg chg="addSp delSp add del">
        <pc:chgData name="Daniele, L.M. (Laura)" userId="fd7970a2-7a0c-4b70-8263-dcc64c0076cf" providerId="ADAL" clId="{05A1DA8D-63B9-4B1C-AA10-E7BD2B032652}" dt="2020-06-12T12:24:20.472" v="1971" actId="2696"/>
        <pc:sldMkLst>
          <pc:docMk/>
          <pc:sldMk cId="2492775226" sldId="377"/>
        </pc:sldMkLst>
        <pc:spChg chg="del">
          <ac:chgData name="Daniele, L.M. (Laura)" userId="fd7970a2-7a0c-4b70-8263-dcc64c0076cf" providerId="ADAL" clId="{05A1DA8D-63B9-4B1C-AA10-E7BD2B032652}" dt="2020-06-12T12:21:50.168" v="1948" actId="478"/>
          <ac:spMkLst>
            <pc:docMk/>
            <pc:sldMk cId="2492775226" sldId="377"/>
            <ac:spMk id="3" creationId="{5CA3F734-F6BD-42DF-9EB4-308788CD1D74}"/>
          </ac:spMkLst>
        </pc:spChg>
        <pc:spChg chg="add del">
          <ac:chgData name="Daniele, L.M. (Laura)" userId="fd7970a2-7a0c-4b70-8263-dcc64c0076cf" providerId="ADAL" clId="{05A1DA8D-63B9-4B1C-AA10-E7BD2B032652}" dt="2020-06-12T12:21:53.269" v="1950"/>
          <ac:spMkLst>
            <pc:docMk/>
            <pc:sldMk cId="2492775226" sldId="377"/>
            <ac:spMk id="6" creationId="{3C1BA77B-26FF-4432-A58E-384D8D05B9EC}"/>
          </ac:spMkLst>
        </pc:spChg>
        <pc:spChg chg="add del">
          <ac:chgData name="Daniele, L.M. (Laura)" userId="fd7970a2-7a0c-4b70-8263-dcc64c0076cf" providerId="ADAL" clId="{05A1DA8D-63B9-4B1C-AA10-E7BD2B032652}" dt="2020-06-12T12:21:53.269" v="1950"/>
          <ac:spMkLst>
            <pc:docMk/>
            <pc:sldMk cId="2492775226" sldId="377"/>
            <ac:spMk id="7" creationId="{1392C359-9B6D-4622-8BCC-2C23F6341046}"/>
          </ac:spMkLst>
        </pc:spChg>
        <pc:spChg chg="add del">
          <ac:chgData name="Daniele, L.M. (Laura)" userId="fd7970a2-7a0c-4b70-8263-dcc64c0076cf" providerId="ADAL" clId="{05A1DA8D-63B9-4B1C-AA10-E7BD2B032652}" dt="2020-06-12T12:21:53.269" v="1950"/>
          <ac:spMkLst>
            <pc:docMk/>
            <pc:sldMk cId="2492775226" sldId="377"/>
            <ac:spMk id="8" creationId="{959B2BC4-C412-44E7-AB0A-0722F9944067}"/>
          </ac:spMkLst>
        </pc:spChg>
        <pc:spChg chg="add del">
          <ac:chgData name="Daniele, L.M. (Laura)" userId="fd7970a2-7a0c-4b70-8263-dcc64c0076cf" providerId="ADAL" clId="{05A1DA8D-63B9-4B1C-AA10-E7BD2B032652}" dt="2020-06-12T12:21:53.269" v="1950"/>
          <ac:spMkLst>
            <pc:docMk/>
            <pc:sldMk cId="2492775226" sldId="377"/>
            <ac:spMk id="9" creationId="{C0A7D8A2-C523-4A09-AE9D-097E67CF0FCC}"/>
          </ac:spMkLst>
        </pc:spChg>
        <pc:spChg chg="add del">
          <ac:chgData name="Daniele, L.M. (Laura)" userId="fd7970a2-7a0c-4b70-8263-dcc64c0076cf" providerId="ADAL" clId="{05A1DA8D-63B9-4B1C-AA10-E7BD2B032652}" dt="2020-06-12T12:21:53.269" v="1950"/>
          <ac:spMkLst>
            <pc:docMk/>
            <pc:sldMk cId="2492775226" sldId="377"/>
            <ac:spMk id="10" creationId="{BCBD975E-DCAF-4B13-AEC5-AF87E83410D7}"/>
          </ac:spMkLst>
        </pc:spChg>
        <pc:spChg chg="add del">
          <ac:chgData name="Daniele, L.M. (Laura)" userId="fd7970a2-7a0c-4b70-8263-dcc64c0076cf" providerId="ADAL" clId="{05A1DA8D-63B9-4B1C-AA10-E7BD2B032652}" dt="2020-06-12T12:21:53.269" v="1950"/>
          <ac:spMkLst>
            <pc:docMk/>
            <pc:sldMk cId="2492775226" sldId="377"/>
            <ac:spMk id="11" creationId="{335279DE-1A02-43D8-ABC2-699D7754D371}"/>
          </ac:spMkLst>
        </pc:spChg>
        <pc:spChg chg="add del">
          <ac:chgData name="Daniele, L.M. (Laura)" userId="fd7970a2-7a0c-4b70-8263-dcc64c0076cf" providerId="ADAL" clId="{05A1DA8D-63B9-4B1C-AA10-E7BD2B032652}" dt="2020-06-12T12:21:53.269" v="1950"/>
          <ac:spMkLst>
            <pc:docMk/>
            <pc:sldMk cId="2492775226" sldId="377"/>
            <ac:spMk id="12" creationId="{903A0F38-5E3A-472F-BC99-0C81D2DE21C3}"/>
          </ac:spMkLst>
        </pc:spChg>
        <pc:spChg chg="add del">
          <ac:chgData name="Daniele, L.M. (Laura)" userId="fd7970a2-7a0c-4b70-8263-dcc64c0076cf" providerId="ADAL" clId="{05A1DA8D-63B9-4B1C-AA10-E7BD2B032652}" dt="2020-06-12T12:21:53.269" v="1950"/>
          <ac:spMkLst>
            <pc:docMk/>
            <pc:sldMk cId="2492775226" sldId="377"/>
            <ac:spMk id="13" creationId="{0EDC1D04-14F7-4333-B6B9-83B831863C84}"/>
          </ac:spMkLst>
        </pc:spChg>
        <pc:spChg chg="add">
          <ac:chgData name="Daniele, L.M. (Laura)" userId="fd7970a2-7a0c-4b70-8263-dcc64c0076cf" providerId="ADAL" clId="{05A1DA8D-63B9-4B1C-AA10-E7BD2B032652}" dt="2020-06-12T12:21:59.844" v="1951"/>
          <ac:spMkLst>
            <pc:docMk/>
            <pc:sldMk cId="2492775226" sldId="377"/>
            <ac:spMk id="15" creationId="{318F3A1D-1AAC-48D9-8D6D-F742A49B7F11}"/>
          </ac:spMkLst>
        </pc:spChg>
        <pc:spChg chg="add">
          <ac:chgData name="Daniele, L.M. (Laura)" userId="fd7970a2-7a0c-4b70-8263-dcc64c0076cf" providerId="ADAL" clId="{05A1DA8D-63B9-4B1C-AA10-E7BD2B032652}" dt="2020-06-12T12:21:59.844" v="1951"/>
          <ac:spMkLst>
            <pc:docMk/>
            <pc:sldMk cId="2492775226" sldId="377"/>
            <ac:spMk id="16" creationId="{92BA3018-09B2-48D4-BD61-2478585CC8E6}"/>
          </ac:spMkLst>
        </pc:spChg>
        <pc:spChg chg="add">
          <ac:chgData name="Daniele, L.M. (Laura)" userId="fd7970a2-7a0c-4b70-8263-dcc64c0076cf" providerId="ADAL" clId="{05A1DA8D-63B9-4B1C-AA10-E7BD2B032652}" dt="2020-06-12T12:21:59.844" v="1951"/>
          <ac:spMkLst>
            <pc:docMk/>
            <pc:sldMk cId="2492775226" sldId="377"/>
            <ac:spMk id="17" creationId="{66EDF877-2042-498C-B4A7-8A1EC74F8277}"/>
          </ac:spMkLst>
        </pc:spChg>
        <pc:spChg chg="add">
          <ac:chgData name="Daniele, L.M. (Laura)" userId="fd7970a2-7a0c-4b70-8263-dcc64c0076cf" providerId="ADAL" clId="{05A1DA8D-63B9-4B1C-AA10-E7BD2B032652}" dt="2020-06-12T12:21:59.844" v="1951"/>
          <ac:spMkLst>
            <pc:docMk/>
            <pc:sldMk cId="2492775226" sldId="377"/>
            <ac:spMk id="18" creationId="{44C484F1-EDE9-47F7-9A32-A0157C5D861F}"/>
          </ac:spMkLst>
        </pc:spChg>
        <pc:spChg chg="add">
          <ac:chgData name="Daniele, L.M. (Laura)" userId="fd7970a2-7a0c-4b70-8263-dcc64c0076cf" providerId="ADAL" clId="{05A1DA8D-63B9-4B1C-AA10-E7BD2B032652}" dt="2020-06-12T12:21:59.844" v="1951"/>
          <ac:spMkLst>
            <pc:docMk/>
            <pc:sldMk cId="2492775226" sldId="377"/>
            <ac:spMk id="19" creationId="{F99CADAA-60F3-4E6C-A7AD-B72EE369250A}"/>
          </ac:spMkLst>
        </pc:spChg>
        <pc:spChg chg="add">
          <ac:chgData name="Daniele, L.M. (Laura)" userId="fd7970a2-7a0c-4b70-8263-dcc64c0076cf" providerId="ADAL" clId="{05A1DA8D-63B9-4B1C-AA10-E7BD2B032652}" dt="2020-06-12T12:21:59.844" v="1951"/>
          <ac:spMkLst>
            <pc:docMk/>
            <pc:sldMk cId="2492775226" sldId="377"/>
            <ac:spMk id="20" creationId="{A584BA73-5D0A-456C-9E22-B9E20B1E3687}"/>
          </ac:spMkLst>
        </pc:spChg>
        <pc:spChg chg="add">
          <ac:chgData name="Daniele, L.M. (Laura)" userId="fd7970a2-7a0c-4b70-8263-dcc64c0076cf" providerId="ADAL" clId="{05A1DA8D-63B9-4B1C-AA10-E7BD2B032652}" dt="2020-06-12T12:21:59.844" v="1951"/>
          <ac:spMkLst>
            <pc:docMk/>
            <pc:sldMk cId="2492775226" sldId="377"/>
            <ac:spMk id="21" creationId="{FBAEA99E-CB51-4AC6-AC76-21F70CB3363D}"/>
          </ac:spMkLst>
        </pc:spChg>
        <pc:spChg chg="add">
          <ac:chgData name="Daniele, L.M. (Laura)" userId="fd7970a2-7a0c-4b70-8263-dcc64c0076cf" providerId="ADAL" clId="{05A1DA8D-63B9-4B1C-AA10-E7BD2B032652}" dt="2020-06-12T12:21:59.844" v="1951"/>
          <ac:spMkLst>
            <pc:docMk/>
            <pc:sldMk cId="2492775226" sldId="377"/>
            <ac:spMk id="22" creationId="{B3BCD074-7435-475C-96C0-F50699FA6934}"/>
          </ac:spMkLst>
        </pc:spChg>
        <pc:spChg chg="add del">
          <ac:chgData name="Daniele, L.M. (Laura)" userId="fd7970a2-7a0c-4b70-8263-dcc64c0076cf" providerId="ADAL" clId="{05A1DA8D-63B9-4B1C-AA10-E7BD2B032652}" dt="2020-06-12T12:22:19.796" v="1953"/>
          <ac:spMkLst>
            <pc:docMk/>
            <pc:sldMk cId="2492775226" sldId="377"/>
            <ac:spMk id="23" creationId="{9F3D9A3A-7C46-4115-BDE4-994FA844AA42}"/>
          </ac:spMkLst>
        </pc:spChg>
        <pc:picChg chg="add del">
          <ac:chgData name="Daniele, L.M. (Laura)" userId="fd7970a2-7a0c-4b70-8263-dcc64c0076cf" providerId="ADAL" clId="{05A1DA8D-63B9-4B1C-AA10-E7BD2B032652}" dt="2020-06-12T12:21:53.269" v="1950"/>
          <ac:picMkLst>
            <pc:docMk/>
            <pc:sldMk cId="2492775226" sldId="377"/>
            <ac:picMk id="5" creationId="{13E69EA5-C33B-49B6-8262-C4E933A43A9A}"/>
          </ac:picMkLst>
        </pc:picChg>
        <pc:picChg chg="add">
          <ac:chgData name="Daniele, L.M. (Laura)" userId="fd7970a2-7a0c-4b70-8263-dcc64c0076cf" providerId="ADAL" clId="{05A1DA8D-63B9-4B1C-AA10-E7BD2B032652}" dt="2020-06-12T12:21:59.844" v="1951"/>
          <ac:picMkLst>
            <pc:docMk/>
            <pc:sldMk cId="2492775226" sldId="377"/>
            <ac:picMk id="14" creationId="{4C8E7BF2-E278-4606-960B-1CEC9C8E7C30}"/>
          </ac:picMkLst>
        </pc:picChg>
      </pc:sldChg>
      <pc:sldChg chg="add del">
        <pc:chgData name="Daniele, L.M. (Laura)" userId="fd7970a2-7a0c-4b70-8263-dcc64c0076cf" providerId="ADAL" clId="{05A1DA8D-63B9-4B1C-AA10-E7BD2B032652}" dt="2020-06-17T13:02:13.569" v="7899" actId="2696"/>
        <pc:sldMkLst>
          <pc:docMk/>
          <pc:sldMk cId="3198830685" sldId="377"/>
        </pc:sldMkLst>
      </pc:sldChg>
      <pc:sldChg chg="addSp modSp add">
        <pc:chgData name="Daniele, L.M. (Laura)" userId="fd7970a2-7a0c-4b70-8263-dcc64c0076cf" providerId="ADAL" clId="{05A1DA8D-63B9-4B1C-AA10-E7BD2B032652}" dt="2020-06-17T12:51:34.266" v="7775"/>
        <pc:sldMkLst>
          <pc:docMk/>
          <pc:sldMk cId="1962837557" sldId="378"/>
        </pc:sldMkLst>
        <pc:spChg chg="mod">
          <ac:chgData name="Daniele, L.M. (Laura)" userId="fd7970a2-7a0c-4b70-8263-dcc64c0076cf" providerId="ADAL" clId="{05A1DA8D-63B9-4B1C-AA10-E7BD2B032652}" dt="2020-06-17T12:49:32.170" v="7718" actId="404"/>
          <ac:spMkLst>
            <pc:docMk/>
            <pc:sldMk cId="1962837557" sldId="378"/>
            <ac:spMk id="3" creationId="{923D42D1-1F34-40BB-9E8D-5C741129D4F8}"/>
          </ac:spMkLst>
        </pc:spChg>
        <pc:picChg chg="add mod">
          <ac:chgData name="Daniele, L.M. (Laura)" userId="fd7970a2-7a0c-4b70-8263-dcc64c0076cf" providerId="ADAL" clId="{05A1DA8D-63B9-4B1C-AA10-E7BD2B032652}" dt="2020-06-17T12:49:36.768" v="7719" actId="1076"/>
          <ac:picMkLst>
            <pc:docMk/>
            <pc:sldMk cId="1962837557" sldId="378"/>
            <ac:picMk id="5" creationId="{0F7F9B85-7771-41B2-B205-6F0FB0D2A9CD}"/>
          </ac:picMkLst>
        </pc:picChg>
        <pc:picChg chg="add">
          <ac:chgData name="Daniele, L.M. (Laura)" userId="fd7970a2-7a0c-4b70-8263-dcc64c0076cf" providerId="ADAL" clId="{05A1DA8D-63B9-4B1C-AA10-E7BD2B032652}" dt="2020-06-17T12:51:34.266" v="7775"/>
          <ac:picMkLst>
            <pc:docMk/>
            <pc:sldMk cId="1962837557" sldId="378"/>
            <ac:picMk id="6" creationId="{25A58850-38E9-4C7D-B85F-6C23DF40F93D}"/>
          </ac:picMkLst>
        </pc:picChg>
      </pc:sldChg>
      <pc:sldChg chg="add del">
        <pc:chgData name="Daniele, L.M. (Laura)" userId="fd7970a2-7a0c-4b70-8263-dcc64c0076cf" providerId="ADAL" clId="{05A1DA8D-63B9-4B1C-AA10-E7BD2B032652}" dt="2020-06-12T12:35:47.821" v="2034" actId="2696"/>
        <pc:sldMkLst>
          <pc:docMk/>
          <pc:sldMk cId="1952874718" sldId="379"/>
        </pc:sldMkLst>
      </pc:sldChg>
      <pc:sldChg chg="addSp modSp add">
        <pc:chgData name="Daniele, L.M. (Laura)" userId="fd7970a2-7a0c-4b70-8263-dcc64c0076cf" providerId="ADAL" clId="{05A1DA8D-63B9-4B1C-AA10-E7BD2B032652}" dt="2020-06-17T13:05:06.173" v="7938"/>
        <pc:sldMkLst>
          <pc:docMk/>
          <pc:sldMk cId="2158472954" sldId="379"/>
        </pc:sldMkLst>
        <pc:spChg chg="mod">
          <ac:chgData name="Daniele, L.M. (Laura)" userId="fd7970a2-7a0c-4b70-8263-dcc64c0076cf" providerId="ADAL" clId="{05A1DA8D-63B9-4B1C-AA10-E7BD2B032652}" dt="2020-06-17T13:05:05.459" v="7937" actId="1076"/>
          <ac:spMkLst>
            <pc:docMk/>
            <pc:sldMk cId="2158472954" sldId="379"/>
            <ac:spMk id="5" creationId="{436F017D-ED60-4C88-B16C-90637D8237C8}"/>
          </ac:spMkLst>
        </pc:spChg>
        <pc:picChg chg="add">
          <ac:chgData name="Daniele, L.M. (Laura)" userId="fd7970a2-7a0c-4b70-8263-dcc64c0076cf" providerId="ADAL" clId="{05A1DA8D-63B9-4B1C-AA10-E7BD2B032652}" dt="2020-06-17T13:05:06.173" v="7938"/>
          <ac:picMkLst>
            <pc:docMk/>
            <pc:sldMk cId="2158472954" sldId="379"/>
            <ac:picMk id="6" creationId="{80F617CB-EFF2-4729-A6ED-CDBF89E0AA9C}"/>
          </ac:picMkLst>
        </pc:picChg>
      </pc:sldChg>
      <pc:sldChg chg="add del">
        <pc:chgData name="Daniele, L.M. (Laura)" userId="fd7970a2-7a0c-4b70-8263-dcc64c0076cf" providerId="ADAL" clId="{05A1DA8D-63B9-4B1C-AA10-E7BD2B032652}" dt="2020-06-12T12:35:53.327" v="2035" actId="2696"/>
        <pc:sldMkLst>
          <pc:docMk/>
          <pc:sldMk cId="1502353771" sldId="380"/>
        </pc:sldMkLst>
      </pc:sldChg>
      <pc:sldChg chg="modSp add del">
        <pc:chgData name="Daniele, L.M. (Laura)" userId="fd7970a2-7a0c-4b70-8263-dcc64c0076cf" providerId="ADAL" clId="{05A1DA8D-63B9-4B1C-AA10-E7BD2B032652}" dt="2020-06-17T13:06:26.324" v="7947" actId="2696"/>
        <pc:sldMkLst>
          <pc:docMk/>
          <pc:sldMk cId="54903843" sldId="381"/>
        </pc:sldMkLst>
        <pc:spChg chg="mod">
          <ac:chgData name="Daniele, L.M. (Laura)" userId="fd7970a2-7a0c-4b70-8263-dcc64c0076cf" providerId="ADAL" clId="{05A1DA8D-63B9-4B1C-AA10-E7BD2B032652}" dt="2020-06-12T12:34:57.324" v="2030" actId="20577"/>
          <ac:spMkLst>
            <pc:docMk/>
            <pc:sldMk cId="54903843" sldId="381"/>
            <ac:spMk id="4" creationId="{00000000-0000-0000-0000-000000000000}"/>
          </ac:spMkLst>
        </pc:spChg>
      </pc:sldChg>
      <pc:sldChg chg="modSp add del">
        <pc:chgData name="Daniele, L.M. (Laura)" userId="fd7970a2-7a0c-4b70-8263-dcc64c0076cf" providerId="ADAL" clId="{05A1DA8D-63B9-4B1C-AA10-E7BD2B032652}" dt="2020-06-17T13:03:25.946" v="7923" actId="2696"/>
        <pc:sldMkLst>
          <pc:docMk/>
          <pc:sldMk cId="2394268256" sldId="382"/>
        </pc:sldMkLst>
        <pc:spChg chg="mod">
          <ac:chgData name="Daniele, L.M. (Laura)" userId="fd7970a2-7a0c-4b70-8263-dcc64c0076cf" providerId="ADAL" clId="{05A1DA8D-63B9-4B1C-AA10-E7BD2B032652}" dt="2020-06-17T13:02:50.657" v="7921" actId="20577"/>
          <ac:spMkLst>
            <pc:docMk/>
            <pc:sldMk cId="2394268256" sldId="382"/>
            <ac:spMk id="4" creationId="{00000000-0000-0000-0000-000000000000}"/>
          </ac:spMkLst>
        </pc:spChg>
      </pc:sldChg>
      <pc:sldChg chg="modSp add">
        <pc:chgData name="Daniele, L.M. (Laura)" userId="fd7970a2-7a0c-4b70-8263-dcc64c0076cf" providerId="ADAL" clId="{05A1DA8D-63B9-4B1C-AA10-E7BD2B032652}" dt="2020-06-17T13:03:37.363" v="7926" actId="20577"/>
        <pc:sldMkLst>
          <pc:docMk/>
          <pc:sldMk cId="3934794889" sldId="382"/>
        </pc:sldMkLst>
        <pc:spChg chg="mod">
          <ac:chgData name="Daniele, L.M. (Laura)" userId="fd7970a2-7a0c-4b70-8263-dcc64c0076cf" providerId="ADAL" clId="{05A1DA8D-63B9-4B1C-AA10-E7BD2B032652}" dt="2020-06-17T13:03:37.363" v="7926" actId="20577"/>
          <ac:spMkLst>
            <pc:docMk/>
            <pc:sldMk cId="3934794889" sldId="382"/>
            <ac:spMk id="4" creationId="{00000000-0000-0000-0000-000000000000}"/>
          </ac:spMkLst>
        </pc:spChg>
      </pc:sldChg>
      <pc:sldChg chg="addSp modSp add">
        <pc:chgData name="Daniele, L.M. (Laura)" userId="fd7970a2-7a0c-4b70-8263-dcc64c0076cf" providerId="ADAL" clId="{05A1DA8D-63B9-4B1C-AA10-E7BD2B032652}" dt="2020-06-17T12:57:39.802" v="7886" actId="20577"/>
        <pc:sldMkLst>
          <pc:docMk/>
          <pc:sldMk cId="1852731312" sldId="383"/>
        </pc:sldMkLst>
        <pc:spChg chg="mod">
          <ac:chgData name="Daniele, L.M. (Laura)" userId="fd7970a2-7a0c-4b70-8263-dcc64c0076cf" providerId="ADAL" clId="{05A1DA8D-63B9-4B1C-AA10-E7BD2B032652}" dt="2020-06-17T12:57:39.802" v="7886" actId="20577"/>
          <ac:spMkLst>
            <pc:docMk/>
            <pc:sldMk cId="1852731312" sldId="383"/>
            <ac:spMk id="3" creationId="{923D42D1-1F34-40BB-9E8D-5C741129D4F8}"/>
          </ac:spMkLst>
        </pc:spChg>
        <pc:picChg chg="add mod">
          <ac:chgData name="Daniele, L.M. (Laura)" userId="fd7970a2-7a0c-4b70-8263-dcc64c0076cf" providerId="ADAL" clId="{05A1DA8D-63B9-4B1C-AA10-E7BD2B032652}" dt="2020-06-17T12:54:00.028" v="7808" actId="14100"/>
          <ac:picMkLst>
            <pc:docMk/>
            <pc:sldMk cId="1852731312" sldId="383"/>
            <ac:picMk id="5" creationId="{C3F32C74-8629-4621-9A80-51AE7BFA4244}"/>
          </ac:picMkLst>
        </pc:picChg>
        <pc:picChg chg="add">
          <ac:chgData name="Daniele, L.M. (Laura)" userId="fd7970a2-7a0c-4b70-8263-dcc64c0076cf" providerId="ADAL" clId="{05A1DA8D-63B9-4B1C-AA10-E7BD2B032652}" dt="2020-06-17T12:55:43.310" v="7834"/>
          <ac:picMkLst>
            <pc:docMk/>
            <pc:sldMk cId="1852731312" sldId="383"/>
            <ac:picMk id="6" creationId="{8C00247F-9C9E-4C0C-9685-A86332EBB252}"/>
          </ac:picMkLst>
        </pc:picChg>
      </pc:sldChg>
      <pc:sldChg chg="addSp add">
        <pc:chgData name="Daniele, L.M. (Laura)" userId="fd7970a2-7a0c-4b70-8263-dcc64c0076cf" providerId="ADAL" clId="{05A1DA8D-63B9-4B1C-AA10-E7BD2B032652}" dt="2020-06-17T13:04:24.801" v="7929"/>
        <pc:sldMkLst>
          <pc:docMk/>
          <pc:sldMk cId="4014903802" sldId="384"/>
        </pc:sldMkLst>
        <pc:picChg chg="add">
          <ac:chgData name="Daniele, L.M. (Laura)" userId="fd7970a2-7a0c-4b70-8263-dcc64c0076cf" providerId="ADAL" clId="{05A1DA8D-63B9-4B1C-AA10-E7BD2B032652}" dt="2020-06-17T13:04:24.801" v="7929"/>
          <ac:picMkLst>
            <pc:docMk/>
            <pc:sldMk cId="4014903802" sldId="384"/>
            <ac:picMk id="5" creationId="{DC556839-1CDE-4A59-9AAC-776FEBE4E7BB}"/>
          </ac:picMkLst>
        </pc:picChg>
      </pc:sldChg>
      <pc:sldChg chg="addSp modSp add">
        <pc:chgData name="Daniele, L.M. (Laura)" userId="fd7970a2-7a0c-4b70-8263-dcc64c0076cf" providerId="ADAL" clId="{05A1DA8D-63B9-4B1C-AA10-E7BD2B032652}" dt="2020-06-17T13:05:00.696" v="7936" actId="1076"/>
        <pc:sldMkLst>
          <pc:docMk/>
          <pc:sldMk cId="2138000111" sldId="385"/>
        </pc:sldMkLst>
        <pc:spChg chg="mod">
          <ac:chgData name="Daniele, L.M. (Laura)" userId="fd7970a2-7a0c-4b70-8263-dcc64c0076cf" providerId="ADAL" clId="{05A1DA8D-63B9-4B1C-AA10-E7BD2B032652}" dt="2020-06-17T13:05:00.696" v="7936" actId="1076"/>
          <ac:spMkLst>
            <pc:docMk/>
            <pc:sldMk cId="2138000111" sldId="385"/>
            <ac:spMk id="5" creationId="{CFC8412D-83CC-4727-B6F2-6E1DDCB16FDA}"/>
          </ac:spMkLst>
        </pc:spChg>
        <pc:picChg chg="add">
          <ac:chgData name="Daniele, L.M. (Laura)" userId="fd7970a2-7a0c-4b70-8263-dcc64c0076cf" providerId="ADAL" clId="{05A1DA8D-63B9-4B1C-AA10-E7BD2B032652}" dt="2020-06-17T13:04:56.687" v="7935"/>
          <ac:picMkLst>
            <pc:docMk/>
            <pc:sldMk cId="2138000111" sldId="385"/>
            <ac:picMk id="6" creationId="{95BBDB5B-231C-4DAE-9396-55B5F8BD65F3}"/>
          </ac:picMkLst>
        </pc:picChg>
      </pc:sldChg>
      <pc:sldChg chg="addSp modSp add">
        <pc:chgData name="Daniele, L.M. (Laura)" userId="fd7970a2-7a0c-4b70-8263-dcc64c0076cf" providerId="ADAL" clId="{05A1DA8D-63B9-4B1C-AA10-E7BD2B032652}" dt="2020-06-12T16:03:24.618" v="3826" actId="6549"/>
        <pc:sldMkLst>
          <pc:docMk/>
          <pc:sldMk cId="3838318886" sldId="386"/>
        </pc:sldMkLst>
        <pc:spChg chg="mod">
          <ac:chgData name="Daniele, L.M. (Laura)" userId="fd7970a2-7a0c-4b70-8263-dcc64c0076cf" providerId="ADAL" clId="{05A1DA8D-63B9-4B1C-AA10-E7BD2B032652}" dt="2020-06-12T16:03:24.618" v="3826" actId="6549"/>
          <ac:spMkLst>
            <pc:docMk/>
            <pc:sldMk cId="3838318886" sldId="386"/>
            <ac:spMk id="3" creationId="{83A1818B-EC20-409A-BC35-074CD75E24AC}"/>
          </ac:spMkLst>
        </pc:spChg>
        <pc:spChg chg="add">
          <ac:chgData name="Daniele, L.M. (Laura)" userId="fd7970a2-7a0c-4b70-8263-dcc64c0076cf" providerId="ADAL" clId="{05A1DA8D-63B9-4B1C-AA10-E7BD2B032652}" dt="2020-06-12T13:41:13.998" v="3190"/>
          <ac:spMkLst>
            <pc:docMk/>
            <pc:sldMk cId="3838318886" sldId="386"/>
            <ac:spMk id="6" creationId="{B8767896-B0BC-44E0-BFCD-4D6AEF95320E}"/>
          </ac:spMkLst>
        </pc:spChg>
      </pc:sldChg>
      <pc:sldChg chg="addSp modSp add">
        <pc:chgData name="Daniele, L.M. (Laura)" userId="fd7970a2-7a0c-4b70-8263-dcc64c0076cf" providerId="ADAL" clId="{05A1DA8D-63B9-4B1C-AA10-E7BD2B032652}" dt="2020-06-12T13:38:56.783" v="3173" actId="20577"/>
        <pc:sldMkLst>
          <pc:docMk/>
          <pc:sldMk cId="3907524559" sldId="387"/>
        </pc:sldMkLst>
        <pc:spChg chg="mod">
          <ac:chgData name="Daniele, L.M. (Laura)" userId="fd7970a2-7a0c-4b70-8263-dcc64c0076cf" providerId="ADAL" clId="{05A1DA8D-63B9-4B1C-AA10-E7BD2B032652}" dt="2020-06-12T13:37:51.646" v="3168" actId="20577"/>
          <ac:spMkLst>
            <pc:docMk/>
            <pc:sldMk cId="3907524559" sldId="387"/>
            <ac:spMk id="2" creationId="{35258151-2BDA-420A-B170-6C531CD4A7E6}"/>
          </ac:spMkLst>
        </pc:spChg>
        <pc:spChg chg="mod">
          <ac:chgData name="Daniele, L.M. (Laura)" userId="fd7970a2-7a0c-4b70-8263-dcc64c0076cf" providerId="ADAL" clId="{05A1DA8D-63B9-4B1C-AA10-E7BD2B032652}" dt="2020-06-12T13:38:56.783" v="3173" actId="20577"/>
          <ac:spMkLst>
            <pc:docMk/>
            <pc:sldMk cId="3907524559" sldId="387"/>
            <ac:spMk id="3" creationId="{83A1818B-EC20-409A-BC35-074CD75E24AC}"/>
          </ac:spMkLst>
        </pc:spChg>
        <pc:spChg chg="add mod">
          <ac:chgData name="Daniele, L.M. (Laura)" userId="fd7970a2-7a0c-4b70-8263-dcc64c0076cf" providerId="ADAL" clId="{05A1DA8D-63B9-4B1C-AA10-E7BD2B032652}" dt="2020-06-12T13:37:58.064" v="3169" actId="1076"/>
          <ac:spMkLst>
            <pc:docMk/>
            <pc:sldMk cId="3907524559" sldId="387"/>
            <ac:spMk id="6" creationId="{226B9BE6-68F3-4922-8350-0BD8106C6884}"/>
          </ac:spMkLst>
        </pc:spChg>
      </pc:sldChg>
      <pc:sldChg chg="add del">
        <pc:chgData name="Daniele, L.M. (Laura)" userId="fd7970a2-7a0c-4b70-8263-dcc64c0076cf" providerId="ADAL" clId="{05A1DA8D-63B9-4B1C-AA10-E7BD2B032652}" dt="2020-06-12T12:50:40.268" v="2314" actId="2696"/>
        <pc:sldMkLst>
          <pc:docMk/>
          <pc:sldMk cId="592290940" sldId="388"/>
        </pc:sldMkLst>
      </pc:sldChg>
      <pc:sldChg chg="modSp add">
        <pc:chgData name="Daniele, L.M. (Laura)" userId="fd7970a2-7a0c-4b70-8263-dcc64c0076cf" providerId="ADAL" clId="{05A1DA8D-63B9-4B1C-AA10-E7BD2B032652}" dt="2020-06-12T12:53:36.132" v="2362" actId="20577"/>
        <pc:sldMkLst>
          <pc:docMk/>
          <pc:sldMk cId="886470883" sldId="388"/>
        </pc:sldMkLst>
        <pc:spChg chg="mod">
          <ac:chgData name="Daniele, L.M. (Laura)" userId="fd7970a2-7a0c-4b70-8263-dcc64c0076cf" providerId="ADAL" clId="{05A1DA8D-63B9-4B1C-AA10-E7BD2B032652}" dt="2020-06-12T12:53:36.132" v="2362" actId="20577"/>
          <ac:spMkLst>
            <pc:docMk/>
            <pc:sldMk cId="886470883" sldId="388"/>
            <ac:spMk id="4" creationId="{00000000-0000-0000-0000-000000000000}"/>
          </ac:spMkLst>
        </pc:spChg>
      </pc:sldChg>
      <pc:sldChg chg="modSp add">
        <pc:chgData name="Daniele, L.M. (Laura)" userId="fd7970a2-7a0c-4b70-8263-dcc64c0076cf" providerId="ADAL" clId="{05A1DA8D-63B9-4B1C-AA10-E7BD2B032652}" dt="2020-06-17T11:54:51.957" v="7297" actId="20577"/>
        <pc:sldMkLst>
          <pc:docMk/>
          <pc:sldMk cId="3673832125" sldId="389"/>
        </pc:sldMkLst>
        <pc:spChg chg="mod">
          <ac:chgData name="Daniele, L.M. (Laura)" userId="fd7970a2-7a0c-4b70-8263-dcc64c0076cf" providerId="ADAL" clId="{05A1DA8D-63B9-4B1C-AA10-E7BD2B032652}" dt="2020-06-17T11:54:51.957" v="7297" actId="20577"/>
          <ac:spMkLst>
            <pc:docMk/>
            <pc:sldMk cId="3673832125" sldId="389"/>
            <ac:spMk id="4" creationId="{00000000-0000-0000-0000-000000000000}"/>
          </ac:spMkLst>
        </pc:spChg>
      </pc:sldChg>
      <pc:sldChg chg="modSp add">
        <pc:chgData name="Daniele, L.M. (Laura)" userId="fd7970a2-7a0c-4b70-8263-dcc64c0076cf" providerId="ADAL" clId="{05A1DA8D-63B9-4B1C-AA10-E7BD2B032652}" dt="2020-06-17T13:33:07.722" v="8333" actId="20577"/>
        <pc:sldMkLst>
          <pc:docMk/>
          <pc:sldMk cId="1016425826" sldId="390"/>
        </pc:sldMkLst>
        <pc:spChg chg="mod">
          <ac:chgData name="Daniele, L.M. (Laura)" userId="fd7970a2-7a0c-4b70-8263-dcc64c0076cf" providerId="ADAL" clId="{05A1DA8D-63B9-4B1C-AA10-E7BD2B032652}" dt="2020-06-17T13:33:07.722" v="8333" actId="20577"/>
          <ac:spMkLst>
            <pc:docMk/>
            <pc:sldMk cId="1016425826" sldId="390"/>
            <ac:spMk id="2" creationId="{9B71C370-D5AD-4285-B597-DF811FF69E0D}"/>
          </ac:spMkLst>
        </pc:spChg>
        <pc:spChg chg="mod">
          <ac:chgData name="Daniele, L.M. (Laura)" userId="fd7970a2-7a0c-4b70-8263-dcc64c0076cf" providerId="ADAL" clId="{05A1DA8D-63B9-4B1C-AA10-E7BD2B032652}" dt="2020-06-12T14:27:47.851" v="3555" actId="20577"/>
          <ac:spMkLst>
            <pc:docMk/>
            <pc:sldMk cId="1016425826" sldId="390"/>
            <ac:spMk id="7" creationId="{50BD104E-D604-481F-9F5B-AB0FC4650B1F}"/>
          </ac:spMkLst>
        </pc:spChg>
      </pc:sldChg>
      <pc:sldChg chg="addSp modSp add del">
        <pc:chgData name="Daniele, L.M. (Laura)" userId="fd7970a2-7a0c-4b70-8263-dcc64c0076cf" providerId="ADAL" clId="{05A1DA8D-63B9-4B1C-AA10-E7BD2B032652}" dt="2020-06-12T13:32:32.812" v="3131" actId="2696"/>
        <pc:sldMkLst>
          <pc:docMk/>
          <pc:sldMk cId="658693503" sldId="391"/>
        </pc:sldMkLst>
        <pc:picChg chg="add mod">
          <ac:chgData name="Daniele, L.M. (Laura)" userId="fd7970a2-7a0c-4b70-8263-dcc64c0076cf" providerId="ADAL" clId="{05A1DA8D-63B9-4B1C-AA10-E7BD2B032652}" dt="2020-06-12T13:05:12.459" v="2718" actId="1076"/>
          <ac:picMkLst>
            <pc:docMk/>
            <pc:sldMk cId="658693503" sldId="391"/>
            <ac:picMk id="49" creationId="{CFC738DB-2412-4E27-A1B2-766B1A3FB745}"/>
          </ac:picMkLst>
        </pc:picChg>
      </pc:sldChg>
      <pc:sldChg chg="addSp modSp add ord">
        <pc:chgData name="Daniele, L.M. (Laura)" userId="fd7970a2-7a0c-4b70-8263-dcc64c0076cf" providerId="ADAL" clId="{05A1DA8D-63B9-4B1C-AA10-E7BD2B032652}" dt="2020-06-17T12:33:36.530" v="7616" actId="1076"/>
        <pc:sldMkLst>
          <pc:docMk/>
          <pc:sldMk cId="3729947378" sldId="391"/>
        </pc:sldMkLst>
        <pc:spChg chg="mod">
          <ac:chgData name="Daniele, L.M. (Laura)" userId="fd7970a2-7a0c-4b70-8263-dcc64c0076cf" providerId="ADAL" clId="{05A1DA8D-63B9-4B1C-AA10-E7BD2B032652}" dt="2020-06-12T13:35:12.837" v="3143" actId="20577"/>
          <ac:spMkLst>
            <pc:docMk/>
            <pc:sldMk cId="3729947378" sldId="391"/>
            <ac:spMk id="2" creationId="{E65EA8EB-5B95-4B3E-AFEB-4D36817F800D}"/>
          </ac:spMkLst>
        </pc:spChg>
        <pc:spChg chg="mod">
          <ac:chgData name="Daniele, L.M. (Laura)" userId="fd7970a2-7a0c-4b70-8263-dcc64c0076cf" providerId="ADAL" clId="{05A1DA8D-63B9-4B1C-AA10-E7BD2B032652}" dt="2020-06-17T12:33:36.530" v="7616" actId="1076"/>
          <ac:spMkLst>
            <pc:docMk/>
            <pc:sldMk cId="3729947378" sldId="391"/>
            <ac:spMk id="3" creationId="{616F6F67-1D29-49D7-80D8-0143ABD325DF}"/>
          </ac:spMkLst>
        </pc:spChg>
        <pc:spChg chg="add mod">
          <ac:chgData name="Daniele, L.M. (Laura)" userId="fd7970a2-7a0c-4b70-8263-dcc64c0076cf" providerId="ADAL" clId="{05A1DA8D-63B9-4B1C-AA10-E7BD2B032652}" dt="2020-06-12T13:37:35.578" v="3161" actId="1076"/>
          <ac:spMkLst>
            <pc:docMk/>
            <pc:sldMk cId="3729947378" sldId="391"/>
            <ac:spMk id="5" creationId="{46C89B71-904F-4D1E-AE0B-963C451DF01B}"/>
          </ac:spMkLst>
        </pc:spChg>
        <pc:picChg chg="add">
          <ac:chgData name="Daniele, L.M. (Laura)" userId="fd7970a2-7a0c-4b70-8263-dcc64c0076cf" providerId="ADAL" clId="{05A1DA8D-63B9-4B1C-AA10-E7BD2B032652}" dt="2020-06-12T13:38:10.616" v="3170"/>
          <ac:picMkLst>
            <pc:docMk/>
            <pc:sldMk cId="3729947378" sldId="391"/>
            <ac:picMk id="6" creationId="{46B25073-84DD-4280-BF8C-D92208FAE9CB}"/>
          </ac:picMkLst>
        </pc:picChg>
      </pc:sldChg>
      <pc:sldChg chg="modSp add del">
        <pc:chgData name="Daniele, L.M. (Laura)" userId="fd7970a2-7a0c-4b70-8263-dcc64c0076cf" providerId="ADAL" clId="{05A1DA8D-63B9-4B1C-AA10-E7BD2B032652}" dt="2020-06-12T13:46:54.221" v="3296" actId="2696"/>
        <pc:sldMkLst>
          <pc:docMk/>
          <pc:sldMk cId="1743797101" sldId="392"/>
        </pc:sldMkLst>
        <pc:spChg chg="mod">
          <ac:chgData name="Daniele, L.M. (Laura)" userId="fd7970a2-7a0c-4b70-8263-dcc64c0076cf" providerId="ADAL" clId="{05A1DA8D-63B9-4B1C-AA10-E7BD2B032652}" dt="2020-06-12T13:45:22.880" v="3279" actId="20577"/>
          <ac:spMkLst>
            <pc:docMk/>
            <pc:sldMk cId="1743797101" sldId="392"/>
            <ac:spMk id="2" creationId="{4FF6FB5A-D0CE-4088-AB2E-0ECEA9F00834}"/>
          </ac:spMkLst>
        </pc:spChg>
        <pc:spChg chg="mod">
          <ac:chgData name="Daniele, L.M. (Laura)" userId="fd7970a2-7a0c-4b70-8263-dcc64c0076cf" providerId="ADAL" clId="{05A1DA8D-63B9-4B1C-AA10-E7BD2B032652}" dt="2020-06-12T13:46:18.865" v="3284"/>
          <ac:spMkLst>
            <pc:docMk/>
            <pc:sldMk cId="1743797101" sldId="392"/>
            <ac:spMk id="3" creationId="{EFEF1005-C309-4EF4-A445-28B9AD91C0ED}"/>
          </ac:spMkLst>
        </pc:spChg>
      </pc:sldChg>
      <pc:sldChg chg="delSp add del">
        <pc:chgData name="Daniele, L.M. (Laura)" userId="fd7970a2-7a0c-4b70-8263-dcc64c0076cf" providerId="ADAL" clId="{05A1DA8D-63B9-4B1C-AA10-E7BD2B032652}" dt="2020-06-12T13:29:16.143" v="3129" actId="2696"/>
        <pc:sldMkLst>
          <pc:docMk/>
          <pc:sldMk cId="2471453556" sldId="392"/>
        </pc:sldMkLst>
        <pc:picChg chg="del">
          <ac:chgData name="Daniele, L.M. (Laura)" userId="fd7970a2-7a0c-4b70-8263-dcc64c0076cf" providerId="ADAL" clId="{05A1DA8D-63B9-4B1C-AA10-E7BD2B032652}" dt="2020-06-12T13:29:09.132" v="3128" actId="478"/>
          <ac:picMkLst>
            <pc:docMk/>
            <pc:sldMk cId="2471453556" sldId="392"/>
            <ac:picMk id="9" creationId="{F086B7E1-041E-4FAC-A2F0-B236DE02089C}"/>
          </ac:picMkLst>
        </pc:picChg>
      </pc:sldChg>
      <pc:sldChg chg="addSp modSp add">
        <pc:chgData name="Daniele, L.M. (Laura)" userId="fd7970a2-7a0c-4b70-8263-dcc64c0076cf" providerId="ADAL" clId="{05A1DA8D-63B9-4B1C-AA10-E7BD2B032652}" dt="2020-06-12T14:56:16.023" v="3743" actId="20577"/>
        <pc:sldMkLst>
          <pc:docMk/>
          <pc:sldMk cId="4079506863" sldId="393"/>
        </pc:sldMkLst>
        <pc:spChg chg="mod">
          <ac:chgData name="Daniele, L.M. (Laura)" userId="fd7970a2-7a0c-4b70-8263-dcc64c0076cf" providerId="ADAL" clId="{05A1DA8D-63B9-4B1C-AA10-E7BD2B032652}" dt="2020-06-12T14:30:49.675" v="3627" actId="1076"/>
          <ac:spMkLst>
            <pc:docMk/>
            <pc:sldMk cId="4079506863" sldId="393"/>
            <ac:spMk id="2" creationId="{9AB3A73B-A387-49D4-92FE-6AE21D19B4A5}"/>
          </ac:spMkLst>
        </pc:spChg>
        <pc:spChg chg="mod">
          <ac:chgData name="Daniele, L.M. (Laura)" userId="fd7970a2-7a0c-4b70-8263-dcc64c0076cf" providerId="ADAL" clId="{05A1DA8D-63B9-4B1C-AA10-E7BD2B032652}" dt="2020-06-12T14:56:16.023" v="3743" actId="20577"/>
          <ac:spMkLst>
            <pc:docMk/>
            <pc:sldMk cId="4079506863" sldId="393"/>
            <ac:spMk id="3" creationId="{22F8A877-A610-4BB3-80EC-87673FD3FD08}"/>
          </ac:spMkLst>
        </pc:spChg>
        <pc:spChg chg="add mod">
          <ac:chgData name="Daniele, L.M. (Laura)" userId="fd7970a2-7a0c-4b70-8263-dcc64c0076cf" providerId="ADAL" clId="{05A1DA8D-63B9-4B1C-AA10-E7BD2B032652}" dt="2020-06-12T14:32:49.543" v="3635" actId="20577"/>
          <ac:spMkLst>
            <pc:docMk/>
            <pc:sldMk cId="4079506863" sldId="393"/>
            <ac:spMk id="5" creationId="{CEF0BBC7-5C21-4F59-A03E-F65EEA955A10}"/>
          </ac:spMkLst>
        </pc:spChg>
        <pc:picChg chg="add">
          <ac:chgData name="Daniele, L.M. (Laura)" userId="fd7970a2-7a0c-4b70-8263-dcc64c0076cf" providerId="ADAL" clId="{05A1DA8D-63B9-4B1C-AA10-E7BD2B032652}" dt="2020-06-12T14:37:58.338" v="3683"/>
          <ac:picMkLst>
            <pc:docMk/>
            <pc:sldMk cId="4079506863" sldId="393"/>
            <ac:picMk id="6" creationId="{8EB6E0A4-1B28-443B-9765-56E7052852B7}"/>
          </ac:picMkLst>
        </pc:picChg>
      </pc:sldChg>
      <pc:sldChg chg="add del">
        <pc:chgData name="Daniele, L.M. (Laura)" userId="fd7970a2-7a0c-4b70-8263-dcc64c0076cf" providerId="ADAL" clId="{05A1DA8D-63B9-4B1C-AA10-E7BD2B032652}" dt="2020-06-17T13:11:26.253" v="8040" actId="2696"/>
        <pc:sldMkLst>
          <pc:docMk/>
          <pc:sldMk cId="544365001" sldId="394"/>
        </pc:sldMkLst>
      </pc:sldChg>
      <pc:sldChg chg="add del">
        <pc:chgData name="Daniele, L.M. (Laura)" userId="fd7970a2-7a0c-4b70-8263-dcc64c0076cf" providerId="ADAL" clId="{05A1DA8D-63B9-4B1C-AA10-E7BD2B032652}" dt="2020-06-12T14:00:59.662" v="3381"/>
        <pc:sldMkLst>
          <pc:docMk/>
          <pc:sldMk cId="1386966837" sldId="394"/>
        </pc:sldMkLst>
      </pc:sldChg>
      <pc:sldChg chg="add del">
        <pc:chgData name="Daniele, L.M. (Laura)" userId="fd7970a2-7a0c-4b70-8263-dcc64c0076cf" providerId="ADAL" clId="{05A1DA8D-63B9-4B1C-AA10-E7BD2B032652}" dt="2020-06-17T11:53:16.693" v="7257" actId="2696"/>
        <pc:sldMkLst>
          <pc:docMk/>
          <pc:sldMk cId="2038298165" sldId="394"/>
        </pc:sldMkLst>
      </pc:sldChg>
      <pc:sldChg chg="modSp add del ord">
        <pc:chgData name="Daniele, L.M. (Laura)" userId="fd7970a2-7a0c-4b70-8263-dcc64c0076cf" providerId="ADAL" clId="{05A1DA8D-63B9-4B1C-AA10-E7BD2B032652}" dt="2020-06-17T11:19:02.603" v="5524" actId="2696"/>
        <pc:sldMkLst>
          <pc:docMk/>
          <pc:sldMk cId="2711372097" sldId="394"/>
        </pc:sldMkLst>
        <pc:spChg chg="mod">
          <ac:chgData name="Daniele, L.M. (Laura)" userId="fd7970a2-7a0c-4b70-8263-dcc64c0076cf" providerId="ADAL" clId="{05A1DA8D-63B9-4B1C-AA10-E7BD2B032652}" dt="2020-06-12T14:21:47.624" v="3454" actId="20577"/>
          <ac:spMkLst>
            <pc:docMk/>
            <pc:sldMk cId="2711372097" sldId="394"/>
            <ac:spMk id="2" creationId="{1104FD77-20F8-4BD6-8BD9-1BA7CCF286B4}"/>
          </ac:spMkLst>
        </pc:spChg>
        <pc:spChg chg="mod">
          <ac:chgData name="Daniele, L.M. (Laura)" userId="fd7970a2-7a0c-4b70-8263-dcc64c0076cf" providerId="ADAL" clId="{05A1DA8D-63B9-4B1C-AA10-E7BD2B032652}" dt="2020-06-17T11:03:15.416" v="5497" actId="113"/>
          <ac:spMkLst>
            <pc:docMk/>
            <pc:sldMk cId="2711372097" sldId="394"/>
            <ac:spMk id="3" creationId="{738AAB32-07EC-4799-B310-809B9FBF5713}"/>
          </ac:spMkLst>
        </pc:spChg>
      </pc:sldChg>
      <pc:sldChg chg="modSp add del">
        <pc:chgData name="Daniele, L.M. (Laura)" userId="fd7970a2-7a0c-4b70-8263-dcc64c0076cf" providerId="ADAL" clId="{05A1DA8D-63B9-4B1C-AA10-E7BD2B032652}" dt="2020-06-17T11:27:07.174" v="5766" actId="2696"/>
        <pc:sldMkLst>
          <pc:docMk/>
          <pc:sldMk cId="863427286" sldId="395"/>
        </pc:sldMkLst>
        <pc:spChg chg="mod">
          <ac:chgData name="Daniele, L.M. (Laura)" userId="fd7970a2-7a0c-4b70-8263-dcc64c0076cf" providerId="ADAL" clId="{05A1DA8D-63B9-4B1C-AA10-E7BD2B032652}" dt="2020-06-12T16:02:29.717" v="3821" actId="20577"/>
          <ac:spMkLst>
            <pc:docMk/>
            <pc:sldMk cId="863427286" sldId="395"/>
            <ac:spMk id="4" creationId="{00000000-0000-0000-0000-000000000000}"/>
          </ac:spMkLst>
        </pc:spChg>
      </pc:sldChg>
      <pc:sldChg chg="modSp add">
        <pc:chgData name="Daniele, L.M. (Laura)" userId="fd7970a2-7a0c-4b70-8263-dcc64c0076cf" providerId="ADAL" clId="{05A1DA8D-63B9-4B1C-AA10-E7BD2B032652}" dt="2020-06-17T16:32:43.834" v="9600" actId="20577"/>
        <pc:sldMkLst>
          <pc:docMk/>
          <pc:sldMk cId="1712215888" sldId="395"/>
        </pc:sldMkLst>
        <pc:spChg chg="mod">
          <ac:chgData name="Daniele, L.M. (Laura)" userId="fd7970a2-7a0c-4b70-8263-dcc64c0076cf" providerId="ADAL" clId="{05A1DA8D-63B9-4B1C-AA10-E7BD2B032652}" dt="2020-06-17T16:32:43.834" v="9600" actId="20577"/>
          <ac:spMkLst>
            <pc:docMk/>
            <pc:sldMk cId="1712215888" sldId="395"/>
            <ac:spMk id="4" creationId="{00000000-0000-0000-0000-000000000000}"/>
          </ac:spMkLst>
        </pc:spChg>
      </pc:sldChg>
      <pc:sldChg chg="modSp add del">
        <pc:chgData name="Daniele, L.M. (Laura)" userId="fd7970a2-7a0c-4b70-8263-dcc64c0076cf" providerId="ADAL" clId="{05A1DA8D-63B9-4B1C-AA10-E7BD2B032652}" dt="2020-06-17T11:27:42.290" v="5784" actId="2696"/>
        <pc:sldMkLst>
          <pc:docMk/>
          <pc:sldMk cId="3310491764" sldId="395"/>
        </pc:sldMkLst>
        <pc:spChg chg="mod">
          <ac:chgData name="Daniele, L.M. (Laura)" userId="fd7970a2-7a0c-4b70-8263-dcc64c0076cf" providerId="ADAL" clId="{05A1DA8D-63B9-4B1C-AA10-E7BD2B032652}" dt="2020-06-17T11:27:22.923" v="5779" actId="20577"/>
          <ac:spMkLst>
            <pc:docMk/>
            <pc:sldMk cId="3310491764" sldId="395"/>
            <ac:spMk id="4" creationId="{00000000-0000-0000-0000-000000000000}"/>
          </ac:spMkLst>
        </pc:spChg>
      </pc:sldChg>
      <pc:sldChg chg="add del ord">
        <pc:chgData name="Daniele, L.M. (Laura)" userId="fd7970a2-7a0c-4b70-8263-dcc64c0076cf" providerId="ADAL" clId="{05A1DA8D-63B9-4B1C-AA10-E7BD2B032652}" dt="2020-06-17T11:52:20.649" v="7252" actId="2696"/>
        <pc:sldMkLst>
          <pc:docMk/>
          <pc:sldMk cId="3729180238" sldId="395"/>
        </pc:sldMkLst>
      </pc:sldChg>
      <pc:sldChg chg="add del">
        <pc:chgData name="Daniele, L.M. (Laura)" userId="fd7970a2-7a0c-4b70-8263-dcc64c0076cf" providerId="ADAL" clId="{05A1DA8D-63B9-4B1C-AA10-E7BD2B032652}" dt="2020-06-17T13:11:39.554" v="8041" actId="2696"/>
        <pc:sldMkLst>
          <pc:docMk/>
          <pc:sldMk cId="2098624950" sldId="396"/>
        </pc:sldMkLst>
      </pc:sldChg>
      <pc:sldChg chg="addSp delSp modSp add del ord">
        <pc:chgData name="Daniele, L.M. (Laura)" userId="fd7970a2-7a0c-4b70-8263-dcc64c0076cf" providerId="ADAL" clId="{05A1DA8D-63B9-4B1C-AA10-E7BD2B032652}" dt="2020-06-17T11:27:07.164" v="5764" actId="2696"/>
        <pc:sldMkLst>
          <pc:docMk/>
          <pc:sldMk cId="355160051" sldId="397"/>
        </pc:sldMkLst>
        <pc:spChg chg="del">
          <ac:chgData name="Daniele, L.M. (Laura)" userId="fd7970a2-7a0c-4b70-8263-dcc64c0076cf" providerId="ADAL" clId="{05A1DA8D-63B9-4B1C-AA10-E7BD2B032652}" dt="2020-06-12T14:58:07.347" v="3794" actId="478"/>
          <ac:spMkLst>
            <pc:docMk/>
            <pc:sldMk cId="355160051" sldId="397"/>
            <ac:spMk id="2" creationId="{6CD3B4B1-76B8-47E2-BA7E-71D9FFCA32B3}"/>
          </ac:spMkLst>
        </pc:spChg>
        <pc:spChg chg="del">
          <ac:chgData name="Daniele, L.M. (Laura)" userId="fd7970a2-7a0c-4b70-8263-dcc64c0076cf" providerId="ADAL" clId="{05A1DA8D-63B9-4B1C-AA10-E7BD2B032652}" dt="2020-06-12T14:37:28.224" v="3679" actId="478"/>
          <ac:spMkLst>
            <pc:docMk/>
            <pc:sldMk cId="355160051" sldId="397"/>
            <ac:spMk id="3" creationId="{E7BF95CF-E6D7-4F63-BC1C-A269DE5C019A}"/>
          </ac:spMkLst>
        </pc:spChg>
        <pc:spChg chg="add mod">
          <ac:chgData name="Daniele, L.M. (Laura)" userId="fd7970a2-7a0c-4b70-8263-dcc64c0076cf" providerId="ADAL" clId="{05A1DA8D-63B9-4B1C-AA10-E7BD2B032652}" dt="2020-06-12T14:38:46.772" v="3689" actId="1582"/>
          <ac:spMkLst>
            <pc:docMk/>
            <pc:sldMk cId="355160051" sldId="397"/>
            <ac:spMk id="8" creationId="{36E5B56E-1515-4346-86AA-DF75FC207FAB}"/>
          </ac:spMkLst>
        </pc:spChg>
        <pc:spChg chg="add del mod">
          <ac:chgData name="Daniele, L.M. (Laura)" userId="fd7970a2-7a0c-4b70-8263-dcc64c0076cf" providerId="ADAL" clId="{05A1DA8D-63B9-4B1C-AA10-E7BD2B032652}" dt="2020-06-12T14:45:15.874" v="3704" actId="478"/>
          <ac:spMkLst>
            <pc:docMk/>
            <pc:sldMk cId="355160051" sldId="397"/>
            <ac:spMk id="9" creationId="{DD4DBF4E-ACA2-43AF-BDA0-95A3CD08645D}"/>
          </ac:spMkLst>
        </pc:spChg>
        <pc:spChg chg="add mod">
          <ac:chgData name="Daniele, L.M. (Laura)" userId="fd7970a2-7a0c-4b70-8263-dcc64c0076cf" providerId="ADAL" clId="{05A1DA8D-63B9-4B1C-AA10-E7BD2B032652}" dt="2020-06-12T14:45:36.964" v="3711" actId="1076"/>
          <ac:spMkLst>
            <pc:docMk/>
            <pc:sldMk cId="355160051" sldId="397"/>
            <ac:spMk id="10" creationId="{CBA6F9A1-BD95-4CA2-8B86-853FBB25B6D2}"/>
          </ac:spMkLst>
        </pc:spChg>
        <pc:spChg chg="add mod">
          <ac:chgData name="Daniele, L.M. (Laura)" userId="fd7970a2-7a0c-4b70-8263-dcc64c0076cf" providerId="ADAL" clId="{05A1DA8D-63B9-4B1C-AA10-E7BD2B032652}" dt="2020-06-12T14:58:16.569" v="3795" actId="14100"/>
          <ac:spMkLst>
            <pc:docMk/>
            <pc:sldMk cId="355160051" sldId="397"/>
            <ac:spMk id="13" creationId="{397D2591-C7BA-4106-8DFF-C673A3CEED45}"/>
          </ac:spMkLst>
        </pc:spChg>
        <pc:spChg chg="add mod">
          <ac:chgData name="Daniele, L.M. (Laura)" userId="fd7970a2-7a0c-4b70-8263-dcc64c0076cf" providerId="ADAL" clId="{05A1DA8D-63B9-4B1C-AA10-E7BD2B032652}" dt="2020-06-12T14:57:57.002" v="3793" actId="20577"/>
          <ac:spMkLst>
            <pc:docMk/>
            <pc:sldMk cId="355160051" sldId="397"/>
            <ac:spMk id="14" creationId="{FA8CE160-EA73-4C6D-AA00-C2C4F5691ADF}"/>
          </ac:spMkLst>
        </pc:spChg>
        <pc:picChg chg="add mod">
          <ac:chgData name="Daniele, L.M. (Laura)" userId="fd7970a2-7a0c-4b70-8263-dcc64c0076cf" providerId="ADAL" clId="{05A1DA8D-63B9-4B1C-AA10-E7BD2B032652}" dt="2020-06-12T14:57:38.215" v="3785" actId="1076"/>
          <ac:picMkLst>
            <pc:docMk/>
            <pc:sldMk cId="355160051" sldId="397"/>
            <ac:picMk id="6" creationId="{263E1EA3-4168-446D-9A16-FB2BDF76383A}"/>
          </ac:picMkLst>
        </pc:picChg>
        <pc:picChg chg="add">
          <ac:chgData name="Daniele, L.M. (Laura)" userId="fd7970a2-7a0c-4b70-8263-dcc64c0076cf" providerId="ADAL" clId="{05A1DA8D-63B9-4B1C-AA10-E7BD2B032652}" dt="2020-06-12T14:38:01.157" v="3684"/>
          <ac:picMkLst>
            <pc:docMk/>
            <pc:sldMk cId="355160051" sldId="397"/>
            <ac:picMk id="7" creationId="{2D2FCBF3-BE0C-4351-8116-69160F3956C9}"/>
          </ac:picMkLst>
        </pc:picChg>
        <pc:picChg chg="add del mod">
          <ac:chgData name="Daniele, L.M. (Laura)" userId="fd7970a2-7a0c-4b70-8263-dcc64c0076cf" providerId="ADAL" clId="{05A1DA8D-63B9-4B1C-AA10-E7BD2B032652}" dt="2020-06-12T14:47:01.105" v="3717" actId="478"/>
          <ac:picMkLst>
            <pc:docMk/>
            <pc:sldMk cId="355160051" sldId="397"/>
            <ac:picMk id="12" creationId="{26E1311E-8DE3-460E-83FA-C19B4B3158E9}"/>
          </ac:picMkLst>
        </pc:picChg>
      </pc:sldChg>
      <pc:sldChg chg="add del">
        <pc:chgData name="Daniele, L.M. (Laura)" userId="fd7970a2-7a0c-4b70-8263-dcc64c0076cf" providerId="ADAL" clId="{05A1DA8D-63B9-4B1C-AA10-E7BD2B032652}" dt="2020-06-12T14:33:47.404" v="3676"/>
        <pc:sldMkLst>
          <pc:docMk/>
          <pc:sldMk cId="2747116006" sldId="397"/>
        </pc:sldMkLst>
      </pc:sldChg>
      <pc:sldChg chg="add">
        <pc:chgData name="Daniele, L.M. (Laura)" userId="fd7970a2-7a0c-4b70-8263-dcc64c0076cf" providerId="ADAL" clId="{05A1DA8D-63B9-4B1C-AA10-E7BD2B032652}" dt="2020-06-17T11:52:48.138" v="7255"/>
        <pc:sldMkLst>
          <pc:docMk/>
          <pc:sldMk cId="3000624446" sldId="397"/>
        </pc:sldMkLst>
      </pc:sldChg>
      <pc:sldChg chg="add del">
        <pc:chgData name="Daniele, L.M. (Laura)" userId="fd7970a2-7a0c-4b70-8263-dcc64c0076cf" providerId="ADAL" clId="{05A1DA8D-63B9-4B1C-AA10-E7BD2B032652}" dt="2020-06-17T11:52:20.642" v="7250" actId="2696"/>
        <pc:sldMkLst>
          <pc:docMk/>
          <pc:sldMk cId="4177748327" sldId="397"/>
        </pc:sldMkLst>
      </pc:sldChg>
      <pc:sldChg chg="addSp delSp modSp add">
        <pc:chgData name="Daniele, L.M. (Laura)" userId="fd7970a2-7a0c-4b70-8263-dcc64c0076cf" providerId="ADAL" clId="{05A1DA8D-63B9-4B1C-AA10-E7BD2B032652}" dt="2020-06-12T16:02:13.849" v="3820" actId="14100"/>
        <pc:sldMkLst>
          <pc:docMk/>
          <pc:sldMk cId="2781417810" sldId="398"/>
        </pc:sldMkLst>
        <pc:spChg chg="del">
          <ac:chgData name="Daniele, L.M. (Laura)" userId="fd7970a2-7a0c-4b70-8263-dcc64c0076cf" providerId="ADAL" clId="{05A1DA8D-63B9-4B1C-AA10-E7BD2B032652}" dt="2020-06-12T14:48:19.138" v="3729" actId="478"/>
          <ac:spMkLst>
            <pc:docMk/>
            <pc:sldMk cId="2781417810" sldId="398"/>
            <ac:spMk id="2" creationId="{6CD3B4B1-76B8-47E2-BA7E-71D9FFCA32B3}"/>
          </ac:spMkLst>
        </pc:spChg>
        <pc:spChg chg="mod">
          <ac:chgData name="Daniele, L.M. (Laura)" userId="fd7970a2-7a0c-4b70-8263-dcc64c0076cf" providerId="ADAL" clId="{05A1DA8D-63B9-4B1C-AA10-E7BD2B032652}" dt="2020-06-12T14:48:32.999" v="3731" actId="1076"/>
          <ac:spMkLst>
            <pc:docMk/>
            <pc:sldMk cId="2781417810" sldId="398"/>
            <ac:spMk id="8" creationId="{36E5B56E-1515-4346-86AA-DF75FC207FAB}"/>
          </ac:spMkLst>
        </pc:spChg>
        <pc:spChg chg="add del mod">
          <ac:chgData name="Daniele, L.M. (Laura)" userId="fd7970a2-7a0c-4b70-8263-dcc64c0076cf" providerId="ADAL" clId="{05A1DA8D-63B9-4B1C-AA10-E7BD2B032652}" dt="2020-06-12T14:59:58.671" v="3803" actId="478"/>
          <ac:spMkLst>
            <pc:docMk/>
            <pc:sldMk cId="2781417810" sldId="398"/>
            <ac:spMk id="9" creationId="{C8587C1A-0E64-412E-B2E8-2E93BC540CD9}"/>
          </ac:spMkLst>
        </pc:spChg>
        <pc:spChg chg="mod">
          <ac:chgData name="Daniele, L.M. (Laura)" userId="fd7970a2-7a0c-4b70-8263-dcc64c0076cf" providerId="ADAL" clId="{05A1DA8D-63B9-4B1C-AA10-E7BD2B032652}" dt="2020-06-12T15:00:34.225" v="3811" actId="1076"/>
          <ac:spMkLst>
            <pc:docMk/>
            <pc:sldMk cId="2781417810" sldId="398"/>
            <ac:spMk id="10" creationId="{CBA6F9A1-BD95-4CA2-8B86-853FBB25B6D2}"/>
          </ac:spMkLst>
        </pc:spChg>
        <pc:spChg chg="add mod">
          <ac:chgData name="Daniele, L.M. (Laura)" userId="fd7970a2-7a0c-4b70-8263-dcc64c0076cf" providerId="ADAL" clId="{05A1DA8D-63B9-4B1C-AA10-E7BD2B032652}" dt="2020-06-12T14:49:48.502" v="3734" actId="14100"/>
          <ac:spMkLst>
            <pc:docMk/>
            <pc:sldMk cId="2781417810" sldId="398"/>
            <ac:spMk id="11" creationId="{3D04AB4F-DAFC-4E34-B5F8-46FB819DB54B}"/>
          </ac:spMkLst>
        </pc:spChg>
        <pc:spChg chg="add mod">
          <ac:chgData name="Daniele, L.M. (Laura)" userId="fd7970a2-7a0c-4b70-8263-dcc64c0076cf" providerId="ADAL" clId="{05A1DA8D-63B9-4B1C-AA10-E7BD2B032652}" dt="2020-06-12T16:01:35.725" v="3813"/>
          <ac:spMkLst>
            <pc:docMk/>
            <pc:sldMk cId="2781417810" sldId="398"/>
            <ac:spMk id="13" creationId="{BA1D880F-21F7-4C94-8194-6E31D5D560DF}"/>
          </ac:spMkLst>
        </pc:spChg>
        <pc:spChg chg="add mod">
          <ac:chgData name="Daniele, L.M. (Laura)" userId="fd7970a2-7a0c-4b70-8263-dcc64c0076cf" providerId="ADAL" clId="{05A1DA8D-63B9-4B1C-AA10-E7BD2B032652}" dt="2020-06-12T15:00:23.703" v="3810" actId="1076"/>
          <ac:spMkLst>
            <pc:docMk/>
            <pc:sldMk cId="2781417810" sldId="398"/>
            <ac:spMk id="14" creationId="{50772AF7-948B-45ED-A006-50975BE9E3AA}"/>
          </ac:spMkLst>
        </pc:spChg>
        <pc:spChg chg="add mod">
          <ac:chgData name="Daniele, L.M. (Laura)" userId="fd7970a2-7a0c-4b70-8263-dcc64c0076cf" providerId="ADAL" clId="{05A1DA8D-63B9-4B1C-AA10-E7BD2B032652}" dt="2020-06-12T16:02:13.849" v="3820" actId="14100"/>
          <ac:spMkLst>
            <pc:docMk/>
            <pc:sldMk cId="2781417810" sldId="398"/>
            <ac:spMk id="15" creationId="{8A60DEF4-A9A4-4993-AB48-2A1FDFFB4C3A}"/>
          </ac:spMkLst>
        </pc:spChg>
        <pc:picChg chg="add mod">
          <ac:chgData name="Daniele, L.M. (Laura)" userId="fd7970a2-7a0c-4b70-8263-dcc64c0076cf" providerId="ADAL" clId="{05A1DA8D-63B9-4B1C-AA10-E7BD2B032652}" dt="2020-06-12T14:48:08.406" v="3727" actId="1076"/>
          <ac:picMkLst>
            <pc:docMk/>
            <pc:sldMk cId="2781417810" sldId="398"/>
            <ac:picMk id="5" creationId="{317BFB90-DEA9-4392-9555-B16E0B17DCB1}"/>
          </ac:picMkLst>
        </pc:picChg>
        <pc:picChg chg="del">
          <ac:chgData name="Daniele, L.M. (Laura)" userId="fd7970a2-7a0c-4b70-8263-dcc64c0076cf" providerId="ADAL" clId="{05A1DA8D-63B9-4B1C-AA10-E7BD2B032652}" dt="2020-06-12T14:47:04.587" v="3718" actId="478"/>
          <ac:picMkLst>
            <pc:docMk/>
            <pc:sldMk cId="2781417810" sldId="398"/>
            <ac:picMk id="6" creationId="{263E1EA3-4168-446D-9A16-FB2BDF76383A}"/>
          </ac:picMkLst>
        </pc:picChg>
        <pc:picChg chg="mod ord">
          <ac:chgData name="Daniele, L.M. (Laura)" userId="fd7970a2-7a0c-4b70-8263-dcc64c0076cf" providerId="ADAL" clId="{05A1DA8D-63B9-4B1C-AA10-E7BD2B032652}" dt="2020-06-12T14:48:03.492" v="3725" actId="1076"/>
          <ac:picMkLst>
            <pc:docMk/>
            <pc:sldMk cId="2781417810" sldId="398"/>
            <ac:picMk id="12" creationId="{26E1311E-8DE3-460E-83FA-C19B4B3158E9}"/>
          </ac:picMkLst>
        </pc:picChg>
      </pc:sldChg>
      <pc:sldChg chg="addSp modSp add">
        <pc:chgData name="Daniele, L.M. (Laura)" userId="fd7970a2-7a0c-4b70-8263-dcc64c0076cf" providerId="ADAL" clId="{05A1DA8D-63B9-4B1C-AA10-E7BD2B032652}" dt="2020-06-17T12:59:24.125" v="7896"/>
        <pc:sldMkLst>
          <pc:docMk/>
          <pc:sldMk cId="1952874718" sldId="399"/>
        </pc:sldMkLst>
        <pc:spChg chg="mod">
          <ac:chgData name="Daniele, L.M. (Laura)" userId="fd7970a2-7a0c-4b70-8263-dcc64c0076cf" providerId="ADAL" clId="{05A1DA8D-63B9-4B1C-AA10-E7BD2B032652}" dt="2020-06-17T12:59:10.821" v="7895" actId="20577"/>
          <ac:spMkLst>
            <pc:docMk/>
            <pc:sldMk cId="1952874718" sldId="399"/>
            <ac:spMk id="3" creationId="{923D42D1-1F34-40BB-9E8D-5C741129D4F8}"/>
          </ac:spMkLst>
        </pc:spChg>
        <pc:picChg chg="add mod">
          <ac:chgData name="Daniele, L.M. (Laura)" userId="fd7970a2-7a0c-4b70-8263-dcc64c0076cf" providerId="ADAL" clId="{05A1DA8D-63B9-4B1C-AA10-E7BD2B032652}" dt="2020-06-17T12:58:27.778" v="7891" actId="1076"/>
          <ac:picMkLst>
            <pc:docMk/>
            <pc:sldMk cId="1952874718" sldId="399"/>
            <ac:picMk id="5" creationId="{D44BAFB8-CFFE-4857-B85C-79E7DA9BC568}"/>
          </ac:picMkLst>
        </pc:picChg>
        <pc:picChg chg="add">
          <ac:chgData name="Daniele, L.M. (Laura)" userId="fd7970a2-7a0c-4b70-8263-dcc64c0076cf" providerId="ADAL" clId="{05A1DA8D-63B9-4B1C-AA10-E7BD2B032652}" dt="2020-06-17T12:59:24.125" v="7896"/>
          <ac:picMkLst>
            <pc:docMk/>
            <pc:sldMk cId="1952874718" sldId="399"/>
            <ac:picMk id="6" creationId="{38F70502-DDD1-4027-821B-DC74C8C9B7C7}"/>
          </ac:picMkLst>
        </pc:picChg>
      </pc:sldChg>
      <pc:sldChg chg="add">
        <pc:chgData name="Daniele, L.M. (Laura)" userId="fd7970a2-7a0c-4b70-8263-dcc64c0076cf" providerId="ADAL" clId="{05A1DA8D-63B9-4B1C-AA10-E7BD2B032652}" dt="2020-06-12T16:01:14.681" v="3812"/>
        <pc:sldMkLst>
          <pc:docMk/>
          <pc:sldMk cId="1502353771" sldId="400"/>
        </pc:sldMkLst>
      </pc:sldChg>
      <pc:sldChg chg="modSp add del">
        <pc:chgData name="Daniele, L.M. (Laura)" userId="fd7970a2-7a0c-4b70-8263-dcc64c0076cf" providerId="ADAL" clId="{05A1DA8D-63B9-4B1C-AA10-E7BD2B032652}" dt="2020-06-17T13:08:38.310" v="8008" actId="2696"/>
        <pc:sldMkLst>
          <pc:docMk/>
          <pc:sldMk cId="992763268" sldId="401"/>
        </pc:sldMkLst>
        <pc:spChg chg="mod">
          <ac:chgData name="Daniele, L.M. (Laura)" userId="fd7970a2-7a0c-4b70-8263-dcc64c0076cf" providerId="ADAL" clId="{05A1DA8D-63B9-4B1C-AA10-E7BD2B032652}" dt="2020-06-12T16:06:04.704" v="3915" actId="20577"/>
          <ac:spMkLst>
            <pc:docMk/>
            <pc:sldMk cId="992763268" sldId="401"/>
            <ac:spMk id="4" creationId="{00000000-0000-0000-0000-000000000000}"/>
          </ac:spMkLst>
        </pc:spChg>
      </pc:sldChg>
      <pc:sldChg chg="modSp add">
        <pc:chgData name="Daniele, L.M. (Laura)" userId="fd7970a2-7a0c-4b70-8263-dcc64c0076cf" providerId="ADAL" clId="{05A1DA8D-63B9-4B1C-AA10-E7BD2B032652}" dt="2020-06-17T16:46:44.292" v="10070" actId="20577"/>
        <pc:sldMkLst>
          <pc:docMk/>
          <pc:sldMk cId="1821640065" sldId="402"/>
        </pc:sldMkLst>
        <pc:spChg chg="mod">
          <ac:chgData name="Daniele, L.M. (Laura)" userId="fd7970a2-7a0c-4b70-8263-dcc64c0076cf" providerId="ADAL" clId="{05A1DA8D-63B9-4B1C-AA10-E7BD2B032652}" dt="2020-06-17T16:46:44.292" v="10070" actId="20577"/>
          <ac:spMkLst>
            <pc:docMk/>
            <pc:sldMk cId="1821640065" sldId="402"/>
            <ac:spMk id="4" creationId="{00000000-0000-0000-0000-000000000000}"/>
          </ac:spMkLst>
        </pc:spChg>
      </pc:sldChg>
      <pc:sldChg chg="modSp add del">
        <pc:chgData name="Daniele, L.M. (Laura)" userId="fd7970a2-7a0c-4b70-8263-dcc64c0076cf" providerId="ADAL" clId="{05A1DA8D-63B9-4B1C-AA10-E7BD2B032652}" dt="2020-06-17T13:11:42.422" v="8042" actId="2696"/>
        <pc:sldMkLst>
          <pc:docMk/>
          <pc:sldMk cId="1265768492" sldId="403"/>
        </pc:sldMkLst>
        <pc:spChg chg="mod">
          <ac:chgData name="Daniele, L.M. (Laura)" userId="fd7970a2-7a0c-4b70-8263-dcc64c0076cf" providerId="ADAL" clId="{05A1DA8D-63B9-4B1C-AA10-E7BD2B032652}" dt="2020-06-12T16:07:08.039" v="3951" actId="20577"/>
          <ac:spMkLst>
            <pc:docMk/>
            <pc:sldMk cId="1265768492" sldId="403"/>
            <ac:spMk id="5" creationId="{00000000-0000-0000-0000-000000000000}"/>
          </ac:spMkLst>
        </pc:spChg>
        <pc:spChg chg="mod">
          <ac:chgData name="Daniele, L.M. (Laura)" userId="fd7970a2-7a0c-4b70-8263-dcc64c0076cf" providerId="ADAL" clId="{05A1DA8D-63B9-4B1C-AA10-E7BD2B032652}" dt="2020-06-12T16:08:39.440" v="4058" actId="20577"/>
          <ac:spMkLst>
            <pc:docMk/>
            <pc:sldMk cId="1265768492" sldId="403"/>
            <ac:spMk id="6" creationId="{00000000-0000-0000-0000-000000000000}"/>
          </ac:spMkLst>
        </pc:spChg>
      </pc:sldChg>
      <pc:sldChg chg="addSp delSp modSp ord">
        <pc:chgData name="Daniele, L.M. (Laura)" userId="fd7970a2-7a0c-4b70-8263-dcc64c0076cf" providerId="ADAL" clId="{05A1DA8D-63B9-4B1C-AA10-E7BD2B032652}" dt="2020-06-17T16:27:48.429" v="9580" actId="1076"/>
        <pc:sldMkLst>
          <pc:docMk/>
          <pc:sldMk cId="1015997824" sldId="404"/>
        </pc:sldMkLst>
        <pc:spChg chg="mod">
          <ac:chgData name="Daniele, L.M. (Laura)" userId="fd7970a2-7a0c-4b70-8263-dcc64c0076cf" providerId="ADAL" clId="{05A1DA8D-63B9-4B1C-AA10-E7BD2B032652}" dt="2020-06-17T15:16:09.641" v="9406" actId="20577"/>
          <ac:spMkLst>
            <pc:docMk/>
            <pc:sldMk cId="1015997824" sldId="404"/>
            <ac:spMk id="2" creationId="{9B71C370-D5AD-4285-B597-DF811FF69E0D}"/>
          </ac:spMkLst>
        </pc:spChg>
        <pc:spChg chg="add mod">
          <ac:chgData name="Daniele, L.M. (Laura)" userId="fd7970a2-7a0c-4b70-8263-dcc64c0076cf" providerId="ADAL" clId="{05A1DA8D-63B9-4B1C-AA10-E7BD2B032652}" dt="2020-06-17T13:19:59.160" v="8129" actId="1076"/>
          <ac:spMkLst>
            <pc:docMk/>
            <pc:sldMk cId="1015997824" sldId="404"/>
            <ac:spMk id="5" creationId="{99A1F14C-BD89-41DC-87AC-1524ED0E64D4}"/>
          </ac:spMkLst>
        </pc:spChg>
        <pc:spChg chg="del">
          <ac:chgData name="Daniele, L.M. (Laura)" userId="fd7970a2-7a0c-4b70-8263-dcc64c0076cf" providerId="ADAL" clId="{05A1DA8D-63B9-4B1C-AA10-E7BD2B032652}" dt="2020-06-17T12:42:34.348" v="7646" actId="478"/>
          <ac:spMkLst>
            <pc:docMk/>
            <pc:sldMk cId="1015997824" sldId="404"/>
            <ac:spMk id="10" creationId="{D5DD1B4E-D1C6-457B-8BEF-595BA13FB236}"/>
          </ac:spMkLst>
        </pc:spChg>
        <pc:spChg chg="del">
          <ac:chgData name="Daniele, L.M. (Laura)" userId="fd7970a2-7a0c-4b70-8263-dcc64c0076cf" providerId="ADAL" clId="{05A1DA8D-63B9-4B1C-AA10-E7BD2B032652}" dt="2020-06-17T12:41:41.456" v="7638" actId="478"/>
          <ac:spMkLst>
            <pc:docMk/>
            <pc:sldMk cId="1015997824" sldId="404"/>
            <ac:spMk id="11" creationId="{F6B6C4A5-9068-4A75-8076-E714994D9EFE}"/>
          </ac:spMkLst>
        </pc:spChg>
        <pc:spChg chg="del mod">
          <ac:chgData name="Daniele, L.M. (Laura)" userId="fd7970a2-7a0c-4b70-8263-dcc64c0076cf" providerId="ADAL" clId="{05A1DA8D-63B9-4B1C-AA10-E7BD2B032652}" dt="2020-06-17T13:19:48.435" v="8127" actId="478"/>
          <ac:spMkLst>
            <pc:docMk/>
            <pc:sldMk cId="1015997824" sldId="404"/>
            <ac:spMk id="12" creationId="{A4A22B56-EBD2-4EB2-A5F4-50890B7D04E2}"/>
          </ac:spMkLst>
        </pc:spChg>
        <pc:spChg chg="add mod">
          <ac:chgData name="Daniele, L.M. (Laura)" userId="fd7970a2-7a0c-4b70-8263-dcc64c0076cf" providerId="ADAL" clId="{05A1DA8D-63B9-4B1C-AA10-E7BD2B032652}" dt="2020-06-17T16:27:45.429" v="9579" actId="1076"/>
          <ac:spMkLst>
            <pc:docMk/>
            <pc:sldMk cId="1015997824" sldId="404"/>
            <ac:spMk id="13" creationId="{9EACCAAF-A362-4FD6-B7A5-9810360DC6A0}"/>
          </ac:spMkLst>
        </pc:spChg>
        <pc:picChg chg="add mod">
          <ac:chgData name="Daniele, L.M. (Laura)" userId="fd7970a2-7a0c-4b70-8263-dcc64c0076cf" providerId="ADAL" clId="{05A1DA8D-63B9-4B1C-AA10-E7BD2B032652}" dt="2020-06-17T13:19:54.774" v="8128" actId="14100"/>
          <ac:picMkLst>
            <pc:docMk/>
            <pc:sldMk cId="1015997824" sldId="404"/>
            <ac:picMk id="3" creationId="{5DE4879D-4906-4C71-A3A5-B16F136FE35F}"/>
          </ac:picMkLst>
        </pc:picChg>
        <pc:picChg chg="mod">
          <ac:chgData name="Daniele, L.M. (Laura)" userId="fd7970a2-7a0c-4b70-8263-dcc64c0076cf" providerId="ADAL" clId="{05A1DA8D-63B9-4B1C-AA10-E7BD2B032652}" dt="2020-06-17T16:27:48.429" v="9580" actId="1076"/>
          <ac:picMkLst>
            <pc:docMk/>
            <pc:sldMk cId="1015997824" sldId="404"/>
            <ac:picMk id="8" creationId="{DB29DEA1-60D3-4CAB-AE85-E8979008548D}"/>
          </ac:picMkLst>
        </pc:picChg>
        <pc:picChg chg="del">
          <ac:chgData name="Daniele, L.M. (Laura)" userId="fd7970a2-7a0c-4b70-8263-dcc64c0076cf" providerId="ADAL" clId="{05A1DA8D-63B9-4B1C-AA10-E7BD2B032652}" dt="2020-06-17T12:41:50.212" v="7642" actId="478"/>
          <ac:picMkLst>
            <pc:docMk/>
            <pc:sldMk cId="1015997824" sldId="404"/>
            <ac:picMk id="9" creationId="{11A7B3A8-21BE-49B7-B51B-E3176A0CCC42}"/>
          </ac:picMkLst>
        </pc:picChg>
      </pc:sldChg>
      <pc:sldChg chg="modSp add del ord">
        <pc:chgData name="Daniele, L.M. (Laura)" userId="fd7970a2-7a0c-4b70-8263-dcc64c0076cf" providerId="ADAL" clId="{05A1DA8D-63B9-4B1C-AA10-E7BD2B032652}" dt="2020-06-17T11:51:57.607" v="7246" actId="2696"/>
        <pc:sldMkLst>
          <pc:docMk/>
          <pc:sldMk cId="155677893" sldId="405"/>
        </pc:sldMkLst>
        <pc:spChg chg="mod">
          <ac:chgData name="Daniele, L.M. (Laura)" userId="fd7970a2-7a0c-4b70-8263-dcc64c0076cf" providerId="ADAL" clId="{05A1DA8D-63B9-4B1C-AA10-E7BD2B032652}" dt="2020-06-17T11:47:55.388" v="7203" actId="1076"/>
          <ac:spMkLst>
            <pc:docMk/>
            <pc:sldMk cId="155677893" sldId="405"/>
            <ac:spMk id="5" creationId="{00000000-0000-0000-0000-000000000000}"/>
          </ac:spMkLst>
        </pc:spChg>
        <pc:spChg chg="mod">
          <ac:chgData name="Daniele, L.M. (Laura)" userId="fd7970a2-7a0c-4b70-8263-dcc64c0076cf" providerId="ADAL" clId="{05A1DA8D-63B9-4B1C-AA10-E7BD2B032652}" dt="2020-06-17T11:47:50.174" v="7202" actId="1076"/>
          <ac:spMkLst>
            <pc:docMk/>
            <pc:sldMk cId="155677893" sldId="405"/>
            <ac:spMk id="6" creationId="{00000000-0000-0000-0000-000000000000}"/>
          </ac:spMkLst>
        </pc:spChg>
        <pc:grpChg chg="mod">
          <ac:chgData name="Daniele, L.M. (Laura)" userId="fd7970a2-7a0c-4b70-8263-dcc64c0076cf" providerId="ADAL" clId="{05A1DA8D-63B9-4B1C-AA10-E7BD2B032652}" dt="2020-06-17T11:51:18.565" v="7241" actId="14100"/>
          <ac:grpSpMkLst>
            <pc:docMk/>
            <pc:sldMk cId="155677893" sldId="405"/>
            <ac:grpSpMk id="19" creationId="{9037DDE5-3AD3-4D2C-BC77-C23D7AD3C898}"/>
          </ac:grpSpMkLst>
        </pc:grpChg>
        <pc:picChg chg="mod">
          <ac:chgData name="Daniele, L.M. (Laura)" userId="fd7970a2-7a0c-4b70-8263-dcc64c0076cf" providerId="ADAL" clId="{05A1DA8D-63B9-4B1C-AA10-E7BD2B032652}" dt="2020-06-17T11:47:41.268" v="7200" actId="167"/>
          <ac:picMkLst>
            <pc:docMk/>
            <pc:sldMk cId="155677893" sldId="405"/>
            <ac:picMk id="7" creationId="{55F0630C-1AB6-4679-AC05-E97488F9F2FC}"/>
          </ac:picMkLst>
        </pc:picChg>
      </pc:sldChg>
      <pc:sldChg chg="delSp modSp add ord">
        <pc:chgData name="Daniele, L.M. (Laura)" userId="fd7970a2-7a0c-4b70-8263-dcc64c0076cf" providerId="ADAL" clId="{05A1DA8D-63B9-4B1C-AA10-E7BD2B032652}" dt="2020-06-17T16:42:14.428" v="9889" actId="20577"/>
        <pc:sldMkLst>
          <pc:docMk/>
          <pc:sldMk cId="1563841559" sldId="405"/>
        </pc:sldMkLst>
        <pc:spChg chg="mod">
          <ac:chgData name="Daniele, L.M. (Laura)" userId="fd7970a2-7a0c-4b70-8263-dcc64c0076cf" providerId="ADAL" clId="{05A1DA8D-63B9-4B1C-AA10-E7BD2B032652}" dt="2020-06-17T14:54:40.350" v="9200" actId="313"/>
          <ac:spMkLst>
            <pc:docMk/>
            <pc:sldMk cId="1563841559" sldId="405"/>
            <ac:spMk id="5" creationId="{00000000-0000-0000-0000-000000000000}"/>
          </ac:spMkLst>
        </pc:spChg>
        <pc:spChg chg="mod">
          <ac:chgData name="Daniele, L.M. (Laura)" userId="fd7970a2-7a0c-4b70-8263-dcc64c0076cf" providerId="ADAL" clId="{05A1DA8D-63B9-4B1C-AA10-E7BD2B032652}" dt="2020-06-17T16:42:14.428" v="9889" actId="20577"/>
          <ac:spMkLst>
            <pc:docMk/>
            <pc:sldMk cId="1563841559" sldId="405"/>
            <ac:spMk id="6" creationId="{00000000-0000-0000-0000-000000000000}"/>
          </ac:spMkLst>
        </pc:spChg>
        <pc:grpChg chg="del">
          <ac:chgData name="Daniele, L.M. (Laura)" userId="fd7970a2-7a0c-4b70-8263-dcc64c0076cf" providerId="ADAL" clId="{05A1DA8D-63B9-4B1C-AA10-E7BD2B032652}" dt="2020-06-17T14:10:36.148" v="9071" actId="478"/>
          <ac:grpSpMkLst>
            <pc:docMk/>
            <pc:sldMk cId="1563841559" sldId="405"/>
            <ac:grpSpMk id="19" creationId="{9037DDE5-3AD3-4D2C-BC77-C23D7AD3C898}"/>
          </ac:grpSpMkLst>
        </pc:grpChg>
      </pc:sldChg>
      <pc:sldChg chg="del">
        <pc:chgData name="Daniele, L.M. (Laura)" userId="fd7970a2-7a0c-4b70-8263-dcc64c0076cf" providerId="ADAL" clId="{05A1DA8D-63B9-4B1C-AA10-E7BD2B032652}" dt="2020-06-17T11:27:42.282" v="5782" actId="2696"/>
        <pc:sldMkLst>
          <pc:docMk/>
          <pc:sldMk cId="3223012162" sldId="405"/>
        </pc:sldMkLst>
      </pc:sldChg>
      <pc:sldChg chg="add del">
        <pc:chgData name="Daniele, L.M. (Laura)" userId="fd7970a2-7a0c-4b70-8263-dcc64c0076cf" providerId="ADAL" clId="{05A1DA8D-63B9-4B1C-AA10-E7BD2B032652}" dt="2020-06-17T11:52:20.663" v="7254" actId="2696"/>
        <pc:sldMkLst>
          <pc:docMk/>
          <pc:sldMk cId="3337142454" sldId="405"/>
        </pc:sldMkLst>
      </pc:sldChg>
      <pc:sldChg chg="add del">
        <pc:chgData name="Daniele, L.M. (Laura)" userId="fd7970a2-7a0c-4b70-8263-dcc64c0076cf" providerId="ADAL" clId="{05A1DA8D-63B9-4B1C-AA10-E7BD2B032652}" dt="2020-06-17T11:52:20.657" v="7253" actId="2696"/>
        <pc:sldMkLst>
          <pc:docMk/>
          <pc:sldMk cId="393369323" sldId="406"/>
        </pc:sldMkLst>
      </pc:sldChg>
      <pc:sldChg chg="modSp add ord">
        <pc:chgData name="Daniele, L.M. (Laura)" userId="fd7970a2-7a0c-4b70-8263-dcc64c0076cf" providerId="ADAL" clId="{05A1DA8D-63B9-4B1C-AA10-E7BD2B032652}" dt="2020-06-17T16:42:29.759" v="9896" actId="20577"/>
        <pc:sldMkLst>
          <pc:docMk/>
          <pc:sldMk cId="638803759" sldId="406"/>
        </pc:sldMkLst>
        <pc:spChg chg="mod">
          <ac:chgData name="Daniele, L.M. (Laura)" userId="fd7970a2-7a0c-4b70-8263-dcc64c0076cf" providerId="ADAL" clId="{05A1DA8D-63B9-4B1C-AA10-E7BD2B032652}" dt="2020-06-17T16:42:29.759" v="9896" actId="20577"/>
          <ac:spMkLst>
            <pc:docMk/>
            <pc:sldMk cId="638803759" sldId="406"/>
            <ac:spMk id="4" creationId="{00000000-0000-0000-0000-000000000000}"/>
          </ac:spMkLst>
        </pc:spChg>
      </pc:sldChg>
      <pc:sldChg chg="del">
        <pc:chgData name="Daniele, L.M. (Laura)" userId="fd7970a2-7a0c-4b70-8263-dcc64c0076cf" providerId="ADAL" clId="{05A1DA8D-63B9-4B1C-AA10-E7BD2B032652}" dt="2020-06-17T11:27:42.284" v="5783" actId="2696"/>
        <pc:sldMkLst>
          <pc:docMk/>
          <pc:sldMk cId="2524307795" sldId="406"/>
        </pc:sldMkLst>
      </pc:sldChg>
      <pc:sldChg chg="add del ord">
        <pc:chgData name="Daniele, L.M. (Laura)" userId="fd7970a2-7a0c-4b70-8263-dcc64c0076cf" providerId="ADAL" clId="{05A1DA8D-63B9-4B1C-AA10-E7BD2B032652}" dt="2020-06-17T11:51:57.610" v="7247" actId="2696"/>
        <pc:sldMkLst>
          <pc:docMk/>
          <pc:sldMk cId="2919659381" sldId="406"/>
        </pc:sldMkLst>
      </pc:sldChg>
      <pc:sldChg chg="add del">
        <pc:chgData name="Daniele, L.M. (Laura)" userId="fd7970a2-7a0c-4b70-8263-dcc64c0076cf" providerId="ADAL" clId="{05A1DA8D-63B9-4B1C-AA10-E7BD2B032652}" dt="2020-06-17T11:52:20.646" v="7251" actId="2696"/>
        <pc:sldMkLst>
          <pc:docMk/>
          <pc:sldMk cId="1909007192" sldId="407"/>
        </pc:sldMkLst>
      </pc:sldChg>
      <pc:sldChg chg="add">
        <pc:chgData name="Daniele, L.M. (Laura)" userId="fd7970a2-7a0c-4b70-8263-dcc64c0076cf" providerId="ADAL" clId="{05A1DA8D-63B9-4B1C-AA10-E7BD2B032652}" dt="2020-06-17T11:52:48.138" v="7255"/>
        <pc:sldMkLst>
          <pc:docMk/>
          <pc:sldMk cId="2195283639" sldId="407"/>
        </pc:sldMkLst>
      </pc:sldChg>
      <pc:sldChg chg="del">
        <pc:chgData name="Daniele, L.M. (Laura)" userId="fd7970a2-7a0c-4b70-8263-dcc64c0076cf" providerId="ADAL" clId="{05A1DA8D-63B9-4B1C-AA10-E7BD2B032652}" dt="2020-06-17T11:27:07.168" v="5765" actId="2696"/>
        <pc:sldMkLst>
          <pc:docMk/>
          <pc:sldMk cId="2458337794" sldId="407"/>
        </pc:sldMkLst>
      </pc:sldChg>
      <pc:sldChg chg="addSp delSp modSp add del ord delAnim modAnim">
        <pc:chgData name="Daniele, L.M. (Laura)" userId="fd7970a2-7a0c-4b70-8263-dcc64c0076cf" providerId="ADAL" clId="{05A1DA8D-63B9-4B1C-AA10-E7BD2B032652}" dt="2020-06-17T10:04:26.433" v="4910" actId="2696"/>
        <pc:sldMkLst>
          <pc:docMk/>
          <pc:sldMk cId="510533272" sldId="410"/>
        </pc:sldMkLst>
        <pc:spChg chg="mod">
          <ac:chgData name="Daniele, L.M. (Laura)" userId="fd7970a2-7a0c-4b70-8263-dcc64c0076cf" providerId="ADAL" clId="{05A1DA8D-63B9-4B1C-AA10-E7BD2B032652}" dt="2020-06-17T09:11:07.607" v="4418" actId="20577"/>
          <ac:spMkLst>
            <pc:docMk/>
            <pc:sldMk cId="510533272" sldId="410"/>
            <ac:spMk id="3" creationId="{72D3926C-E53D-4279-975D-BE9FF16CC5D4}"/>
          </ac:spMkLst>
        </pc:spChg>
        <pc:spChg chg="del">
          <ac:chgData name="Daniele, L.M. (Laura)" userId="fd7970a2-7a0c-4b70-8263-dcc64c0076cf" providerId="ADAL" clId="{05A1DA8D-63B9-4B1C-AA10-E7BD2B032652}" dt="2020-06-17T08:59:04.933" v="4093" actId="478"/>
          <ac:spMkLst>
            <pc:docMk/>
            <pc:sldMk cId="510533272" sldId="410"/>
            <ac:spMk id="4" creationId="{6B9D5424-929C-410D-8C58-18D9E2AB27C5}"/>
          </ac:spMkLst>
        </pc:spChg>
        <pc:spChg chg="add del">
          <ac:chgData name="Daniele, L.M. (Laura)" userId="fd7970a2-7a0c-4b70-8263-dcc64c0076cf" providerId="ADAL" clId="{05A1DA8D-63B9-4B1C-AA10-E7BD2B032652}" dt="2020-06-17T08:59:07.908" v="4095"/>
          <ac:spMkLst>
            <pc:docMk/>
            <pc:sldMk cId="510533272" sldId="410"/>
            <ac:spMk id="5" creationId="{01E4085B-1FF4-4EE1-9B73-8174CA1D1802}"/>
          </ac:spMkLst>
        </pc:spChg>
        <pc:spChg chg="add del">
          <ac:chgData name="Daniele, L.M. (Laura)" userId="fd7970a2-7a0c-4b70-8263-dcc64c0076cf" providerId="ADAL" clId="{05A1DA8D-63B9-4B1C-AA10-E7BD2B032652}" dt="2020-06-17T08:59:07.908" v="4095"/>
          <ac:spMkLst>
            <pc:docMk/>
            <pc:sldMk cId="510533272" sldId="410"/>
            <ac:spMk id="6" creationId="{07A13A1B-38D4-4E04-BFDD-E3BC5EAD676A}"/>
          </ac:spMkLst>
        </pc:spChg>
        <pc:spChg chg="add del">
          <ac:chgData name="Daniele, L.M. (Laura)" userId="fd7970a2-7a0c-4b70-8263-dcc64c0076cf" providerId="ADAL" clId="{05A1DA8D-63B9-4B1C-AA10-E7BD2B032652}" dt="2020-06-17T08:59:07.908" v="4095"/>
          <ac:spMkLst>
            <pc:docMk/>
            <pc:sldMk cId="510533272" sldId="410"/>
            <ac:spMk id="7" creationId="{4719E984-0499-4222-BFF3-89A012608496}"/>
          </ac:spMkLst>
        </pc:spChg>
        <pc:spChg chg="add del">
          <ac:chgData name="Daniele, L.M. (Laura)" userId="fd7970a2-7a0c-4b70-8263-dcc64c0076cf" providerId="ADAL" clId="{05A1DA8D-63B9-4B1C-AA10-E7BD2B032652}" dt="2020-06-17T08:59:07.908" v="4095"/>
          <ac:spMkLst>
            <pc:docMk/>
            <pc:sldMk cId="510533272" sldId="410"/>
            <ac:spMk id="8" creationId="{20169AAB-1904-49E2-B692-D898218BF455}"/>
          </ac:spMkLst>
        </pc:spChg>
        <pc:spChg chg="add del">
          <ac:chgData name="Daniele, L.M. (Laura)" userId="fd7970a2-7a0c-4b70-8263-dcc64c0076cf" providerId="ADAL" clId="{05A1DA8D-63B9-4B1C-AA10-E7BD2B032652}" dt="2020-06-17T08:59:07.908" v="4095"/>
          <ac:spMkLst>
            <pc:docMk/>
            <pc:sldMk cId="510533272" sldId="410"/>
            <ac:spMk id="9" creationId="{62AFED28-0FEB-4FBE-8866-7319000A2825}"/>
          </ac:spMkLst>
        </pc:spChg>
        <pc:spChg chg="add del">
          <ac:chgData name="Daniele, L.M. (Laura)" userId="fd7970a2-7a0c-4b70-8263-dcc64c0076cf" providerId="ADAL" clId="{05A1DA8D-63B9-4B1C-AA10-E7BD2B032652}" dt="2020-06-17T08:59:07.908" v="4095"/>
          <ac:spMkLst>
            <pc:docMk/>
            <pc:sldMk cId="510533272" sldId="410"/>
            <ac:spMk id="10" creationId="{ACA6BEF9-9729-42D7-8D4E-F0F7B0924036}"/>
          </ac:spMkLst>
        </pc:spChg>
        <pc:spChg chg="add del">
          <ac:chgData name="Daniele, L.M. (Laura)" userId="fd7970a2-7a0c-4b70-8263-dcc64c0076cf" providerId="ADAL" clId="{05A1DA8D-63B9-4B1C-AA10-E7BD2B032652}" dt="2020-06-17T08:59:07.908" v="4095"/>
          <ac:spMkLst>
            <pc:docMk/>
            <pc:sldMk cId="510533272" sldId="410"/>
            <ac:spMk id="11" creationId="{3173CB1B-D031-4D45-A153-A858B6490EB7}"/>
          </ac:spMkLst>
        </pc:spChg>
        <pc:spChg chg="add del">
          <ac:chgData name="Daniele, L.M. (Laura)" userId="fd7970a2-7a0c-4b70-8263-dcc64c0076cf" providerId="ADAL" clId="{05A1DA8D-63B9-4B1C-AA10-E7BD2B032652}" dt="2020-06-17T08:59:07.908" v="4095"/>
          <ac:spMkLst>
            <pc:docMk/>
            <pc:sldMk cId="510533272" sldId="410"/>
            <ac:spMk id="12" creationId="{E84A3687-FC7B-42F4-A1C3-22B4BDD3EA62}"/>
          </ac:spMkLst>
        </pc:spChg>
        <pc:spChg chg="add del">
          <ac:chgData name="Daniele, L.M. (Laura)" userId="fd7970a2-7a0c-4b70-8263-dcc64c0076cf" providerId="ADAL" clId="{05A1DA8D-63B9-4B1C-AA10-E7BD2B032652}" dt="2020-06-17T08:59:07.908" v="4095"/>
          <ac:spMkLst>
            <pc:docMk/>
            <pc:sldMk cId="510533272" sldId="410"/>
            <ac:spMk id="13" creationId="{68BC76FE-834F-4E9E-AEF0-279895F058B9}"/>
          </ac:spMkLst>
        </pc:spChg>
        <pc:spChg chg="add del">
          <ac:chgData name="Daniele, L.M. (Laura)" userId="fd7970a2-7a0c-4b70-8263-dcc64c0076cf" providerId="ADAL" clId="{05A1DA8D-63B9-4B1C-AA10-E7BD2B032652}" dt="2020-06-17T08:59:07.908" v="4095"/>
          <ac:spMkLst>
            <pc:docMk/>
            <pc:sldMk cId="510533272" sldId="410"/>
            <ac:spMk id="14" creationId="{085A0C27-F30E-4011-BC1B-C23B30109B12}"/>
          </ac:spMkLst>
        </pc:spChg>
        <pc:spChg chg="add del">
          <ac:chgData name="Daniele, L.M. (Laura)" userId="fd7970a2-7a0c-4b70-8263-dcc64c0076cf" providerId="ADAL" clId="{05A1DA8D-63B9-4B1C-AA10-E7BD2B032652}" dt="2020-06-17T08:59:07.908" v="4095"/>
          <ac:spMkLst>
            <pc:docMk/>
            <pc:sldMk cId="510533272" sldId="410"/>
            <ac:spMk id="15" creationId="{47659187-7218-428C-8617-8261BF298AA4}"/>
          </ac:spMkLst>
        </pc:spChg>
        <pc:spChg chg="add del">
          <ac:chgData name="Daniele, L.M. (Laura)" userId="fd7970a2-7a0c-4b70-8263-dcc64c0076cf" providerId="ADAL" clId="{05A1DA8D-63B9-4B1C-AA10-E7BD2B032652}" dt="2020-06-17T08:59:07.908" v="4095"/>
          <ac:spMkLst>
            <pc:docMk/>
            <pc:sldMk cId="510533272" sldId="410"/>
            <ac:spMk id="16" creationId="{10F30DDC-DE2B-479D-AE9F-D9AF8ED61298}"/>
          </ac:spMkLst>
        </pc:spChg>
        <pc:spChg chg="add del">
          <ac:chgData name="Daniele, L.M. (Laura)" userId="fd7970a2-7a0c-4b70-8263-dcc64c0076cf" providerId="ADAL" clId="{05A1DA8D-63B9-4B1C-AA10-E7BD2B032652}" dt="2020-06-17T08:59:07.908" v="4095"/>
          <ac:spMkLst>
            <pc:docMk/>
            <pc:sldMk cId="510533272" sldId="410"/>
            <ac:spMk id="17" creationId="{368BF6A8-6062-4190-8AD9-B970CB5DB583}"/>
          </ac:spMkLst>
        </pc:spChg>
        <pc:spChg chg="add del">
          <ac:chgData name="Daniele, L.M. (Laura)" userId="fd7970a2-7a0c-4b70-8263-dcc64c0076cf" providerId="ADAL" clId="{05A1DA8D-63B9-4B1C-AA10-E7BD2B032652}" dt="2020-06-17T08:59:07.908" v="4095"/>
          <ac:spMkLst>
            <pc:docMk/>
            <pc:sldMk cId="510533272" sldId="410"/>
            <ac:spMk id="18" creationId="{D6E7971D-F631-4B70-B5EB-3DEB449705EA}"/>
          </ac:spMkLst>
        </pc:spChg>
        <pc:spChg chg="add del">
          <ac:chgData name="Daniele, L.M. (Laura)" userId="fd7970a2-7a0c-4b70-8263-dcc64c0076cf" providerId="ADAL" clId="{05A1DA8D-63B9-4B1C-AA10-E7BD2B032652}" dt="2020-06-17T08:59:07.908" v="4095"/>
          <ac:spMkLst>
            <pc:docMk/>
            <pc:sldMk cId="510533272" sldId="410"/>
            <ac:spMk id="19" creationId="{E8487649-B8E6-4966-BF5A-3EAD2CB4AA4B}"/>
          </ac:spMkLst>
        </pc:spChg>
        <pc:spChg chg="add del">
          <ac:chgData name="Daniele, L.M. (Laura)" userId="fd7970a2-7a0c-4b70-8263-dcc64c0076cf" providerId="ADAL" clId="{05A1DA8D-63B9-4B1C-AA10-E7BD2B032652}" dt="2020-06-17T08:59:07.908" v="4095"/>
          <ac:spMkLst>
            <pc:docMk/>
            <pc:sldMk cId="510533272" sldId="410"/>
            <ac:spMk id="20" creationId="{BB3F2B87-2894-4B3A-8798-3D3903D048A9}"/>
          </ac:spMkLst>
        </pc:spChg>
        <pc:spChg chg="add del">
          <ac:chgData name="Daniele, L.M. (Laura)" userId="fd7970a2-7a0c-4b70-8263-dcc64c0076cf" providerId="ADAL" clId="{05A1DA8D-63B9-4B1C-AA10-E7BD2B032652}" dt="2020-06-17T08:59:07.908" v="4095"/>
          <ac:spMkLst>
            <pc:docMk/>
            <pc:sldMk cId="510533272" sldId="410"/>
            <ac:spMk id="21" creationId="{5A258A09-2A0C-4B9B-8444-948CC8A5E2AB}"/>
          </ac:spMkLst>
        </pc:spChg>
        <pc:spChg chg="add del">
          <ac:chgData name="Daniele, L.M. (Laura)" userId="fd7970a2-7a0c-4b70-8263-dcc64c0076cf" providerId="ADAL" clId="{05A1DA8D-63B9-4B1C-AA10-E7BD2B032652}" dt="2020-06-17T08:59:07.908" v="4095"/>
          <ac:spMkLst>
            <pc:docMk/>
            <pc:sldMk cId="510533272" sldId="410"/>
            <ac:spMk id="56" creationId="{7FDB0215-9442-44AC-8398-1534ACB8DFFD}"/>
          </ac:spMkLst>
        </pc:spChg>
        <pc:spChg chg="add del">
          <ac:chgData name="Daniele, L.M. (Laura)" userId="fd7970a2-7a0c-4b70-8263-dcc64c0076cf" providerId="ADAL" clId="{05A1DA8D-63B9-4B1C-AA10-E7BD2B032652}" dt="2020-06-17T08:59:07.908" v="4095"/>
          <ac:spMkLst>
            <pc:docMk/>
            <pc:sldMk cId="510533272" sldId="410"/>
            <ac:spMk id="57" creationId="{8FACD4C2-4C22-4CA2-B9B8-CABD9163B770}"/>
          </ac:spMkLst>
        </pc:spChg>
        <pc:spChg chg="add del">
          <ac:chgData name="Daniele, L.M. (Laura)" userId="fd7970a2-7a0c-4b70-8263-dcc64c0076cf" providerId="ADAL" clId="{05A1DA8D-63B9-4B1C-AA10-E7BD2B032652}" dt="2020-06-17T08:59:07.908" v="4095"/>
          <ac:spMkLst>
            <pc:docMk/>
            <pc:sldMk cId="510533272" sldId="410"/>
            <ac:spMk id="58" creationId="{4FD3A451-890B-43E6-84DB-01273A98D28E}"/>
          </ac:spMkLst>
        </pc:spChg>
        <pc:spChg chg="add del">
          <ac:chgData name="Daniele, L.M. (Laura)" userId="fd7970a2-7a0c-4b70-8263-dcc64c0076cf" providerId="ADAL" clId="{05A1DA8D-63B9-4B1C-AA10-E7BD2B032652}" dt="2020-06-17T08:59:07.908" v="4095"/>
          <ac:spMkLst>
            <pc:docMk/>
            <pc:sldMk cId="510533272" sldId="410"/>
            <ac:spMk id="59" creationId="{BFCE289E-F5E9-4E8B-8AAD-A4731852E33C}"/>
          </ac:spMkLst>
        </pc:spChg>
        <pc:spChg chg="add del">
          <ac:chgData name="Daniele, L.M. (Laura)" userId="fd7970a2-7a0c-4b70-8263-dcc64c0076cf" providerId="ADAL" clId="{05A1DA8D-63B9-4B1C-AA10-E7BD2B032652}" dt="2020-06-17T08:59:07.908" v="4095"/>
          <ac:spMkLst>
            <pc:docMk/>
            <pc:sldMk cId="510533272" sldId="410"/>
            <ac:spMk id="60" creationId="{5943735D-F7D5-4AD1-B0AA-19B9B27ABB89}"/>
          </ac:spMkLst>
        </pc:spChg>
        <pc:spChg chg="add del">
          <ac:chgData name="Daniele, L.M. (Laura)" userId="fd7970a2-7a0c-4b70-8263-dcc64c0076cf" providerId="ADAL" clId="{05A1DA8D-63B9-4B1C-AA10-E7BD2B032652}" dt="2020-06-17T08:59:07.908" v="4095"/>
          <ac:spMkLst>
            <pc:docMk/>
            <pc:sldMk cId="510533272" sldId="410"/>
            <ac:spMk id="61" creationId="{BF31B1CA-B874-402C-ACFD-DA6B2F939ABF}"/>
          </ac:spMkLst>
        </pc:spChg>
        <pc:spChg chg="add del">
          <ac:chgData name="Daniele, L.M. (Laura)" userId="fd7970a2-7a0c-4b70-8263-dcc64c0076cf" providerId="ADAL" clId="{05A1DA8D-63B9-4B1C-AA10-E7BD2B032652}" dt="2020-06-17T08:59:07.908" v="4095"/>
          <ac:spMkLst>
            <pc:docMk/>
            <pc:sldMk cId="510533272" sldId="410"/>
            <ac:spMk id="62" creationId="{6F20657D-57FA-4E10-B0F4-5F64B2844A71}"/>
          </ac:spMkLst>
        </pc:spChg>
        <pc:spChg chg="add del">
          <ac:chgData name="Daniele, L.M. (Laura)" userId="fd7970a2-7a0c-4b70-8263-dcc64c0076cf" providerId="ADAL" clId="{05A1DA8D-63B9-4B1C-AA10-E7BD2B032652}" dt="2020-06-17T08:59:07.908" v="4095"/>
          <ac:spMkLst>
            <pc:docMk/>
            <pc:sldMk cId="510533272" sldId="410"/>
            <ac:spMk id="63" creationId="{2839FBA8-42E1-4B52-9F17-DF2EE74FFEAD}"/>
          </ac:spMkLst>
        </pc:spChg>
        <pc:spChg chg="add del">
          <ac:chgData name="Daniele, L.M. (Laura)" userId="fd7970a2-7a0c-4b70-8263-dcc64c0076cf" providerId="ADAL" clId="{05A1DA8D-63B9-4B1C-AA10-E7BD2B032652}" dt="2020-06-17T08:59:07.908" v="4095"/>
          <ac:spMkLst>
            <pc:docMk/>
            <pc:sldMk cId="510533272" sldId="410"/>
            <ac:spMk id="64" creationId="{6F9AD300-286F-4C5E-BBBE-7C853257C0F3}"/>
          </ac:spMkLst>
        </pc:spChg>
        <pc:spChg chg="add del mod">
          <ac:chgData name="Daniele, L.M. (Laura)" userId="fd7970a2-7a0c-4b70-8263-dcc64c0076cf" providerId="ADAL" clId="{05A1DA8D-63B9-4B1C-AA10-E7BD2B032652}" dt="2020-06-17T09:10:19.630" v="4392" actId="478"/>
          <ac:spMkLst>
            <pc:docMk/>
            <pc:sldMk cId="510533272" sldId="410"/>
            <ac:spMk id="101" creationId="{E25EE3E6-7A3F-4242-BF40-C4ABA11156AE}"/>
          </ac:spMkLst>
        </pc:spChg>
        <pc:spChg chg="add del mod">
          <ac:chgData name="Daniele, L.M. (Laura)" userId="fd7970a2-7a0c-4b70-8263-dcc64c0076cf" providerId="ADAL" clId="{05A1DA8D-63B9-4B1C-AA10-E7BD2B032652}" dt="2020-06-17T09:10:19.630" v="4392" actId="478"/>
          <ac:spMkLst>
            <pc:docMk/>
            <pc:sldMk cId="510533272" sldId="410"/>
            <ac:spMk id="102" creationId="{68C12A71-C1EC-4581-B4A1-E8EDF31FF000}"/>
          </ac:spMkLst>
        </pc:spChg>
        <pc:spChg chg="add del mod">
          <ac:chgData name="Daniele, L.M. (Laura)" userId="fd7970a2-7a0c-4b70-8263-dcc64c0076cf" providerId="ADAL" clId="{05A1DA8D-63B9-4B1C-AA10-E7BD2B032652}" dt="2020-06-17T09:10:19.630" v="4392" actId="478"/>
          <ac:spMkLst>
            <pc:docMk/>
            <pc:sldMk cId="510533272" sldId="410"/>
            <ac:spMk id="103" creationId="{CDECDB58-0F56-44D3-BB55-275C6282D532}"/>
          </ac:spMkLst>
        </pc:spChg>
        <pc:spChg chg="add del mod">
          <ac:chgData name="Daniele, L.M. (Laura)" userId="fd7970a2-7a0c-4b70-8263-dcc64c0076cf" providerId="ADAL" clId="{05A1DA8D-63B9-4B1C-AA10-E7BD2B032652}" dt="2020-06-17T09:10:19.630" v="4392" actId="478"/>
          <ac:spMkLst>
            <pc:docMk/>
            <pc:sldMk cId="510533272" sldId="410"/>
            <ac:spMk id="104" creationId="{8EE0E1D0-E226-4958-9643-0820770683CC}"/>
          </ac:spMkLst>
        </pc:spChg>
        <pc:spChg chg="add del mod">
          <ac:chgData name="Daniele, L.M. (Laura)" userId="fd7970a2-7a0c-4b70-8263-dcc64c0076cf" providerId="ADAL" clId="{05A1DA8D-63B9-4B1C-AA10-E7BD2B032652}" dt="2020-06-17T09:10:19.630" v="4392" actId="478"/>
          <ac:spMkLst>
            <pc:docMk/>
            <pc:sldMk cId="510533272" sldId="410"/>
            <ac:spMk id="105" creationId="{1E5EB2D4-86F0-4309-8443-F7EF205D14D5}"/>
          </ac:spMkLst>
        </pc:spChg>
        <pc:spChg chg="add del mod">
          <ac:chgData name="Daniele, L.M. (Laura)" userId="fd7970a2-7a0c-4b70-8263-dcc64c0076cf" providerId="ADAL" clId="{05A1DA8D-63B9-4B1C-AA10-E7BD2B032652}" dt="2020-06-17T09:10:19.630" v="4392" actId="478"/>
          <ac:spMkLst>
            <pc:docMk/>
            <pc:sldMk cId="510533272" sldId="410"/>
            <ac:spMk id="106" creationId="{21A395AA-8C2B-4C84-A3E1-BE1969A20998}"/>
          </ac:spMkLst>
        </pc:spChg>
        <pc:spChg chg="add mod">
          <ac:chgData name="Daniele, L.M. (Laura)" userId="fd7970a2-7a0c-4b70-8263-dcc64c0076cf" providerId="ADAL" clId="{05A1DA8D-63B9-4B1C-AA10-E7BD2B032652}" dt="2020-06-17T08:59:22.063" v="4097" actId="1076"/>
          <ac:spMkLst>
            <pc:docMk/>
            <pc:sldMk cId="510533272" sldId="410"/>
            <ac:spMk id="107" creationId="{0697D137-06AB-4778-BB4F-AEC73F4C1E97}"/>
          </ac:spMkLst>
        </pc:spChg>
        <pc:spChg chg="add del mod">
          <ac:chgData name="Daniele, L.M. (Laura)" userId="fd7970a2-7a0c-4b70-8263-dcc64c0076cf" providerId="ADAL" clId="{05A1DA8D-63B9-4B1C-AA10-E7BD2B032652}" dt="2020-06-17T09:10:19.630" v="4392" actId="478"/>
          <ac:spMkLst>
            <pc:docMk/>
            <pc:sldMk cId="510533272" sldId="410"/>
            <ac:spMk id="108" creationId="{230F992F-3D70-4A7F-A75F-0D5C7EB3FA74}"/>
          </ac:spMkLst>
        </pc:spChg>
        <pc:spChg chg="add del mod">
          <ac:chgData name="Daniele, L.M. (Laura)" userId="fd7970a2-7a0c-4b70-8263-dcc64c0076cf" providerId="ADAL" clId="{05A1DA8D-63B9-4B1C-AA10-E7BD2B032652}" dt="2020-06-17T09:10:19.630" v="4392" actId="478"/>
          <ac:spMkLst>
            <pc:docMk/>
            <pc:sldMk cId="510533272" sldId="410"/>
            <ac:spMk id="109" creationId="{81DB0B2C-8849-450B-915C-953F17699A19}"/>
          </ac:spMkLst>
        </pc:spChg>
        <pc:spChg chg="add del mod">
          <ac:chgData name="Daniele, L.M. (Laura)" userId="fd7970a2-7a0c-4b70-8263-dcc64c0076cf" providerId="ADAL" clId="{05A1DA8D-63B9-4B1C-AA10-E7BD2B032652}" dt="2020-06-17T09:10:19.630" v="4392" actId="478"/>
          <ac:spMkLst>
            <pc:docMk/>
            <pc:sldMk cId="510533272" sldId="410"/>
            <ac:spMk id="110" creationId="{909844CC-B853-4D8A-8DB4-AE6C7D1B769F}"/>
          </ac:spMkLst>
        </pc:spChg>
        <pc:spChg chg="add del mod">
          <ac:chgData name="Daniele, L.M. (Laura)" userId="fd7970a2-7a0c-4b70-8263-dcc64c0076cf" providerId="ADAL" clId="{05A1DA8D-63B9-4B1C-AA10-E7BD2B032652}" dt="2020-06-17T09:10:23.424" v="4394" actId="478"/>
          <ac:spMkLst>
            <pc:docMk/>
            <pc:sldMk cId="510533272" sldId="410"/>
            <ac:spMk id="111" creationId="{6F6D3713-1F58-491E-ABA9-D92DA2019651}"/>
          </ac:spMkLst>
        </pc:spChg>
        <pc:spChg chg="add del mod">
          <ac:chgData name="Daniele, L.M. (Laura)" userId="fd7970a2-7a0c-4b70-8263-dcc64c0076cf" providerId="ADAL" clId="{05A1DA8D-63B9-4B1C-AA10-E7BD2B032652}" dt="2020-06-17T09:10:19.630" v="4392" actId="478"/>
          <ac:spMkLst>
            <pc:docMk/>
            <pc:sldMk cId="510533272" sldId="410"/>
            <ac:spMk id="112" creationId="{5A928202-55B7-40CC-B214-37C2C0315B6D}"/>
          </ac:spMkLst>
        </pc:spChg>
        <pc:spChg chg="add del mod">
          <ac:chgData name="Daniele, L.M. (Laura)" userId="fd7970a2-7a0c-4b70-8263-dcc64c0076cf" providerId="ADAL" clId="{05A1DA8D-63B9-4B1C-AA10-E7BD2B032652}" dt="2020-06-17T09:10:19.630" v="4392" actId="478"/>
          <ac:spMkLst>
            <pc:docMk/>
            <pc:sldMk cId="510533272" sldId="410"/>
            <ac:spMk id="113" creationId="{56CDBF9B-F698-4C6E-933E-EB41E8A78C6D}"/>
          </ac:spMkLst>
        </pc:spChg>
        <pc:spChg chg="add del mod">
          <ac:chgData name="Daniele, L.M. (Laura)" userId="fd7970a2-7a0c-4b70-8263-dcc64c0076cf" providerId="ADAL" clId="{05A1DA8D-63B9-4B1C-AA10-E7BD2B032652}" dt="2020-06-17T09:10:19.630" v="4392" actId="478"/>
          <ac:spMkLst>
            <pc:docMk/>
            <pc:sldMk cId="510533272" sldId="410"/>
            <ac:spMk id="114" creationId="{716C4DE6-B502-4CDD-BF13-74B5343B4AB5}"/>
          </ac:spMkLst>
        </pc:spChg>
        <pc:spChg chg="add del mod">
          <ac:chgData name="Daniele, L.M. (Laura)" userId="fd7970a2-7a0c-4b70-8263-dcc64c0076cf" providerId="ADAL" clId="{05A1DA8D-63B9-4B1C-AA10-E7BD2B032652}" dt="2020-06-17T09:10:19.630" v="4392" actId="478"/>
          <ac:spMkLst>
            <pc:docMk/>
            <pc:sldMk cId="510533272" sldId="410"/>
            <ac:spMk id="115" creationId="{672AB40D-7809-43DA-B656-013E3D2E9BA6}"/>
          </ac:spMkLst>
        </pc:spChg>
        <pc:spChg chg="add del mod">
          <ac:chgData name="Daniele, L.M. (Laura)" userId="fd7970a2-7a0c-4b70-8263-dcc64c0076cf" providerId="ADAL" clId="{05A1DA8D-63B9-4B1C-AA10-E7BD2B032652}" dt="2020-06-17T09:10:19.630" v="4392" actId="478"/>
          <ac:spMkLst>
            <pc:docMk/>
            <pc:sldMk cId="510533272" sldId="410"/>
            <ac:spMk id="116" creationId="{B1FBC875-5DB5-4F82-AE1F-15E247DB35E9}"/>
          </ac:spMkLst>
        </pc:spChg>
        <pc:spChg chg="add del mod">
          <ac:chgData name="Daniele, L.M. (Laura)" userId="fd7970a2-7a0c-4b70-8263-dcc64c0076cf" providerId="ADAL" clId="{05A1DA8D-63B9-4B1C-AA10-E7BD2B032652}" dt="2020-06-17T09:10:19.630" v="4392" actId="478"/>
          <ac:spMkLst>
            <pc:docMk/>
            <pc:sldMk cId="510533272" sldId="410"/>
            <ac:spMk id="117" creationId="{F8528140-9CF9-4B9A-8819-D399802C78BB}"/>
          </ac:spMkLst>
        </pc:spChg>
        <pc:spChg chg="add del mod">
          <ac:chgData name="Daniele, L.M. (Laura)" userId="fd7970a2-7a0c-4b70-8263-dcc64c0076cf" providerId="ADAL" clId="{05A1DA8D-63B9-4B1C-AA10-E7BD2B032652}" dt="2020-06-17T09:10:16.656" v="4391" actId="478"/>
          <ac:spMkLst>
            <pc:docMk/>
            <pc:sldMk cId="510533272" sldId="410"/>
            <ac:spMk id="152" creationId="{57689F22-7FF7-4A64-ADCC-8E22FAFF53AB}"/>
          </ac:spMkLst>
        </pc:spChg>
        <pc:spChg chg="add del mod">
          <ac:chgData name="Daniele, L.M. (Laura)" userId="fd7970a2-7a0c-4b70-8263-dcc64c0076cf" providerId="ADAL" clId="{05A1DA8D-63B9-4B1C-AA10-E7BD2B032652}" dt="2020-06-17T09:10:19.630" v="4392" actId="478"/>
          <ac:spMkLst>
            <pc:docMk/>
            <pc:sldMk cId="510533272" sldId="410"/>
            <ac:spMk id="153" creationId="{02E5AF32-BC18-4CCB-A698-9510BC99B88E}"/>
          </ac:spMkLst>
        </pc:spChg>
        <pc:spChg chg="add del mod">
          <ac:chgData name="Daniele, L.M. (Laura)" userId="fd7970a2-7a0c-4b70-8263-dcc64c0076cf" providerId="ADAL" clId="{05A1DA8D-63B9-4B1C-AA10-E7BD2B032652}" dt="2020-06-17T09:10:19.630" v="4392" actId="478"/>
          <ac:spMkLst>
            <pc:docMk/>
            <pc:sldMk cId="510533272" sldId="410"/>
            <ac:spMk id="154" creationId="{B6B14925-D562-4C46-8DCD-443C9CF8280B}"/>
          </ac:spMkLst>
        </pc:spChg>
        <pc:spChg chg="add del mod">
          <ac:chgData name="Daniele, L.M. (Laura)" userId="fd7970a2-7a0c-4b70-8263-dcc64c0076cf" providerId="ADAL" clId="{05A1DA8D-63B9-4B1C-AA10-E7BD2B032652}" dt="2020-06-17T09:10:19.630" v="4392" actId="478"/>
          <ac:spMkLst>
            <pc:docMk/>
            <pc:sldMk cId="510533272" sldId="410"/>
            <ac:spMk id="155" creationId="{A204A7B5-9A00-4BE9-A19E-F294F81652A9}"/>
          </ac:spMkLst>
        </pc:spChg>
        <pc:spChg chg="add del mod">
          <ac:chgData name="Daniele, L.M. (Laura)" userId="fd7970a2-7a0c-4b70-8263-dcc64c0076cf" providerId="ADAL" clId="{05A1DA8D-63B9-4B1C-AA10-E7BD2B032652}" dt="2020-06-17T09:10:19.630" v="4392" actId="478"/>
          <ac:spMkLst>
            <pc:docMk/>
            <pc:sldMk cId="510533272" sldId="410"/>
            <ac:spMk id="156" creationId="{F57434D6-ED05-44E4-BDFA-3D6FF887F928}"/>
          </ac:spMkLst>
        </pc:spChg>
        <pc:spChg chg="add del mod">
          <ac:chgData name="Daniele, L.M. (Laura)" userId="fd7970a2-7a0c-4b70-8263-dcc64c0076cf" providerId="ADAL" clId="{05A1DA8D-63B9-4B1C-AA10-E7BD2B032652}" dt="2020-06-17T09:10:19.630" v="4392" actId="478"/>
          <ac:spMkLst>
            <pc:docMk/>
            <pc:sldMk cId="510533272" sldId="410"/>
            <ac:spMk id="157" creationId="{34603E61-A740-431D-9AAC-658CE3FE0ABB}"/>
          </ac:spMkLst>
        </pc:spChg>
        <pc:spChg chg="add del mod">
          <ac:chgData name="Daniele, L.M. (Laura)" userId="fd7970a2-7a0c-4b70-8263-dcc64c0076cf" providerId="ADAL" clId="{05A1DA8D-63B9-4B1C-AA10-E7BD2B032652}" dt="2020-06-17T09:10:19.630" v="4392" actId="478"/>
          <ac:spMkLst>
            <pc:docMk/>
            <pc:sldMk cId="510533272" sldId="410"/>
            <ac:spMk id="158" creationId="{4AAD8776-5A83-4CDF-A094-0D936C648893}"/>
          </ac:spMkLst>
        </pc:spChg>
        <pc:spChg chg="add del mod">
          <ac:chgData name="Daniele, L.M. (Laura)" userId="fd7970a2-7a0c-4b70-8263-dcc64c0076cf" providerId="ADAL" clId="{05A1DA8D-63B9-4B1C-AA10-E7BD2B032652}" dt="2020-06-17T09:10:19.630" v="4392" actId="478"/>
          <ac:spMkLst>
            <pc:docMk/>
            <pc:sldMk cId="510533272" sldId="410"/>
            <ac:spMk id="159" creationId="{F548DA36-991C-4B53-9A77-F1F77D62214C}"/>
          </ac:spMkLst>
        </pc:spChg>
        <pc:spChg chg="add del mod">
          <ac:chgData name="Daniele, L.M. (Laura)" userId="fd7970a2-7a0c-4b70-8263-dcc64c0076cf" providerId="ADAL" clId="{05A1DA8D-63B9-4B1C-AA10-E7BD2B032652}" dt="2020-06-17T09:10:19.630" v="4392" actId="478"/>
          <ac:spMkLst>
            <pc:docMk/>
            <pc:sldMk cId="510533272" sldId="410"/>
            <ac:spMk id="160" creationId="{CAC3C8ED-28D9-4678-A46D-431B846F3C0F}"/>
          </ac:spMkLst>
        </pc:spChg>
        <pc:spChg chg="add del">
          <ac:chgData name="Daniele, L.M. (Laura)" userId="fd7970a2-7a0c-4b70-8263-dcc64c0076cf" providerId="ADAL" clId="{05A1DA8D-63B9-4B1C-AA10-E7BD2B032652}" dt="2020-06-17T09:10:45.353" v="4400"/>
          <ac:spMkLst>
            <pc:docMk/>
            <pc:sldMk cId="510533272" sldId="410"/>
            <ac:spMk id="198" creationId="{3B0D2B46-4928-4464-9F47-043889C85AB9}"/>
          </ac:spMkLst>
        </pc:spChg>
        <pc:spChg chg="add del">
          <ac:chgData name="Daniele, L.M. (Laura)" userId="fd7970a2-7a0c-4b70-8263-dcc64c0076cf" providerId="ADAL" clId="{05A1DA8D-63B9-4B1C-AA10-E7BD2B032652}" dt="2020-06-17T09:10:45.353" v="4400"/>
          <ac:spMkLst>
            <pc:docMk/>
            <pc:sldMk cId="510533272" sldId="410"/>
            <ac:spMk id="199" creationId="{06C4E3F3-FE33-4C90-BA8C-3DAC173BDB8F}"/>
          </ac:spMkLst>
        </pc:spChg>
        <pc:spChg chg="add del">
          <ac:chgData name="Daniele, L.M. (Laura)" userId="fd7970a2-7a0c-4b70-8263-dcc64c0076cf" providerId="ADAL" clId="{05A1DA8D-63B9-4B1C-AA10-E7BD2B032652}" dt="2020-06-17T09:10:45.353" v="4400"/>
          <ac:spMkLst>
            <pc:docMk/>
            <pc:sldMk cId="510533272" sldId="410"/>
            <ac:spMk id="200" creationId="{42673302-7051-4CB9-91E6-85313BB8281D}"/>
          </ac:spMkLst>
        </pc:spChg>
        <pc:spChg chg="add del">
          <ac:chgData name="Daniele, L.M. (Laura)" userId="fd7970a2-7a0c-4b70-8263-dcc64c0076cf" providerId="ADAL" clId="{05A1DA8D-63B9-4B1C-AA10-E7BD2B032652}" dt="2020-06-17T09:10:45.353" v="4400"/>
          <ac:spMkLst>
            <pc:docMk/>
            <pc:sldMk cId="510533272" sldId="410"/>
            <ac:spMk id="201" creationId="{6822B400-3E9C-4D3B-8C50-BAE38CB17B2F}"/>
          </ac:spMkLst>
        </pc:spChg>
        <pc:spChg chg="add del">
          <ac:chgData name="Daniele, L.M. (Laura)" userId="fd7970a2-7a0c-4b70-8263-dcc64c0076cf" providerId="ADAL" clId="{05A1DA8D-63B9-4B1C-AA10-E7BD2B032652}" dt="2020-06-17T09:10:45.353" v="4400"/>
          <ac:spMkLst>
            <pc:docMk/>
            <pc:sldMk cId="510533272" sldId="410"/>
            <ac:spMk id="202" creationId="{8466E8BA-57F8-4486-AEA7-AD66305BD2A8}"/>
          </ac:spMkLst>
        </pc:spChg>
        <pc:spChg chg="add del">
          <ac:chgData name="Daniele, L.M. (Laura)" userId="fd7970a2-7a0c-4b70-8263-dcc64c0076cf" providerId="ADAL" clId="{05A1DA8D-63B9-4B1C-AA10-E7BD2B032652}" dt="2020-06-17T09:10:45.353" v="4400"/>
          <ac:spMkLst>
            <pc:docMk/>
            <pc:sldMk cId="510533272" sldId="410"/>
            <ac:spMk id="203" creationId="{82B7997A-4C3E-4F67-A97F-64CCA03EE742}"/>
          </ac:spMkLst>
        </pc:spChg>
        <pc:spChg chg="add del">
          <ac:chgData name="Daniele, L.M. (Laura)" userId="fd7970a2-7a0c-4b70-8263-dcc64c0076cf" providerId="ADAL" clId="{05A1DA8D-63B9-4B1C-AA10-E7BD2B032652}" dt="2020-06-17T09:10:45.353" v="4400"/>
          <ac:spMkLst>
            <pc:docMk/>
            <pc:sldMk cId="510533272" sldId="410"/>
            <ac:spMk id="204" creationId="{8C06F8C5-60BC-40E0-9EF0-F7AEF5225519}"/>
          </ac:spMkLst>
        </pc:spChg>
        <pc:spChg chg="add del">
          <ac:chgData name="Daniele, L.M. (Laura)" userId="fd7970a2-7a0c-4b70-8263-dcc64c0076cf" providerId="ADAL" clId="{05A1DA8D-63B9-4B1C-AA10-E7BD2B032652}" dt="2020-06-17T09:10:45.353" v="4400"/>
          <ac:spMkLst>
            <pc:docMk/>
            <pc:sldMk cId="510533272" sldId="410"/>
            <ac:spMk id="205" creationId="{8400B45E-D984-46CA-A279-3D7866EC262B}"/>
          </ac:spMkLst>
        </pc:spChg>
        <pc:spChg chg="add del">
          <ac:chgData name="Daniele, L.M. (Laura)" userId="fd7970a2-7a0c-4b70-8263-dcc64c0076cf" providerId="ADAL" clId="{05A1DA8D-63B9-4B1C-AA10-E7BD2B032652}" dt="2020-06-17T09:10:45.353" v="4400"/>
          <ac:spMkLst>
            <pc:docMk/>
            <pc:sldMk cId="510533272" sldId="410"/>
            <ac:spMk id="206" creationId="{B1341C56-67B4-4E0C-87F2-AE124892F0C9}"/>
          </ac:spMkLst>
        </pc:spChg>
        <pc:spChg chg="add del">
          <ac:chgData name="Daniele, L.M. (Laura)" userId="fd7970a2-7a0c-4b70-8263-dcc64c0076cf" providerId="ADAL" clId="{05A1DA8D-63B9-4B1C-AA10-E7BD2B032652}" dt="2020-06-17T09:10:45.353" v="4400"/>
          <ac:spMkLst>
            <pc:docMk/>
            <pc:sldMk cId="510533272" sldId="410"/>
            <ac:spMk id="207" creationId="{2B33CE83-832E-4A73-BE12-9AD0ED10C78B}"/>
          </ac:spMkLst>
        </pc:spChg>
        <pc:spChg chg="add del">
          <ac:chgData name="Daniele, L.M. (Laura)" userId="fd7970a2-7a0c-4b70-8263-dcc64c0076cf" providerId="ADAL" clId="{05A1DA8D-63B9-4B1C-AA10-E7BD2B032652}" dt="2020-06-17T09:10:45.353" v="4400"/>
          <ac:spMkLst>
            <pc:docMk/>
            <pc:sldMk cId="510533272" sldId="410"/>
            <ac:spMk id="208" creationId="{D85383EB-FF34-4610-8C04-1221D825CF13}"/>
          </ac:spMkLst>
        </pc:spChg>
        <pc:spChg chg="add del">
          <ac:chgData name="Daniele, L.M. (Laura)" userId="fd7970a2-7a0c-4b70-8263-dcc64c0076cf" providerId="ADAL" clId="{05A1DA8D-63B9-4B1C-AA10-E7BD2B032652}" dt="2020-06-17T09:10:45.353" v="4400"/>
          <ac:spMkLst>
            <pc:docMk/>
            <pc:sldMk cId="510533272" sldId="410"/>
            <ac:spMk id="209" creationId="{90902A8C-23F6-4C23-8823-8DF3F4BD673E}"/>
          </ac:spMkLst>
        </pc:spChg>
        <pc:spChg chg="add del">
          <ac:chgData name="Daniele, L.M. (Laura)" userId="fd7970a2-7a0c-4b70-8263-dcc64c0076cf" providerId="ADAL" clId="{05A1DA8D-63B9-4B1C-AA10-E7BD2B032652}" dt="2020-06-17T09:10:45.353" v="4400"/>
          <ac:spMkLst>
            <pc:docMk/>
            <pc:sldMk cId="510533272" sldId="410"/>
            <ac:spMk id="210" creationId="{7F872095-1DCC-4947-BF43-46DF123E6DE0}"/>
          </ac:spMkLst>
        </pc:spChg>
        <pc:spChg chg="add del">
          <ac:chgData name="Daniele, L.M. (Laura)" userId="fd7970a2-7a0c-4b70-8263-dcc64c0076cf" providerId="ADAL" clId="{05A1DA8D-63B9-4B1C-AA10-E7BD2B032652}" dt="2020-06-17T09:10:45.353" v="4400"/>
          <ac:spMkLst>
            <pc:docMk/>
            <pc:sldMk cId="510533272" sldId="410"/>
            <ac:spMk id="211" creationId="{9F096A59-0AE4-46AB-933E-559E07D046B3}"/>
          </ac:spMkLst>
        </pc:spChg>
        <pc:spChg chg="add del">
          <ac:chgData name="Daniele, L.M. (Laura)" userId="fd7970a2-7a0c-4b70-8263-dcc64c0076cf" providerId="ADAL" clId="{05A1DA8D-63B9-4B1C-AA10-E7BD2B032652}" dt="2020-06-17T09:10:45.353" v="4400"/>
          <ac:spMkLst>
            <pc:docMk/>
            <pc:sldMk cId="510533272" sldId="410"/>
            <ac:spMk id="212" creationId="{604D0668-C3D9-431B-906A-0EC64F57700C}"/>
          </ac:spMkLst>
        </pc:spChg>
        <pc:spChg chg="add del">
          <ac:chgData name="Daniele, L.M. (Laura)" userId="fd7970a2-7a0c-4b70-8263-dcc64c0076cf" providerId="ADAL" clId="{05A1DA8D-63B9-4B1C-AA10-E7BD2B032652}" dt="2020-06-17T09:10:45.353" v="4400"/>
          <ac:spMkLst>
            <pc:docMk/>
            <pc:sldMk cId="510533272" sldId="410"/>
            <ac:spMk id="213" creationId="{DFA3337C-A26F-4D4D-8652-8A13FF6C9F30}"/>
          </ac:spMkLst>
        </pc:spChg>
        <pc:spChg chg="add del">
          <ac:chgData name="Daniele, L.M. (Laura)" userId="fd7970a2-7a0c-4b70-8263-dcc64c0076cf" providerId="ADAL" clId="{05A1DA8D-63B9-4B1C-AA10-E7BD2B032652}" dt="2020-06-17T09:10:45.353" v="4400"/>
          <ac:spMkLst>
            <pc:docMk/>
            <pc:sldMk cId="510533272" sldId="410"/>
            <ac:spMk id="214" creationId="{A8525D31-E520-406F-B086-591C0FFDB42F}"/>
          </ac:spMkLst>
        </pc:spChg>
        <pc:spChg chg="add del">
          <ac:chgData name="Daniele, L.M. (Laura)" userId="fd7970a2-7a0c-4b70-8263-dcc64c0076cf" providerId="ADAL" clId="{05A1DA8D-63B9-4B1C-AA10-E7BD2B032652}" dt="2020-06-17T09:10:45.353" v="4400"/>
          <ac:spMkLst>
            <pc:docMk/>
            <pc:sldMk cId="510533272" sldId="410"/>
            <ac:spMk id="215" creationId="{C337D5CC-73D2-4A66-A840-1DF675D5D89D}"/>
          </ac:spMkLst>
        </pc:spChg>
        <pc:spChg chg="add del">
          <ac:chgData name="Daniele, L.M. (Laura)" userId="fd7970a2-7a0c-4b70-8263-dcc64c0076cf" providerId="ADAL" clId="{05A1DA8D-63B9-4B1C-AA10-E7BD2B032652}" dt="2020-06-17T09:10:45.353" v="4400"/>
          <ac:spMkLst>
            <pc:docMk/>
            <pc:sldMk cId="510533272" sldId="410"/>
            <ac:spMk id="250" creationId="{B277BB06-4E26-4195-B154-C592C3DAB9FC}"/>
          </ac:spMkLst>
        </pc:spChg>
        <pc:spChg chg="add del">
          <ac:chgData name="Daniele, L.M. (Laura)" userId="fd7970a2-7a0c-4b70-8263-dcc64c0076cf" providerId="ADAL" clId="{05A1DA8D-63B9-4B1C-AA10-E7BD2B032652}" dt="2020-06-17T09:10:45.353" v="4400"/>
          <ac:spMkLst>
            <pc:docMk/>
            <pc:sldMk cId="510533272" sldId="410"/>
            <ac:spMk id="251" creationId="{4FECB6AC-117D-4697-AE45-AAEFCF871FFA}"/>
          </ac:spMkLst>
        </pc:spChg>
        <pc:spChg chg="add del">
          <ac:chgData name="Daniele, L.M. (Laura)" userId="fd7970a2-7a0c-4b70-8263-dcc64c0076cf" providerId="ADAL" clId="{05A1DA8D-63B9-4B1C-AA10-E7BD2B032652}" dt="2020-06-17T09:10:45.353" v="4400"/>
          <ac:spMkLst>
            <pc:docMk/>
            <pc:sldMk cId="510533272" sldId="410"/>
            <ac:spMk id="252" creationId="{706B9688-3749-4FDB-933B-62E5FD84C07B}"/>
          </ac:spMkLst>
        </pc:spChg>
        <pc:spChg chg="add del">
          <ac:chgData name="Daniele, L.M. (Laura)" userId="fd7970a2-7a0c-4b70-8263-dcc64c0076cf" providerId="ADAL" clId="{05A1DA8D-63B9-4B1C-AA10-E7BD2B032652}" dt="2020-06-17T09:10:45.353" v="4400"/>
          <ac:spMkLst>
            <pc:docMk/>
            <pc:sldMk cId="510533272" sldId="410"/>
            <ac:spMk id="253" creationId="{431D3039-111C-4DD2-84E2-F5AF480724A3}"/>
          </ac:spMkLst>
        </pc:spChg>
        <pc:spChg chg="add del">
          <ac:chgData name="Daniele, L.M. (Laura)" userId="fd7970a2-7a0c-4b70-8263-dcc64c0076cf" providerId="ADAL" clId="{05A1DA8D-63B9-4B1C-AA10-E7BD2B032652}" dt="2020-06-17T09:10:45.353" v="4400"/>
          <ac:spMkLst>
            <pc:docMk/>
            <pc:sldMk cId="510533272" sldId="410"/>
            <ac:spMk id="254" creationId="{AD4EC37A-11A5-4809-AD63-A61F5F389778}"/>
          </ac:spMkLst>
        </pc:spChg>
        <pc:spChg chg="add del">
          <ac:chgData name="Daniele, L.M. (Laura)" userId="fd7970a2-7a0c-4b70-8263-dcc64c0076cf" providerId="ADAL" clId="{05A1DA8D-63B9-4B1C-AA10-E7BD2B032652}" dt="2020-06-17T09:10:45.353" v="4400"/>
          <ac:spMkLst>
            <pc:docMk/>
            <pc:sldMk cId="510533272" sldId="410"/>
            <ac:spMk id="255" creationId="{5E47AAB3-C5F5-46E4-AA43-EC7D49EA1A4B}"/>
          </ac:spMkLst>
        </pc:spChg>
        <pc:spChg chg="add del">
          <ac:chgData name="Daniele, L.M. (Laura)" userId="fd7970a2-7a0c-4b70-8263-dcc64c0076cf" providerId="ADAL" clId="{05A1DA8D-63B9-4B1C-AA10-E7BD2B032652}" dt="2020-06-17T09:10:45.353" v="4400"/>
          <ac:spMkLst>
            <pc:docMk/>
            <pc:sldMk cId="510533272" sldId="410"/>
            <ac:spMk id="256" creationId="{3BA52A46-6761-4BF1-AFF7-99C3BF5C3F2F}"/>
          </ac:spMkLst>
        </pc:spChg>
        <pc:spChg chg="add del">
          <ac:chgData name="Daniele, L.M. (Laura)" userId="fd7970a2-7a0c-4b70-8263-dcc64c0076cf" providerId="ADAL" clId="{05A1DA8D-63B9-4B1C-AA10-E7BD2B032652}" dt="2020-06-17T09:10:45.353" v="4400"/>
          <ac:spMkLst>
            <pc:docMk/>
            <pc:sldMk cId="510533272" sldId="410"/>
            <ac:spMk id="257" creationId="{1D655919-77D3-4181-A356-ACEF5F84045E}"/>
          </ac:spMkLst>
        </pc:spChg>
        <pc:spChg chg="add del">
          <ac:chgData name="Daniele, L.M. (Laura)" userId="fd7970a2-7a0c-4b70-8263-dcc64c0076cf" providerId="ADAL" clId="{05A1DA8D-63B9-4B1C-AA10-E7BD2B032652}" dt="2020-06-17T09:10:45.353" v="4400"/>
          <ac:spMkLst>
            <pc:docMk/>
            <pc:sldMk cId="510533272" sldId="410"/>
            <ac:spMk id="258" creationId="{113DFE71-0EF7-4352-934A-3CEB8CECB0FA}"/>
          </ac:spMkLst>
        </pc:spChg>
        <pc:grpChg chg="add del">
          <ac:chgData name="Daniele, L.M. (Laura)" userId="fd7970a2-7a0c-4b70-8263-dcc64c0076cf" providerId="ADAL" clId="{05A1DA8D-63B9-4B1C-AA10-E7BD2B032652}" dt="2020-06-17T08:59:07.908" v="4095"/>
          <ac:grpSpMkLst>
            <pc:docMk/>
            <pc:sldMk cId="510533272" sldId="410"/>
            <ac:grpSpMk id="22" creationId="{BBB086A5-9EA5-436F-A6DC-6E8A041C4235}"/>
          </ac:grpSpMkLst>
        </pc:grpChg>
        <pc:grpChg chg="add del">
          <ac:chgData name="Daniele, L.M. (Laura)" userId="fd7970a2-7a0c-4b70-8263-dcc64c0076cf" providerId="ADAL" clId="{05A1DA8D-63B9-4B1C-AA10-E7BD2B032652}" dt="2020-06-17T08:59:07.908" v="4095"/>
          <ac:grpSpMkLst>
            <pc:docMk/>
            <pc:sldMk cId="510533272" sldId="410"/>
            <ac:grpSpMk id="65" creationId="{67F3CFF6-C270-473F-A5E6-9651B966F98F}"/>
          </ac:grpSpMkLst>
        </pc:grpChg>
        <pc:grpChg chg="add del">
          <ac:chgData name="Daniele, L.M. (Laura)" userId="fd7970a2-7a0c-4b70-8263-dcc64c0076cf" providerId="ADAL" clId="{05A1DA8D-63B9-4B1C-AA10-E7BD2B032652}" dt="2020-06-17T08:59:07.908" v="4095"/>
          <ac:grpSpMkLst>
            <pc:docMk/>
            <pc:sldMk cId="510533272" sldId="410"/>
            <ac:grpSpMk id="69" creationId="{EDC89980-6461-445F-A48A-1BEACC72C9A4}"/>
          </ac:grpSpMkLst>
        </pc:grpChg>
        <pc:grpChg chg="add del">
          <ac:chgData name="Daniele, L.M. (Laura)" userId="fd7970a2-7a0c-4b70-8263-dcc64c0076cf" providerId="ADAL" clId="{05A1DA8D-63B9-4B1C-AA10-E7BD2B032652}" dt="2020-06-17T08:59:07.908" v="4095"/>
          <ac:grpSpMkLst>
            <pc:docMk/>
            <pc:sldMk cId="510533272" sldId="410"/>
            <ac:grpSpMk id="73" creationId="{BFFC75F0-ADD7-47F1-A127-7F36746AC330}"/>
          </ac:grpSpMkLst>
        </pc:grpChg>
        <pc:grpChg chg="add del">
          <ac:chgData name="Daniele, L.M. (Laura)" userId="fd7970a2-7a0c-4b70-8263-dcc64c0076cf" providerId="ADAL" clId="{05A1DA8D-63B9-4B1C-AA10-E7BD2B032652}" dt="2020-06-17T08:59:07.908" v="4095"/>
          <ac:grpSpMkLst>
            <pc:docMk/>
            <pc:sldMk cId="510533272" sldId="410"/>
            <ac:grpSpMk id="77" creationId="{C3E67BF4-DAC6-47F3-98AF-DF5BC8671E8E}"/>
          </ac:grpSpMkLst>
        </pc:grpChg>
        <pc:grpChg chg="add del">
          <ac:chgData name="Daniele, L.M. (Laura)" userId="fd7970a2-7a0c-4b70-8263-dcc64c0076cf" providerId="ADAL" clId="{05A1DA8D-63B9-4B1C-AA10-E7BD2B032652}" dt="2020-06-17T08:59:07.908" v="4095"/>
          <ac:grpSpMkLst>
            <pc:docMk/>
            <pc:sldMk cId="510533272" sldId="410"/>
            <ac:grpSpMk id="81" creationId="{E7DB7595-C70D-4710-839F-34244E33AF65}"/>
          </ac:grpSpMkLst>
        </pc:grpChg>
        <pc:grpChg chg="add del">
          <ac:chgData name="Daniele, L.M. (Laura)" userId="fd7970a2-7a0c-4b70-8263-dcc64c0076cf" providerId="ADAL" clId="{05A1DA8D-63B9-4B1C-AA10-E7BD2B032652}" dt="2020-06-17T08:59:07.908" v="4095"/>
          <ac:grpSpMkLst>
            <pc:docMk/>
            <pc:sldMk cId="510533272" sldId="410"/>
            <ac:grpSpMk id="85" creationId="{33184F89-4930-414C-A9C4-E31A08619FD7}"/>
          </ac:grpSpMkLst>
        </pc:grpChg>
        <pc:grpChg chg="add del">
          <ac:chgData name="Daniele, L.M. (Laura)" userId="fd7970a2-7a0c-4b70-8263-dcc64c0076cf" providerId="ADAL" clId="{05A1DA8D-63B9-4B1C-AA10-E7BD2B032652}" dt="2020-06-17T08:59:07.908" v="4095"/>
          <ac:grpSpMkLst>
            <pc:docMk/>
            <pc:sldMk cId="510533272" sldId="410"/>
            <ac:grpSpMk id="89" creationId="{D9EFC268-5AF6-4C74-9518-686DA4ABFE72}"/>
          </ac:grpSpMkLst>
        </pc:grpChg>
        <pc:grpChg chg="add del">
          <ac:chgData name="Daniele, L.M. (Laura)" userId="fd7970a2-7a0c-4b70-8263-dcc64c0076cf" providerId="ADAL" clId="{05A1DA8D-63B9-4B1C-AA10-E7BD2B032652}" dt="2020-06-17T08:59:07.908" v="4095"/>
          <ac:grpSpMkLst>
            <pc:docMk/>
            <pc:sldMk cId="510533272" sldId="410"/>
            <ac:grpSpMk id="93" creationId="{D145133D-7AA8-45E5-86A2-57A5FC53AD32}"/>
          </ac:grpSpMkLst>
        </pc:grpChg>
        <pc:grpChg chg="add del">
          <ac:chgData name="Daniele, L.M. (Laura)" userId="fd7970a2-7a0c-4b70-8263-dcc64c0076cf" providerId="ADAL" clId="{05A1DA8D-63B9-4B1C-AA10-E7BD2B032652}" dt="2020-06-17T08:59:07.908" v="4095"/>
          <ac:grpSpMkLst>
            <pc:docMk/>
            <pc:sldMk cId="510533272" sldId="410"/>
            <ac:grpSpMk id="97" creationId="{46E2F120-4711-4DB3-8374-1BCB6038265C}"/>
          </ac:grpSpMkLst>
        </pc:grpChg>
        <pc:grpChg chg="add del mod">
          <ac:chgData name="Daniele, L.M. (Laura)" userId="fd7970a2-7a0c-4b70-8263-dcc64c0076cf" providerId="ADAL" clId="{05A1DA8D-63B9-4B1C-AA10-E7BD2B032652}" dt="2020-06-17T09:10:19.630" v="4392" actId="478"/>
          <ac:grpSpMkLst>
            <pc:docMk/>
            <pc:sldMk cId="510533272" sldId="410"/>
            <ac:grpSpMk id="118" creationId="{A04CC175-6A4F-4AD1-B975-DA91DD13CB40}"/>
          </ac:grpSpMkLst>
        </pc:grpChg>
        <pc:grpChg chg="mod">
          <ac:chgData name="Daniele, L.M. (Laura)" userId="fd7970a2-7a0c-4b70-8263-dcc64c0076cf" providerId="ADAL" clId="{05A1DA8D-63B9-4B1C-AA10-E7BD2B032652}" dt="2020-06-17T08:59:22.063" v="4097" actId="1076"/>
          <ac:grpSpMkLst>
            <pc:docMk/>
            <pc:sldMk cId="510533272" sldId="410"/>
            <ac:grpSpMk id="119" creationId="{94511D39-8588-4BAC-9387-103AAAA7E8E3}"/>
          </ac:grpSpMkLst>
        </pc:grpChg>
        <pc:grpChg chg="mod">
          <ac:chgData name="Daniele, L.M. (Laura)" userId="fd7970a2-7a0c-4b70-8263-dcc64c0076cf" providerId="ADAL" clId="{05A1DA8D-63B9-4B1C-AA10-E7BD2B032652}" dt="2020-06-17T08:59:22.063" v="4097" actId="1076"/>
          <ac:grpSpMkLst>
            <pc:docMk/>
            <pc:sldMk cId="510533272" sldId="410"/>
            <ac:grpSpMk id="120" creationId="{EAB3142E-799D-4986-85F0-25F82D322869}"/>
          </ac:grpSpMkLst>
        </pc:grpChg>
        <pc:grpChg chg="mod">
          <ac:chgData name="Daniele, L.M. (Laura)" userId="fd7970a2-7a0c-4b70-8263-dcc64c0076cf" providerId="ADAL" clId="{05A1DA8D-63B9-4B1C-AA10-E7BD2B032652}" dt="2020-06-17T08:59:22.063" v="4097" actId="1076"/>
          <ac:grpSpMkLst>
            <pc:docMk/>
            <pc:sldMk cId="510533272" sldId="410"/>
            <ac:grpSpMk id="121" creationId="{8B230650-BF27-4D39-A3B4-E136FD936436}"/>
          </ac:grpSpMkLst>
        </pc:grpChg>
        <pc:grpChg chg="mod">
          <ac:chgData name="Daniele, L.M. (Laura)" userId="fd7970a2-7a0c-4b70-8263-dcc64c0076cf" providerId="ADAL" clId="{05A1DA8D-63B9-4B1C-AA10-E7BD2B032652}" dt="2020-06-17T08:59:22.063" v="4097" actId="1076"/>
          <ac:grpSpMkLst>
            <pc:docMk/>
            <pc:sldMk cId="510533272" sldId="410"/>
            <ac:grpSpMk id="122" creationId="{06BA60AF-A201-46C8-8B69-AFD5EC9019DB}"/>
          </ac:grpSpMkLst>
        </pc:grpChg>
        <pc:grpChg chg="mod">
          <ac:chgData name="Daniele, L.M. (Laura)" userId="fd7970a2-7a0c-4b70-8263-dcc64c0076cf" providerId="ADAL" clId="{05A1DA8D-63B9-4B1C-AA10-E7BD2B032652}" dt="2020-06-17T08:59:22.063" v="4097" actId="1076"/>
          <ac:grpSpMkLst>
            <pc:docMk/>
            <pc:sldMk cId="510533272" sldId="410"/>
            <ac:grpSpMk id="123" creationId="{EFEE5F2A-B063-4F8A-8BDA-2D333A7B0804}"/>
          </ac:grpSpMkLst>
        </pc:grpChg>
        <pc:grpChg chg="mod">
          <ac:chgData name="Daniele, L.M. (Laura)" userId="fd7970a2-7a0c-4b70-8263-dcc64c0076cf" providerId="ADAL" clId="{05A1DA8D-63B9-4B1C-AA10-E7BD2B032652}" dt="2020-06-17T08:59:22.063" v="4097" actId="1076"/>
          <ac:grpSpMkLst>
            <pc:docMk/>
            <pc:sldMk cId="510533272" sldId="410"/>
            <ac:grpSpMk id="124" creationId="{BF731F55-60AA-40B4-8F0B-E316B21DD6E3}"/>
          </ac:grpSpMkLst>
        </pc:grpChg>
        <pc:grpChg chg="mod">
          <ac:chgData name="Daniele, L.M. (Laura)" userId="fd7970a2-7a0c-4b70-8263-dcc64c0076cf" providerId="ADAL" clId="{05A1DA8D-63B9-4B1C-AA10-E7BD2B032652}" dt="2020-06-17T08:59:22.063" v="4097" actId="1076"/>
          <ac:grpSpMkLst>
            <pc:docMk/>
            <pc:sldMk cId="510533272" sldId="410"/>
            <ac:grpSpMk id="125" creationId="{5B661718-44A5-424C-983E-9511827FF9DF}"/>
          </ac:grpSpMkLst>
        </pc:grpChg>
        <pc:grpChg chg="mod">
          <ac:chgData name="Daniele, L.M. (Laura)" userId="fd7970a2-7a0c-4b70-8263-dcc64c0076cf" providerId="ADAL" clId="{05A1DA8D-63B9-4B1C-AA10-E7BD2B032652}" dt="2020-06-17T08:59:22.063" v="4097" actId="1076"/>
          <ac:grpSpMkLst>
            <pc:docMk/>
            <pc:sldMk cId="510533272" sldId="410"/>
            <ac:grpSpMk id="126" creationId="{FF90D569-4B27-407F-85FA-9AE6C3CB39C4}"/>
          </ac:grpSpMkLst>
        </pc:grpChg>
        <pc:grpChg chg="mod">
          <ac:chgData name="Daniele, L.M. (Laura)" userId="fd7970a2-7a0c-4b70-8263-dcc64c0076cf" providerId="ADAL" clId="{05A1DA8D-63B9-4B1C-AA10-E7BD2B032652}" dt="2020-06-17T08:59:22.063" v="4097" actId="1076"/>
          <ac:grpSpMkLst>
            <pc:docMk/>
            <pc:sldMk cId="510533272" sldId="410"/>
            <ac:grpSpMk id="127" creationId="{AE48B393-8EAE-4F31-959E-56BB944B331A}"/>
          </ac:grpSpMkLst>
        </pc:grpChg>
        <pc:grpChg chg="mod">
          <ac:chgData name="Daniele, L.M. (Laura)" userId="fd7970a2-7a0c-4b70-8263-dcc64c0076cf" providerId="ADAL" clId="{05A1DA8D-63B9-4B1C-AA10-E7BD2B032652}" dt="2020-06-17T08:59:22.063" v="4097" actId="1076"/>
          <ac:grpSpMkLst>
            <pc:docMk/>
            <pc:sldMk cId="510533272" sldId="410"/>
            <ac:grpSpMk id="128" creationId="{04FA999C-9B13-4945-BE95-06F09E7A0F1C}"/>
          </ac:grpSpMkLst>
        </pc:grpChg>
        <pc:grpChg chg="mod">
          <ac:chgData name="Daniele, L.M. (Laura)" userId="fd7970a2-7a0c-4b70-8263-dcc64c0076cf" providerId="ADAL" clId="{05A1DA8D-63B9-4B1C-AA10-E7BD2B032652}" dt="2020-06-17T08:59:22.063" v="4097" actId="1076"/>
          <ac:grpSpMkLst>
            <pc:docMk/>
            <pc:sldMk cId="510533272" sldId="410"/>
            <ac:grpSpMk id="148" creationId="{AC691E21-EAC6-4EC5-8253-9D8658FA6874}"/>
          </ac:grpSpMkLst>
        </pc:grpChg>
        <pc:grpChg chg="add del mod">
          <ac:chgData name="Daniele, L.M. (Laura)" userId="fd7970a2-7a0c-4b70-8263-dcc64c0076cf" providerId="ADAL" clId="{05A1DA8D-63B9-4B1C-AA10-E7BD2B032652}" dt="2020-06-17T09:10:19.630" v="4392" actId="478"/>
          <ac:grpSpMkLst>
            <pc:docMk/>
            <pc:sldMk cId="510533272" sldId="410"/>
            <ac:grpSpMk id="161" creationId="{D02CC6E1-28CA-499B-B46B-8922923900EE}"/>
          </ac:grpSpMkLst>
        </pc:grpChg>
        <pc:grpChg chg="add del mod">
          <ac:chgData name="Daniele, L.M. (Laura)" userId="fd7970a2-7a0c-4b70-8263-dcc64c0076cf" providerId="ADAL" clId="{05A1DA8D-63B9-4B1C-AA10-E7BD2B032652}" dt="2020-06-17T09:10:19.630" v="4392" actId="478"/>
          <ac:grpSpMkLst>
            <pc:docMk/>
            <pc:sldMk cId="510533272" sldId="410"/>
            <ac:grpSpMk id="165" creationId="{C71EA6D2-CF2A-411C-8924-507C5B7093AD}"/>
          </ac:grpSpMkLst>
        </pc:grpChg>
        <pc:grpChg chg="add del mod">
          <ac:chgData name="Daniele, L.M. (Laura)" userId="fd7970a2-7a0c-4b70-8263-dcc64c0076cf" providerId="ADAL" clId="{05A1DA8D-63B9-4B1C-AA10-E7BD2B032652}" dt="2020-06-17T09:10:19.630" v="4392" actId="478"/>
          <ac:grpSpMkLst>
            <pc:docMk/>
            <pc:sldMk cId="510533272" sldId="410"/>
            <ac:grpSpMk id="169" creationId="{4850F119-ECFD-4F62-B276-05242742D71F}"/>
          </ac:grpSpMkLst>
        </pc:grpChg>
        <pc:grpChg chg="add del mod">
          <ac:chgData name="Daniele, L.M. (Laura)" userId="fd7970a2-7a0c-4b70-8263-dcc64c0076cf" providerId="ADAL" clId="{05A1DA8D-63B9-4B1C-AA10-E7BD2B032652}" dt="2020-06-17T09:10:19.630" v="4392" actId="478"/>
          <ac:grpSpMkLst>
            <pc:docMk/>
            <pc:sldMk cId="510533272" sldId="410"/>
            <ac:grpSpMk id="173" creationId="{590046A9-ECAA-430D-872D-63B871D12D8F}"/>
          </ac:grpSpMkLst>
        </pc:grpChg>
        <pc:grpChg chg="add del mod">
          <ac:chgData name="Daniele, L.M. (Laura)" userId="fd7970a2-7a0c-4b70-8263-dcc64c0076cf" providerId="ADAL" clId="{05A1DA8D-63B9-4B1C-AA10-E7BD2B032652}" dt="2020-06-17T09:10:19.630" v="4392" actId="478"/>
          <ac:grpSpMkLst>
            <pc:docMk/>
            <pc:sldMk cId="510533272" sldId="410"/>
            <ac:grpSpMk id="177" creationId="{062AC20D-9F82-4636-95E6-B4DB9B4C5954}"/>
          </ac:grpSpMkLst>
        </pc:grpChg>
        <pc:grpChg chg="add del mod">
          <ac:chgData name="Daniele, L.M. (Laura)" userId="fd7970a2-7a0c-4b70-8263-dcc64c0076cf" providerId="ADAL" clId="{05A1DA8D-63B9-4B1C-AA10-E7BD2B032652}" dt="2020-06-17T09:10:19.630" v="4392" actId="478"/>
          <ac:grpSpMkLst>
            <pc:docMk/>
            <pc:sldMk cId="510533272" sldId="410"/>
            <ac:grpSpMk id="181" creationId="{11B258FC-0875-4A7C-AB5C-BFAE084B481A}"/>
          </ac:grpSpMkLst>
        </pc:grpChg>
        <pc:grpChg chg="add del mod">
          <ac:chgData name="Daniele, L.M. (Laura)" userId="fd7970a2-7a0c-4b70-8263-dcc64c0076cf" providerId="ADAL" clId="{05A1DA8D-63B9-4B1C-AA10-E7BD2B032652}" dt="2020-06-17T09:10:19.630" v="4392" actId="478"/>
          <ac:grpSpMkLst>
            <pc:docMk/>
            <pc:sldMk cId="510533272" sldId="410"/>
            <ac:grpSpMk id="185" creationId="{70A8060D-73D5-401A-A2D8-1B06CBE018DF}"/>
          </ac:grpSpMkLst>
        </pc:grpChg>
        <pc:grpChg chg="add del mod">
          <ac:chgData name="Daniele, L.M. (Laura)" userId="fd7970a2-7a0c-4b70-8263-dcc64c0076cf" providerId="ADAL" clId="{05A1DA8D-63B9-4B1C-AA10-E7BD2B032652}" dt="2020-06-17T09:10:19.630" v="4392" actId="478"/>
          <ac:grpSpMkLst>
            <pc:docMk/>
            <pc:sldMk cId="510533272" sldId="410"/>
            <ac:grpSpMk id="189" creationId="{020FF9F1-5314-4AB3-BC25-9B3EE5CAD77E}"/>
          </ac:grpSpMkLst>
        </pc:grpChg>
        <pc:grpChg chg="add del mod">
          <ac:chgData name="Daniele, L.M. (Laura)" userId="fd7970a2-7a0c-4b70-8263-dcc64c0076cf" providerId="ADAL" clId="{05A1DA8D-63B9-4B1C-AA10-E7BD2B032652}" dt="2020-06-17T09:10:19.630" v="4392" actId="478"/>
          <ac:grpSpMkLst>
            <pc:docMk/>
            <pc:sldMk cId="510533272" sldId="410"/>
            <ac:grpSpMk id="193" creationId="{C315E31C-C5DE-4578-98E5-99299E6ECD40}"/>
          </ac:grpSpMkLst>
        </pc:grpChg>
        <pc:grpChg chg="add del">
          <ac:chgData name="Daniele, L.M. (Laura)" userId="fd7970a2-7a0c-4b70-8263-dcc64c0076cf" providerId="ADAL" clId="{05A1DA8D-63B9-4B1C-AA10-E7BD2B032652}" dt="2020-06-17T09:10:45.353" v="4400"/>
          <ac:grpSpMkLst>
            <pc:docMk/>
            <pc:sldMk cId="510533272" sldId="410"/>
            <ac:grpSpMk id="216" creationId="{B5B24A5D-4FBE-4991-81E2-0EABC50E4E66}"/>
          </ac:grpSpMkLst>
        </pc:grpChg>
        <pc:grpChg chg="add del">
          <ac:chgData name="Daniele, L.M. (Laura)" userId="fd7970a2-7a0c-4b70-8263-dcc64c0076cf" providerId="ADAL" clId="{05A1DA8D-63B9-4B1C-AA10-E7BD2B032652}" dt="2020-06-17T09:10:45.353" v="4400"/>
          <ac:grpSpMkLst>
            <pc:docMk/>
            <pc:sldMk cId="510533272" sldId="410"/>
            <ac:grpSpMk id="259" creationId="{5602A935-4857-4583-9000-46D074306DAA}"/>
          </ac:grpSpMkLst>
        </pc:grpChg>
        <pc:grpChg chg="add del">
          <ac:chgData name="Daniele, L.M. (Laura)" userId="fd7970a2-7a0c-4b70-8263-dcc64c0076cf" providerId="ADAL" clId="{05A1DA8D-63B9-4B1C-AA10-E7BD2B032652}" dt="2020-06-17T09:10:45.353" v="4400"/>
          <ac:grpSpMkLst>
            <pc:docMk/>
            <pc:sldMk cId="510533272" sldId="410"/>
            <ac:grpSpMk id="263" creationId="{8BDE4E03-6DE0-4817-91B8-4FE4588708A3}"/>
          </ac:grpSpMkLst>
        </pc:grpChg>
        <pc:grpChg chg="add del">
          <ac:chgData name="Daniele, L.M. (Laura)" userId="fd7970a2-7a0c-4b70-8263-dcc64c0076cf" providerId="ADAL" clId="{05A1DA8D-63B9-4B1C-AA10-E7BD2B032652}" dt="2020-06-17T09:10:45.353" v="4400"/>
          <ac:grpSpMkLst>
            <pc:docMk/>
            <pc:sldMk cId="510533272" sldId="410"/>
            <ac:grpSpMk id="267" creationId="{3911A990-C8C6-4F75-9DFD-B48E26B3F615}"/>
          </ac:grpSpMkLst>
        </pc:grpChg>
        <pc:grpChg chg="add del">
          <ac:chgData name="Daniele, L.M. (Laura)" userId="fd7970a2-7a0c-4b70-8263-dcc64c0076cf" providerId="ADAL" clId="{05A1DA8D-63B9-4B1C-AA10-E7BD2B032652}" dt="2020-06-17T09:10:45.353" v="4400"/>
          <ac:grpSpMkLst>
            <pc:docMk/>
            <pc:sldMk cId="510533272" sldId="410"/>
            <ac:grpSpMk id="271" creationId="{8F01BC79-8EDF-4F05-94EE-9ECDD6ACAECA}"/>
          </ac:grpSpMkLst>
        </pc:grpChg>
        <pc:grpChg chg="add del">
          <ac:chgData name="Daniele, L.M. (Laura)" userId="fd7970a2-7a0c-4b70-8263-dcc64c0076cf" providerId="ADAL" clId="{05A1DA8D-63B9-4B1C-AA10-E7BD2B032652}" dt="2020-06-17T09:10:45.353" v="4400"/>
          <ac:grpSpMkLst>
            <pc:docMk/>
            <pc:sldMk cId="510533272" sldId="410"/>
            <ac:grpSpMk id="275" creationId="{FDA57772-61B2-4695-9FD4-D69C53590F89}"/>
          </ac:grpSpMkLst>
        </pc:grpChg>
        <pc:grpChg chg="add del">
          <ac:chgData name="Daniele, L.M. (Laura)" userId="fd7970a2-7a0c-4b70-8263-dcc64c0076cf" providerId="ADAL" clId="{05A1DA8D-63B9-4B1C-AA10-E7BD2B032652}" dt="2020-06-17T09:10:45.353" v="4400"/>
          <ac:grpSpMkLst>
            <pc:docMk/>
            <pc:sldMk cId="510533272" sldId="410"/>
            <ac:grpSpMk id="279" creationId="{9DBE884A-1165-42A9-9409-442A496212E2}"/>
          </ac:grpSpMkLst>
        </pc:grpChg>
        <pc:grpChg chg="add del">
          <ac:chgData name="Daniele, L.M. (Laura)" userId="fd7970a2-7a0c-4b70-8263-dcc64c0076cf" providerId="ADAL" clId="{05A1DA8D-63B9-4B1C-AA10-E7BD2B032652}" dt="2020-06-17T09:10:45.353" v="4400"/>
          <ac:grpSpMkLst>
            <pc:docMk/>
            <pc:sldMk cId="510533272" sldId="410"/>
            <ac:grpSpMk id="283" creationId="{D59EC5C8-5AD7-4771-8BB8-B492D0B82288}"/>
          </ac:grpSpMkLst>
        </pc:grpChg>
        <pc:grpChg chg="add del">
          <ac:chgData name="Daniele, L.M. (Laura)" userId="fd7970a2-7a0c-4b70-8263-dcc64c0076cf" providerId="ADAL" clId="{05A1DA8D-63B9-4B1C-AA10-E7BD2B032652}" dt="2020-06-17T09:10:45.353" v="4400"/>
          <ac:grpSpMkLst>
            <pc:docMk/>
            <pc:sldMk cId="510533272" sldId="410"/>
            <ac:grpSpMk id="287" creationId="{5CA4617B-2F42-4444-A548-E3DEB4128371}"/>
          </ac:grpSpMkLst>
        </pc:grpChg>
        <pc:grpChg chg="add del">
          <ac:chgData name="Daniele, L.M. (Laura)" userId="fd7970a2-7a0c-4b70-8263-dcc64c0076cf" providerId="ADAL" clId="{05A1DA8D-63B9-4B1C-AA10-E7BD2B032652}" dt="2020-06-17T09:10:45.353" v="4400"/>
          <ac:grpSpMkLst>
            <pc:docMk/>
            <pc:sldMk cId="510533272" sldId="410"/>
            <ac:grpSpMk id="291" creationId="{5D0EA73F-6B3E-4132-A3A9-2EA8D8A46DDE}"/>
          </ac:grpSpMkLst>
        </pc:grpChg>
        <pc:picChg chg="add del mod">
          <ac:chgData name="Daniele, L.M. (Laura)" userId="fd7970a2-7a0c-4b70-8263-dcc64c0076cf" providerId="ADAL" clId="{05A1DA8D-63B9-4B1C-AA10-E7BD2B032652}" dt="2020-06-17T09:10:42.198" v="4398" actId="478"/>
          <ac:picMkLst>
            <pc:docMk/>
            <pc:sldMk cId="510533272" sldId="410"/>
            <ac:picMk id="197" creationId="{1402B578-F565-4BCD-ADE1-75393A1A69E5}"/>
          </ac:picMkLst>
        </pc:picChg>
        <pc:picChg chg="add mod">
          <ac:chgData name="Daniele, L.M. (Laura)" userId="fd7970a2-7a0c-4b70-8263-dcc64c0076cf" providerId="ADAL" clId="{05A1DA8D-63B9-4B1C-AA10-E7BD2B032652}" dt="2020-06-17T09:11:16.568" v="4421" actId="1076"/>
          <ac:picMkLst>
            <pc:docMk/>
            <pc:sldMk cId="510533272" sldId="410"/>
            <ac:picMk id="295" creationId="{E6D9B983-EB18-44F5-9CDC-86CD91231B3F}"/>
          </ac:picMkLst>
        </pc:picChg>
        <pc:picChg chg="add">
          <ac:chgData name="Daniele, L.M. (Laura)" userId="fd7970a2-7a0c-4b70-8263-dcc64c0076cf" providerId="ADAL" clId="{05A1DA8D-63B9-4B1C-AA10-E7BD2B032652}" dt="2020-06-17T09:22:10.904" v="4426"/>
          <ac:picMkLst>
            <pc:docMk/>
            <pc:sldMk cId="510533272" sldId="410"/>
            <ac:picMk id="296" creationId="{B55FC166-61CB-40A6-B362-3EF3773BBB45}"/>
          </ac:picMkLst>
        </pc:picChg>
      </pc:sldChg>
      <pc:sldChg chg="addSp delSp modSp add del mod modClrScheme modAnim chgLayout">
        <pc:chgData name="Daniele, L.M. (Laura)" userId="fd7970a2-7a0c-4b70-8263-dcc64c0076cf" providerId="ADAL" clId="{05A1DA8D-63B9-4B1C-AA10-E7BD2B032652}" dt="2020-06-17T10:04:32.025" v="4911" actId="2696"/>
        <pc:sldMkLst>
          <pc:docMk/>
          <pc:sldMk cId="4274851446" sldId="411"/>
        </pc:sldMkLst>
        <pc:spChg chg="mod ord">
          <ac:chgData name="Daniele, L.M. (Laura)" userId="fd7970a2-7a0c-4b70-8263-dcc64c0076cf" providerId="ADAL" clId="{05A1DA8D-63B9-4B1C-AA10-E7BD2B032652}" dt="2020-06-17T09:01:00.684" v="4107" actId="26606"/>
          <ac:spMkLst>
            <pc:docMk/>
            <pc:sldMk cId="4274851446" sldId="411"/>
            <ac:spMk id="2" creationId="{4F681F2C-3714-487F-B362-514871761558}"/>
          </ac:spMkLst>
        </pc:spChg>
        <pc:spChg chg="del">
          <ac:chgData name="Daniele, L.M. (Laura)" userId="fd7970a2-7a0c-4b70-8263-dcc64c0076cf" providerId="ADAL" clId="{05A1DA8D-63B9-4B1C-AA10-E7BD2B032652}" dt="2020-06-17T09:01:00.684" v="4107" actId="26606"/>
          <ac:spMkLst>
            <pc:docMk/>
            <pc:sldMk cId="4274851446" sldId="411"/>
            <ac:spMk id="3" creationId="{8FF979AE-DB5D-48F8-AFCD-1DA8BDA7F3CD}"/>
          </ac:spMkLst>
        </pc:spChg>
        <pc:spChg chg="del">
          <ac:chgData name="Daniele, L.M. (Laura)" userId="fd7970a2-7a0c-4b70-8263-dcc64c0076cf" providerId="ADAL" clId="{05A1DA8D-63B9-4B1C-AA10-E7BD2B032652}" dt="2020-06-17T09:00:30.287" v="4099" actId="478"/>
          <ac:spMkLst>
            <pc:docMk/>
            <pc:sldMk cId="4274851446" sldId="411"/>
            <ac:spMk id="4" creationId="{41F93D1D-44F5-4E31-9791-1A138CA1748E}"/>
          </ac:spMkLst>
        </pc:spChg>
        <pc:spChg chg="add del">
          <ac:chgData name="Daniele, L.M. (Laura)" userId="fd7970a2-7a0c-4b70-8263-dcc64c0076cf" providerId="ADAL" clId="{05A1DA8D-63B9-4B1C-AA10-E7BD2B032652}" dt="2020-06-17T09:00:33.070" v="4101"/>
          <ac:spMkLst>
            <pc:docMk/>
            <pc:sldMk cId="4274851446" sldId="411"/>
            <ac:spMk id="5" creationId="{E226066A-EF7D-462F-874A-100F46910B5A}"/>
          </ac:spMkLst>
        </pc:spChg>
        <pc:spChg chg="add del">
          <ac:chgData name="Daniele, L.M. (Laura)" userId="fd7970a2-7a0c-4b70-8263-dcc64c0076cf" providerId="ADAL" clId="{05A1DA8D-63B9-4B1C-AA10-E7BD2B032652}" dt="2020-06-17T09:00:33.070" v="4101"/>
          <ac:spMkLst>
            <pc:docMk/>
            <pc:sldMk cId="4274851446" sldId="411"/>
            <ac:spMk id="6" creationId="{E55A2225-F221-4C90-833E-4B870045DE5D}"/>
          </ac:spMkLst>
        </pc:spChg>
        <pc:spChg chg="add del">
          <ac:chgData name="Daniele, L.M. (Laura)" userId="fd7970a2-7a0c-4b70-8263-dcc64c0076cf" providerId="ADAL" clId="{05A1DA8D-63B9-4B1C-AA10-E7BD2B032652}" dt="2020-06-17T09:00:33.070" v="4101"/>
          <ac:spMkLst>
            <pc:docMk/>
            <pc:sldMk cId="4274851446" sldId="411"/>
            <ac:spMk id="7" creationId="{84154E27-1B06-42B2-B3B3-8A04E5529484}"/>
          </ac:spMkLst>
        </pc:spChg>
        <pc:spChg chg="add del">
          <ac:chgData name="Daniele, L.M. (Laura)" userId="fd7970a2-7a0c-4b70-8263-dcc64c0076cf" providerId="ADAL" clId="{05A1DA8D-63B9-4B1C-AA10-E7BD2B032652}" dt="2020-06-17T09:00:33.070" v="4101"/>
          <ac:spMkLst>
            <pc:docMk/>
            <pc:sldMk cId="4274851446" sldId="411"/>
            <ac:spMk id="8" creationId="{A7541113-37A1-4C0A-9200-FD01CCC064B7}"/>
          </ac:spMkLst>
        </pc:spChg>
        <pc:spChg chg="add del">
          <ac:chgData name="Daniele, L.M. (Laura)" userId="fd7970a2-7a0c-4b70-8263-dcc64c0076cf" providerId="ADAL" clId="{05A1DA8D-63B9-4B1C-AA10-E7BD2B032652}" dt="2020-06-17T09:00:33.070" v="4101"/>
          <ac:spMkLst>
            <pc:docMk/>
            <pc:sldMk cId="4274851446" sldId="411"/>
            <ac:spMk id="9" creationId="{FC95324A-AC59-4153-827D-26AA744EC55A}"/>
          </ac:spMkLst>
        </pc:spChg>
        <pc:spChg chg="add del">
          <ac:chgData name="Daniele, L.M. (Laura)" userId="fd7970a2-7a0c-4b70-8263-dcc64c0076cf" providerId="ADAL" clId="{05A1DA8D-63B9-4B1C-AA10-E7BD2B032652}" dt="2020-06-17T09:00:33.070" v="4101"/>
          <ac:spMkLst>
            <pc:docMk/>
            <pc:sldMk cId="4274851446" sldId="411"/>
            <ac:spMk id="10" creationId="{D7C2189E-2789-458F-9B0C-999557943A32}"/>
          </ac:spMkLst>
        </pc:spChg>
        <pc:spChg chg="add del">
          <ac:chgData name="Daniele, L.M. (Laura)" userId="fd7970a2-7a0c-4b70-8263-dcc64c0076cf" providerId="ADAL" clId="{05A1DA8D-63B9-4B1C-AA10-E7BD2B032652}" dt="2020-06-17T09:00:33.070" v="4101"/>
          <ac:spMkLst>
            <pc:docMk/>
            <pc:sldMk cId="4274851446" sldId="411"/>
            <ac:spMk id="11" creationId="{1D59DBC0-0A5E-4ADB-AB6B-DBCF99D2C533}"/>
          </ac:spMkLst>
        </pc:spChg>
        <pc:spChg chg="add del">
          <ac:chgData name="Daniele, L.M. (Laura)" userId="fd7970a2-7a0c-4b70-8263-dcc64c0076cf" providerId="ADAL" clId="{05A1DA8D-63B9-4B1C-AA10-E7BD2B032652}" dt="2020-06-17T09:00:33.070" v="4101"/>
          <ac:spMkLst>
            <pc:docMk/>
            <pc:sldMk cId="4274851446" sldId="411"/>
            <ac:spMk id="12" creationId="{5EFC013B-A969-4A86-BBDF-00B80F31987B}"/>
          </ac:spMkLst>
        </pc:spChg>
        <pc:spChg chg="add del">
          <ac:chgData name="Daniele, L.M. (Laura)" userId="fd7970a2-7a0c-4b70-8263-dcc64c0076cf" providerId="ADAL" clId="{05A1DA8D-63B9-4B1C-AA10-E7BD2B032652}" dt="2020-06-17T09:00:33.070" v="4101"/>
          <ac:spMkLst>
            <pc:docMk/>
            <pc:sldMk cId="4274851446" sldId="411"/>
            <ac:spMk id="13" creationId="{5ACCCF17-397A-4610-AC44-F0DF02B15F3F}"/>
          </ac:spMkLst>
        </pc:spChg>
        <pc:spChg chg="add del">
          <ac:chgData name="Daniele, L.M. (Laura)" userId="fd7970a2-7a0c-4b70-8263-dcc64c0076cf" providerId="ADAL" clId="{05A1DA8D-63B9-4B1C-AA10-E7BD2B032652}" dt="2020-06-17T09:00:33.070" v="4101"/>
          <ac:spMkLst>
            <pc:docMk/>
            <pc:sldMk cId="4274851446" sldId="411"/>
            <ac:spMk id="14" creationId="{5EA85842-1411-49C0-AE73-08C9165BAB18}"/>
          </ac:spMkLst>
        </pc:spChg>
        <pc:spChg chg="add del">
          <ac:chgData name="Daniele, L.M. (Laura)" userId="fd7970a2-7a0c-4b70-8263-dcc64c0076cf" providerId="ADAL" clId="{05A1DA8D-63B9-4B1C-AA10-E7BD2B032652}" dt="2020-06-17T09:00:33.070" v="4101"/>
          <ac:spMkLst>
            <pc:docMk/>
            <pc:sldMk cId="4274851446" sldId="411"/>
            <ac:spMk id="15" creationId="{577C5BD4-92A0-4E73-BE7C-D966095E8438}"/>
          </ac:spMkLst>
        </pc:spChg>
        <pc:spChg chg="add del">
          <ac:chgData name="Daniele, L.M. (Laura)" userId="fd7970a2-7a0c-4b70-8263-dcc64c0076cf" providerId="ADAL" clId="{05A1DA8D-63B9-4B1C-AA10-E7BD2B032652}" dt="2020-06-17T09:00:33.070" v="4101"/>
          <ac:spMkLst>
            <pc:docMk/>
            <pc:sldMk cId="4274851446" sldId="411"/>
            <ac:spMk id="16" creationId="{9693372D-D9D3-44F6-ABAF-9FB0DFD54233}"/>
          </ac:spMkLst>
        </pc:spChg>
        <pc:spChg chg="add del">
          <ac:chgData name="Daniele, L.M. (Laura)" userId="fd7970a2-7a0c-4b70-8263-dcc64c0076cf" providerId="ADAL" clId="{05A1DA8D-63B9-4B1C-AA10-E7BD2B032652}" dt="2020-06-17T09:00:33.070" v="4101"/>
          <ac:spMkLst>
            <pc:docMk/>
            <pc:sldMk cId="4274851446" sldId="411"/>
            <ac:spMk id="17" creationId="{29A2BD26-8581-4CFA-AB64-8D99519B5D4F}"/>
          </ac:spMkLst>
        </pc:spChg>
        <pc:spChg chg="add del">
          <ac:chgData name="Daniele, L.M. (Laura)" userId="fd7970a2-7a0c-4b70-8263-dcc64c0076cf" providerId="ADAL" clId="{05A1DA8D-63B9-4B1C-AA10-E7BD2B032652}" dt="2020-06-17T09:00:33.070" v="4101"/>
          <ac:spMkLst>
            <pc:docMk/>
            <pc:sldMk cId="4274851446" sldId="411"/>
            <ac:spMk id="18" creationId="{69B7CABB-A9D4-4C3B-9B8D-48669D118282}"/>
          </ac:spMkLst>
        </pc:spChg>
        <pc:spChg chg="add del">
          <ac:chgData name="Daniele, L.M. (Laura)" userId="fd7970a2-7a0c-4b70-8263-dcc64c0076cf" providerId="ADAL" clId="{05A1DA8D-63B9-4B1C-AA10-E7BD2B032652}" dt="2020-06-17T09:00:33.070" v="4101"/>
          <ac:spMkLst>
            <pc:docMk/>
            <pc:sldMk cId="4274851446" sldId="411"/>
            <ac:spMk id="19" creationId="{0005C947-37E5-4DF7-A003-2C7652D3F0B5}"/>
          </ac:spMkLst>
        </pc:spChg>
        <pc:spChg chg="add del">
          <ac:chgData name="Daniele, L.M. (Laura)" userId="fd7970a2-7a0c-4b70-8263-dcc64c0076cf" providerId="ADAL" clId="{05A1DA8D-63B9-4B1C-AA10-E7BD2B032652}" dt="2020-06-17T09:00:33.070" v="4101"/>
          <ac:spMkLst>
            <pc:docMk/>
            <pc:sldMk cId="4274851446" sldId="411"/>
            <ac:spMk id="34" creationId="{274881AD-BB42-4B92-A57C-D3C332912F8F}"/>
          </ac:spMkLst>
        </pc:spChg>
        <pc:spChg chg="add del">
          <ac:chgData name="Daniele, L.M. (Laura)" userId="fd7970a2-7a0c-4b70-8263-dcc64c0076cf" providerId="ADAL" clId="{05A1DA8D-63B9-4B1C-AA10-E7BD2B032652}" dt="2020-06-17T09:00:47.965" v="4103"/>
          <ac:spMkLst>
            <pc:docMk/>
            <pc:sldMk cId="4274851446" sldId="411"/>
            <ac:spMk id="43" creationId="{28E672DF-613E-43AC-B846-8357569BFC13}"/>
          </ac:spMkLst>
        </pc:spChg>
        <pc:spChg chg="add del">
          <ac:chgData name="Daniele, L.M. (Laura)" userId="fd7970a2-7a0c-4b70-8263-dcc64c0076cf" providerId="ADAL" clId="{05A1DA8D-63B9-4B1C-AA10-E7BD2B032652}" dt="2020-06-17T09:00:47.965" v="4103"/>
          <ac:spMkLst>
            <pc:docMk/>
            <pc:sldMk cId="4274851446" sldId="411"/>
            <ac:spMk id="44" creationId="{90205634-4C11-45BD-8D52-EDADAF8FA885}"/>
          </ac:spMkLst>
        </pc:spChg>
        <pc:spChg chg="add del">
          <ac:chgData name="Daniele, L.M. (Laura)" userId="fd7970a2-7a0c-4b70-8263-dcc64c0076cf" providerId="ADAL" clId="{05A1DA8D-63B9-4B1C-AA10-E7BD2B032652}" dt="2020-06-17T09:00:47.965" v="4103"/>
          <ac:spMkLst>
            <pc:docMk/>
            <pc:sldMk cId="4274851446" sldId="411"/>
            <ac:spMk id="45" creationId="{CFC45950-AB99-480F-B684-12B496677977}"/>
          </ac:spMkLst>
        </pc:spChg>
        <pc:spChg chg="add del">
          <ac:chgData name="Daniele, L.M. (Laura)" userId="fd7970a2-7a0c-4b70-8263-dcc64c0076cf" providerId="ADAL" clId="{05A1DA8D-63B9-4B1C-AA10-E7BD2B032652}" dt="2020-06-17T09:00:47.965" v="4103"/>
          <ac:spMkLst>
            <pc:docMk/>
            <pc:sldMk cId="4274851446" sldId="411"/>
            <ac:spMk id="46" creationId="{C8CAB3BE-1DF6-4278-A67A-5B5B2157F600}"/>
          </ac:spMkLst>
        </pc:spChg>
        <pc:spChg chg="add del">
          <ac:chgData name="Daniele, L.M. (Laura)" userId="fd7970a2-7a0c-4b70-8263-dcc64c0076cf" providerId="ADAL" clId="{05A1DA8D-63B9-4B1C-AA10-E7BD2B032652}" dt="2020-06-17T09:00:47.965" v="4103"/>
          <ac:spMkLst>
            <pc:docMk/>
            <pc:sldMk cId="4274851446" sldId="411"/>
            <ac:spMk id="47" creationId="{09462FAF-B848-4A9B-A2D2-3D608D9C7D9E}"/>
          </ac:spMkLst>
        </pc:spChg>
        <pc:spChg chg="add del">
          <ac:chgData name="Daniele, L.M. (Laura)" userId="fd7970a2-7a0c-4b70-8263-dcc64c0076cf" providerId="ADAL" clId="{05A1DA8D-63B9-4B1C-AA10-E7BD2B032652}" dt="2020-06-17T09:00:47.965" v="4103"/>
          <ac:spMkLst>
            <pc:docMk/>
            <pc:sldMk cId="4274851446" sldId="411"/>
            <ac:spMk id="48" creationId="{98EF1A55-1F74-476E-9251-0993CFCD4BBD}"/>
          </ac:spMkLst>
        </pc:spChg>
        <pc:spChg chg="add del">
          <ac:chgData name="Daniele, L.M. (Laura)" userId="fd7970a2-7a0c-4b70-8263-dcc64c0076cf" providerId="ADAL" clId="{05A1DA8D-63B9-4B1C-AA10-E7BD2B032652}" dt="2020-06-17T09:00:47.965" v="4103"/>
          <ac:spMkLst>
            <pc:docMk/>
            <pc:sldMk cId="4274851446" sldId="411"/>
            <ac:spMk id="49" creationId="{425DE27F-244D-48D5-8EC1-124E0A6DAA2C}"/>
          </ac:spMkLst>
        </pc:spChg>
        <pc:spChg chg="add del">
          <ac:chgData name="Daniele, L.M. (Laura)" userId="fd7970a2-7a0c-4b70-8263-dcc64c0076cf" providerId="ADAL" clId="{05A1DA8D-63B9-4B1C-AA10-E7BD2B032652}" dt="2020-06-17T09:00:47.965" v="4103"/>
          <ac:spMkLst>
            <pc:docMk/>
            <pc:sldMk cId="4274851446" sldId="411"/>
            <ac:spMk id="50" creationId="{0A45F853-6555-4696-8C5D-96012A08EA4B}"/>
          </ac:spMkLst>
        </pc:spChg>
        <pc:spChg chg="add del">
          <ac:chgData name="Daniele, L.M. (Laura)" userId="fd7970a2-7a0c-4b70-8263-dcc64c0076cf" providerId="ADAL" clId="{05A1DA8D-63B9-4B1C-AA10-E7BD2B032652}" dt="2020-06-17T09:00:47.965" v="4103"/>
          <ac:spMkLst>
            <pc:docMk/>
            <pc:sldMk cId="4274851446" sldId="411"/>
            <ac:spMk id="51" creationId="{B72894B9-D4E7-4071-8A96-4734A0275084}"/>
          </ac:spMkLst>
        </pc:spChg>
        <pc:spChg chg="add del">
          <ac:chgData name="Daniele, L.M. (Laura)" userId="fd7970a2-7a0c-4b70-8263-dcc64c0076cf" providerId="ADAL" clId="{05A1DA8D-63B9-4B1C-AA10-E7BD2B032652}" dt="2020-06-17T09:00:47.965" v="4103"/>
          <ac:spMkLst>
            <pc:docMk/>
            <pc:sldMk cId="4274851446" sldId="411"/>
            <ac:spMk id="52" creationId="{FBE05872-9367-40BE-9D04-FF02B7553301}"/>
          </ac:spMkLst>
        </pc:spChg>
        <pc:spChg chg="add del">
          <ac:chgData name="Daniele, L.M. (Laura)" userId="fd7970a2-7a0c-4b70-8263-dcc64c0076cf" providerId="ADAL" clId="{05A1DA8D-63B9-4B1C-AA10-E7BD2B032652}" dt="2020-06-17T09:00:47.965" v="4103"/>
          <ac:spMkLst>
            <pc:docMk/>
            <pc:sldMk cId="4274851446" sldId="411"/>
            <ac:spMk id="53" creationId="{A4E2A865-CD95-42E7-A435-16E7BE8AE355}"/>
          </ac:spMkLst>
        </pc:spChg>
        <pc:spChg chg="add del">
          <ac:chgData name="Daniele, L.M. (Laura)" userId="fd7970a2-7a0c-4b70-8263-dcc64c0076cf" providerId="ADAL" clId="{05A1DA8D-63B9-4B1C-AA10-E7BD2B032652}" dt="2020-06-17T09:00:47.965" v="4103"/>
          <ac:spMkLst>
            <pc:docMk/>
            <pc:sldMk cId="4274851446" sldId="411"/>
            <ac:spMk id="54" creationId="{484E5641-A3D7-4758-933B-EE5D114A6468}"/>
          </ac:spMkLst>
        </pc:spChg>
        <pc:spChg chg="add del">
          <ac:chgData name="Daniele, L.M. (Laura)" userId="fd7970a2-7a0c-4b70-8263-dcc64c0076cf" providerId="ADAL" clId="{05A1DA8D-63B9-4B1C-AA10-E7BD2B032652}" dt="2020-06-17T09:00:47.965" v="4103"/>
          <ac:spMkLst>
            <pc:docMk/>
            <pc:sldMk cId="4274851446" sldId="411"/>
            <ac:spMk id="55" creationId="{F618F328-4074-42C5-A192-40614A4D4F9B}"/>
          </ac:spMkLst>
        </pc:spChg>
        <pc:spChg chg="add del">
          <ac:chgData name="Daniele, L.M. (Laura)" userId="fd7970a2-7a0c-4b70-8263-dcc64c0076cf" providerId="ADAL" clId="{05A1DA8D-63B9-4B1C-AA10-E7BD2B032652}" dt="2020-06-17T09:00:47.965" v="4103"/>
          <ac:spMkLst>
            <pc:docMk/>
            <pc:sldMk cId="4274851446" sldId="411"/>
            <ac:spMk id="56" creationId="{C90A63F1-9C9D-4B7D-BDB4-73DB8E119810}"/>
          </ac:spMkLst>
        </pc:spChg>
        <pc:spChg chg="add del">
          <ac:chgData name="Daniele, L.M. (Laura)" userId="fd7970a2-7a0c-4b70-8263-dcc64c0076cf" providerId="ADAL" clId="{05A1DA8D-63B9-4B1C-AA10-E7BD2B032652}" dt="2020-06-17T09:00:47.965" v="4103"/>
          <ac:spMkLst>
            <pc:docMk/>
            <pc:sldMk cId="4274851446" sldId="411"/>
            <ac:spMk id="57" creationId="{CDD0D20B-8319-47EB-93BD-827E83873C55}"/>
          </ac:spMkLst>
        </pc:spChg>
        <pc:spChg chg="add del">
          <ac:chgData name="Daniele, L.M. (Laura)" userId="fd7970a2-7a0c-4b70-8263-dcc64c0076cf" providerId="ADAL" clId="{05A1DA8D-63B9-4B1C-AA10-E7BD2B032652}" dt="2020-06-17T09:00:47.965" v="4103"/>
          <ac:spMkLst>
            <pc:docMk/>
            <pc:sldMk cId="4274851446" sldId="411"/>
            <ac:spMk id="72" creationId="{7B0D3FEF-5932-44CB-9E9E-307A7C5C61C5}"/>
          </ac:spMkLst>
        </pc:spChg>
        <pc:spChg chg="add del mod">
          <ac:chgData name="Daniele, L.M. (Laura)" userId="fd7970a2-7a0c-4b70-8263-dcc64c0076cf" providerId="ADAL" clId="{05A1DA8D-63B9-4B1C-AA10-E7BD2B032652}" dt="2020-06-17T09:09:44.964" v="4387" actId="478"/>
          <ac:spMkLst>
            <pc:docMk/>
            <pc:sldMk cId="4274851446" sldId="411"/>
            <ac:spMk id="85" creationId="{6D4BDAB7-13E9-443E-A97A-93C01EDE6AFC}"/>
          </ac:spMkLst>
        </pc:spChg>
        <pc:spChg chg="add del mod">
          <ac:chgData name="Daniele, L.M. (Laura)" userId="fd7970a2-7a0c-4b70-8263-dcc64c0076cf" providerId="ADAL" clId="{05A1DA8D-63B9-4B1C-AA10-E7BD2B032652}" dt="2020-06-17T09:09:43.405" v="4386" actId="478"/>
          <ac:spMkLst>
            <pc:docMk/>
            <pc:sldMk cId="4274851446" sldId="411"/>
            <ac:spMk id="86" creationId="{7A0B45B7-A04C-42D8-B492-A0FD7EAC5C97}"/>
          </ac:spMkLst>
        </pc:spChg>
        <pc:grpChg chg="add del">
          <ac:chgData name="Daniele, L.M. (Laura)" userId="fd7970a2-7a0c-4b70-8263-dcc64c0076cf" providerId="ADAL" clId="{05A1DA8D-63B9-4B1C-AA10-E7BD2B032652}" dt="2020-06-17T09:00:33.070" v="4101"/>
          <ac:grpSpMkLst>
            <pc:docMk/>
            <pc:sldMk cId="4274851446" sldId="411"/>
            <ac:grpSpMk id="20" creationId="{C3CBF62B-ED1A-4815-986C-4BAA00826485}"/>
          </ac:grpSpMkLst>
        </pc:grpChg>
        <pc:grpChg chg="add del">
          <ac:chgData name="Daniele, L.M. (Laura)" userId="fd7970a2-7a0c-4b70-8263-dcc64c0076cf" providerId="ADAL" clId="{05A1DA8D-63B9-4B1C-AA10-E7BD2B032652}" dt="2020-06-17T09:00:33.070" v="4101"/>
          <ac:grpSpMkLst>
            <pc:docMk/>
            <pc:sldMk cId="4274851446" sldId="411"/>
            <ac:grpSpMk id="27" creationId="{A99E9D61-9A11-4663-A8AA-69209BC2CD77}"/>
          </ac:grpSpMkLst>
        </pc:grpChg>
        <pc:grpChg chg="add del">
          <ac:chgData name="Daniele, L.M. (Laura)" userId="fd7970a2-7a0c-4b70-8263-dcc64c0076cf" providerId="ADAL" clId="{05A1DA8D-63B9-4B1C-AA10-E7BD2B032652}" dt="2020-06-17T09:00:33.070" v="4101"/>
          <ac:grpSpMkLst>
            <pc:docMk/>
            <pc:sldMk cId="4274851446" sldId="411"/>
            <ac:grpSpMk id="35" creationId="{B48BD9CD-BCBB-42F9-8153-77D6548DC159}"/>
          </ac:grpSpMkLst>
        </pc:grpChg>
        <pc:grpChg chg="add del">
          <ac:chgData name="Daniele, L.M. (Laura)" userId="fd7970a2-7a0c-4b70-8263-dcc64c0076cf" providerId="ADAL" clId="{05A1DA8D-63B9-4B1C-AA10-E7BD2B032652}" dt="2020-06-17T09:00:33.070" v="4101"/>
          <ac:grpSpMkLst>
            <pc:docMk/>
            <pc:sldMk cId="4274851446" sldId="411"/>
            <ac:grpSpMk id="39" creationId="{8238BC59-2023-4FF9-B8F1-48C6754A9B3F}"/>
          </ac:grpSpMkLst>
        </pc:grpChg>
        <pc:grpChg chg="add del">
          <ac:chgData name="Daniele, L.M. (Laura)" userId="fd7970a2-7a0c-4b70-8263-dcc64c0076cf" providerId="ADAL" clId="{05A1DA8D-63B9-4B1C-AA10-E7BD2B032652}" dt="2020-06-17T09:00:47.965" v="4103"/>
          <ac:grpSpMkLst>
            <pc:docMk/>
            <pc:sldMk cId="4274851446" sldId="411"/>
            <ac:grpSpMk id="58" creationId="{F2FACA93-016F-4B4D-A381-80A7260F17C8}"/>
          </ac:grpSpMkLst>
        </pc:grpChg>
        <pc:grpChg chg="add del">
          <ac:chgData name="Daniele, L.M. (Laura)" userId="fd7970a2-7a0c-4b70-8263-dcc64c0076cf" providerId="ADAL" clId="{05A1DA8D-63B9-4B1C-AA10-E7BD2B032652}" dt="2020-06-17T09:00:47.965" v="4103"/>
          <ac:grpSpMkLst>
            <pc:docMk/>
            <pc:sldMk cId="4274851446" sldId="411"/>
            <ac:grpSpMk id="65" creationId="{21E37288-0D11-4C50-A982-694AF665FA21}"/>
          </ac:grpSpMkLst>
        </pc:grpChg>
        <pc:grpChg chg="add del">
          <ac:chgData name="Daniele, L.M. (Laura)" userId="fd7970a2-7a0c-4b70-8263-dcc64c0076cf" providerId="ADAL" clId="{05A1DA8D-63B9-4B1C-AA10-E7BD2B032652}" dt="2020-06-17T09:00:47.965" v="4103"/>
          <ac:grpSpMkLst>
            <pc:docMk/>
            <pc:sldMk cId="4274851446" sldId="411"/>
            <ac:grpSpMk id="73" creationId="{91D80EE5-49A8-4293-A149-15C8414C9ECB}"/>
          </ac:grpSpMkLst>
        </pc:grpChg>
        <pc:grpChg chg="add del">
          <ac:chgData name="Daniele, L.M. (Laura)" userId="fd7970a2-7a0c-4b70-8263-dcc64c0076cf" providerId="ADAL" clId="{05A1DA8D-63B9-4B1C-AA10-E7BD2B032652}" dt="2020-06-17T09:00:47.965" v="4103"/>
          <ac:grpSpMkLst>
            <pc:docMk/>
            <pc:sldMk cId="4274851446" sldId="411"/>
            <ac:grpSpMk id="77" creationId="{2875F516-F697-4D8E-9320-A817FD983759}"/>
          </ac:grpSpMkLst>
        </pc:grpChg>
        <pc:picChg chg="add mod">
          <ac:chgData name="Daniele, L.M. (Laura)" userId="fd7970a2-7a0c-4b70-8263-dcc64c0076cf" providerId="ADAL" clId="{05A1DA8D-63B9-4B1C-AA10-E7BD2B032652}" dt="2020-06-17T09:09:47.476" v="4388" actId="1076"/>
          <ac:picMkLst>
            <pc:docMk/>
            <pc:sldMk cId="4274851446" sldId="411"/>
            <ac:picMk id="81" creationId="{90D10890-5BA4-4BA5-9055-63B2403FB3BE}"/>
          </ac:picMkLst>
        </pc:picChg>
        <pc:picChg chg="add mod">
          <ac:chgData name="Daniele, L.M. (Laura)" userId="fd7970a2-7a0c-4b70-8263-dcc64c0076cf" providerId="ADAL" clId="{05A1DA8D-63B9-4B1C-AA10-E7BD2B032652}" dt="2020-06-17T09:09:50.470" v="4389" actId="1076"/>
          <ac:picMkLst>
            <pc:docMk/>
            <pc:sldMk cId="4274851446" sldId="411"/>
            <ac:picMk id="83" creationId="{BF1E7120-1833-4019-AF12-1102FC8819FB}"/>
          </ac:picMkLst>
        </pc:picChg>
        <pc:picChg chg="add mod">
          <ac:chgData name="Daniele, L.M. (Laura)" userId="fd7970a2-7a0c-4b70-8263-dcc64c0076cf" providerId="ADAL" clId="{05A1DA8D-63B9-4B1C-AA10-E7BD2B032652}" dt="2020-06-17T09:09:53.280" v="4390" actId="1076"/>
          <ac:picMkLst>
            <pc:docMk/>
            <pc:sldMk cId="4274851446" sldId="411"/>
            <ac:picMk id="84" creationId="{5B27196B-4719-4EEE-9460-1E78E8DAB2A2}"/>
          </ac:picMkLst>
        </pc:picChg>
      </pc:sldChg>
      <pc:sldChg chg="addSp delSp modSp add del ord modAnim">
        <pc:chgData name="Daniele, L.M. (Laura)" userId="fd7970a2-7a0c-4b70-8263-dcc64c0076cf" providerId="ADAL" clId="{05A1DA8D-63B9-4B1C-AA10-E7BD2B032652}" dt="2020-06-17T10:18:58.636" v="5231" actId="2696"/>
        <pc:sldMkLst>
          <pc:docMk/>
          <pc:sldMk cId="1810638968" sldId="412"/>
        </pc:sldMkLst>
        <pc:spChg chg="add del">
          <ac:chgData name="Daniele, L.M. (Laura)" userId="fd7970a2-7a0c-4b70-8263-dcc64c0076cf" providerId="ADAL" clId="{05A1DA8D-63B9-4B1C-AA10-E7BD2B032652}" dt="2020-06-17T09:01:54.532" v="4136"/>
          <ac:spMkLst>
            <pc:docMk/>
            <pc:sldMk cId="1810638968" sldId="412"/>
            <ac:spMk id="44" creationId="{C737520C-9FED-4698-9C19-04B368C5118D}"/>
          </ac:spMkLst>
        </pc:spChg>
        <pc:spChg chg="add del">
          <ac:chgData name="Daniele, L.M. (Laura)" userId="fd7970a2-7a0c-4b70-8263-dcc64c0076cf" providerId="ADAL" clId="{05A1DA8D-63B9-4B1C-AA10-E7BD2B032652}" dt="2020-06-17T09:01:54.532" v="4136"/>
          <ac:spMkLst>
            <pc:docMk/>
            <pc:sldMk cId="1810638968" sldId="412"/>
            <ac:spMk id="45" creationId="{0A8C1D5D-8787-42E5-B8F0-F6D2DBD0C21F}"/>
          </ac:spMkLst>
        </pc:spChg>
        <pc:spChg chg="add del">
          <ac:chgData name="Daniele, L.M. (Laura)" userId="fd7970a2-7a0c-4b70-8263-dcc64c0076cf" providerId="ADAL" clId="{05A1DA8D-63B9-4B1C-AA10-E7BD2B032652}" dt="2020-06-17T09:01:54.532" v="4136"/>
          <ac:spMkLst>
            <pc:docMk/>
            <pc:sldMk cId="1810638968" sldId="412"/>
            <ac:spMk id="46" creationId="{598FB924-8E99-4B5D-85A4-94339039D206}"/>
          </ac:spMkLst>
        </pc:spChg>
        <pc:spChg chg="add del">
          <ac:chgData name="Daniele, L.M. (Laura)" userId="fd7970a2-7a0c-4b70-8263-dcc64c0076cf" providerId="ADAL" clId="{05A1DA8D-63B9-4B1C-AA10-E7BD2B032652}" dt="2020-06-17T09:01:54.532" v="4136"/>
          <ac:spMkLst>
            <pc:docMk/>
            <pc:sldMk cId="1810638968" sldId="412"/>
            <ac:spMk id="47" creationId="{99F54997-31EE-4D3D-9818-3DD532C1366C}"/>
          </ac:spMkLst>
        </pc:spChg>
        <pc:spChg chg="mod">
          <ac:chgData name="Daniele, L.M. (Laura)" userId="fd7970a2-7a0c-4b70-8263-dcc64c0076cf" providerId="ADAL" clId="{05A1DA8D-63B9-4B1C-AA10-E7BD2B032652}" dt="2020-06-17T09:07:07.687" v="4361" actId="14100"/>
          <ac:spMkLst>
            <pc:docMk/>
            <pc:sldMk cId="1810638968" sldId="412"/>
            <ac:spMk id="86" creationId="{7A0B45B7-A04C-42D8-B492-A0FD7EAC5C97}"/>
          </ac:spMkLst>
        </pc:spChg>
        <pc:grpChg chg="add del">
          <ac:chgData name="Daniele, L.M. (Laura)" userId="fd7970a2-7a0c-4b70-8263-dcc64c0076cf" providerId="ADAL" clId="{05A1DA8D-63B9-4B1C-AA10-E7BD2B032652}" dt="2020-06-17T09:01:54.532" v="4136"/>
          <ac:grpSpMkLst>
            <pc:docMk/>
            <pc:sldMk cId="1810638968" sldId="412"/>
            <ac:grpSpMk id="5" creationId="{CF722AA4-34F8-4597-9A9D-E75272E638A2}"/>
          </ac:grpSpMkLst>
        </pc:grpChg>
        <pc:grpChg chg="add del">
          <ac:chgData name="Daniele, L.M. (Laura)" userId="fd7970a2-7a0c-4b70-8263-dcc64c0076cf" providerId="ADAL" clId="{05A1DA8D-63B9-4B1C-AA10-E7BD2B032652}" dt="2020-06-17T09:01:54.532" v="4136"/>
          <ac:grpSpMkLst>
            <pc:docMk/>
            <pc:sldMk cId="1810638968" sldId="412"/>
            <ac:grpSpMk id="8" creationId="{597701C2-B566-4097-91FC-F70FBDF4C90D}"/>
          </ac:grpSpMkLst>
        </pc:grpChg>
        <pc:grpChg chg="add del">
          <ac:chgData name="Daniele, L.M. (Laura)" userId="fd7970a2-7a0c-4b70-8263-dcc64c0076cf" providerId="ADAL" clId="{05A1DA8D-63B9-4B1C-AA10-E7BD2B032652}" dt="2020-06-17T09:01:54.532" v="4136"/>
          <ac:grpSpMkLst>
            <pc:docMk/>
            <pc:sldMk cId="1810638968" sldId="412"/>
            <ac:grpSpMk id="11" creationId="{79C4A2E5-E351-4198-84D5-7EC167FBABD5}"/>
          </ac:grpSpMkLst>
        </pc:grpChg>
        <pc:grpChg chg="add del">
          <ac:chgData name="Daniele, L.M. (Laura)" userId="fd7970a2-7a0c-4b70-8263-dcc64c0076cf" providerId="ADAL" clId="{05A1DA8D-63B9-4B1C-AA10-E7BD2B032652}" dt="2020-06-17T09:01:54.532" v="4136"/>
          <ac:grpSpMkLst>
            <pc:docMk/>
            <pc:sldMk cId="1810638968" sldId="412"/>
            <ac:grpSpMk id="14" creationId="{198593A4-BC5E-45BC-B02D-0907713C635B}"/>
          </ac:grpSpMkLst>
        </pc:grpChg>
        <pc:grpChg chg="add del">
          <ac:chgData name="Daniele, L.M. (Laura)" userId="fd7970a2-7a0c-4b70-8263-dcc64c0076cf" providerId="ADAL" clId="{05A1DA8D-63B9-4B1C-AA10-E7BD2B032652}" dt="2020-06-17T09:01:54.532" v="4136"/>
          <ac:grpSpMkLst>
            <pc:docMk/>
            <pc:sldMk cId="1810638968" sldId="412"/>
            <ac:grpSpMk id="17" creationId="{FF7576A6-1B55-43E5-B2ED-998BA23FAD4E}"/>
          </ac:grpSpMkLst>
        </pc:grpChg>
        <pc:grpChg chg="add del">
          <ac:chgData name="Daniele, L.M. (Laura)" userId="fd7970a2-7a0c-4b70-8263-dcc64c0076cf" providerId="ADAL" clId="{05A1DA8D-63B9-4B1C-AA10-E7BD2B032652}" dt="2020-06-17T09:01:54.532" v="4136"/>
          <ac:grpSpMkLst>
            <pc:docMk/>
            <pc:sldMk cId="1810638968" sldId="412"/>
            <ac:grpSpMk id="20" creationId="{A61B83C0-965C-43B9-84A8-C674CF1EDFD2}"/>
          </ac:grpSpMkLst>
        </pc:grpChg>
        <pc:grpChg chg="add del">
          <ac:chgData name="Daniele, L.M. (Laura)" userId="fd7970a2-7a0c-4b70-8263-dcc64c0076cf" providerId="ADAL" clId="{05A1DA8D-63B9-4B1C-AA10-E7BD2B032652}" dt="2020-06-17T09:01:54.532" v="4136"/>
          <ac:grpSpMkLst>
            <pc:docMk/>
            <pc:sldMk cId="1810638968" sldId="412"/>
            <ac:grpSpMk id="23" creationId="{3DC22F8C-8D29-49B8-A130-18E16D5831BE}"/>
          </ac:grpSpMkLst>
        </pc:grpChg>
        <pc:grpChg chg="add del">
          <ac:chgData name="Daniele, L.M. (Laura)" userId="fd7970a2-7a0c-4b70-8263-dcc64c0076cf" providerId="ADAL" clId="{05A1DA8D-63B9-4B1C-AA10-E7BD2B032652}" dt="2020-06-17T09:01:54.532" v="4136"/>
          <ac:grpSpMkLst>
            <pc:docMk/>
            <pc:sldMk cId="1810638968" sldId="412"/>
            <ac:grpSpMk id="26" creationId="{1035AA82-038A-4FE5-BA74-3357BC7C4707}"/>
          </ac:grpSpMkLst>
        </pc:grpChg>
        <pc:grpChg chg="add del">
          <ac:chgData name="Daniele, L.M. (Laura)" userId="fd7970a2-7a0c-4b70-8263-dcc64c0076cf" providerId="ADAL" clId="{05A1DA8D-63B9-4B1C-AA10-E7BD2B032652}" dt="2020-06-17T09:01:54.532" v="4136"/>
          <ac:grpSpMkLst>
            <pc:docMk/>
            <pc:sldMk cId="1810638968" sldId="412"/>
            <ac:grpSpMk id="29" creationId="{8FCFE4CF-4B76-4C2A-AFAC-981482610E8F}"/>
          </ac:grpSpMkLst>
        </pc:grpChg>
        <pc:grpChg chg="add del">
          <ac:chgData name="Daniele, L.M. (Laura)" userId="fd7970a2-7a0c-4b70-8263-dcc64c0076cf" providerId="ADAL" clId="{05A1DA8D-63B9-4B1C-AA10-E7BD2B032652}" dt="2020-06-17T09:01:54.532" v="4136"/>
          <ac:grpSpMkLst>
            <pc:docMk/>
            <pc:sldMk cId="1810638968" sldId="412"/>
            <ac:grpSpMk id="32" creationId="{B45F422C-C95E-411F-99A7-503B06F0684E}"/>
          </ac:grpSpMkLst>
        </pc:grpChg>
        <pc:grpChg chg="add del">
          <ac:chgData name="Daniele, L.M. (Laura)" userId="fd7970a2-7a0c-4b70-8263-dcc64c0076cf" providerId="ADAL" clId="{05A1DA8D-63B9-4B1C-AA10-E7BD2B032652}" dt="2020-06-17T09:01:54.532" v="4136"/>
          <ac:grpSpMkLst>
            <pc:docMk/>
            <pc:sldMk cId="1810638968" sldId="412"/>
            <ac:grpSpMk id="36" creationId="{3D09DFD8-DD60-4BE3-953E-3154A86C8662}"/>
          </ac:grpSpMkLst>
        </pc:grpChg>
        <pc:grpChg chg="add del">
          <ac:chgData name="Daniele, L.M. (Laura)" userId="fd7970a2-7a0c-4b70-8263-dcc64c0076cf" providerId="ADAL" clId="{05A1DA8D-63B9-4B1C-AA10-E7BD2B032652}" dt="2020-06-17T09:01:54.532" v="4136"/>
          <ac:grpSpMkLst>
            <pc:docMk/>
            <pc:sldMk cId="1810638968" sldId="412"/>
            <ac:grpSpMk id="40" creationId="{4F524FA7-EBED-44FD-831C-2FE38F539153}"/>
          </ac:grpSpMkLst>
        </pc:grpChg>
        <pc:grpChg chg="add del">
          <ac:chgData name="Daniele, L.M. (Laura)" userId="fd7970a2-7a0c-4b70-8263-dcc64c0076cf" providerId="ADAL" clId="{05A1DA8D-63B9-4B1C-AA10-E7BD2B032652}" dt="2020-06-17T09:01:54.532" v="4136"/>
          <ac:grpSpMkLst>
            <pc:docMk/>
            <pc:sldMk cId="1810638968" sldId="412"/>
            <ac:grpSpMk id="48" creationId="{E8903215-933E-4CAD-9F6A-D1E4FD56D44C}"/>
          </ac:grpSpMkLst>
        </pc:grpChg>
        <pc:grpChg chg="add del">
          <ac:chgData name="Daniele, L.M. (Laura)" userId="fd7970a2-7a0c-4b70-8263-dcc64c0076cf" providerId="ADAL" clId="{05A1DA8D-63B9-4B1C-AA10-E7BD2B032652}" dt="2020-06-17T09:01:54.532" v="4136"/>
          <ac:grpSpMkLst>
            <pc:docMk/>
            <pc:sldMk cId="1810638968" sldId="412"/>
            <ac:grpSpMk id="53" creationId="{07136211-D02B-4465-9615-293629134A9F}"/>
          </ac:grpSpMkLst>
        </pc:grpChg>
        <pc:grpChg chg="add del">
          <ac:chgData name="Daniele, L.M. (Laura)" userId="fd7970a2-7a0c-4b70-8263-dcc64c0076cf" providerId="ADAL" clId="{05A1DA8D-63B9-4B1C-AA10-E7BD2B032652}" dt="2020-06-17T09:01:54.532" v="4136"/>
          <ac:grpSpMkLst>
            <pc:docMk/>
            <pc:sldMk cId="1810638968" sldId="412"/>
            <ac:grpSpMk id="58" creationId="{69FBEE07-4DF0-46AA-952C-64C9BF27EA4E}"/>
          </ac:grpSpMkLst>
        </pc:grpChg>
        <pc:grpChg chg="add del">
          <ac:chgData name="Daniele, L.M. (Laura)" userId="fd7970a2-7a0c-4b70-8263-dcc64c0076cf" providerId="ADAL" clId="{05A1DA8D-63B9-4B1C-AA10-E7BD2B032652}" dt="2020-06-17T09:01:54.532" v="4136"/>
          <ac:grpSpMkLst>
            <pc:docMk/>
            <pc:sldMk cId="1810638968" sldId="412"/>
            <ac:grpSpMk id="61" creationId="{FE9D432E-8C42-4914-B3FE-B47C0D83400C}"/>
          </ac:grpSpMkLst>
        </pc:grpChg>
        <pc:grpChg chg="add del">
          <ac:chgData name="Daniele, L.M. (Laura)" userId="fd7970a2-7a0c-4b70-8263-dcc64c0076cf" providerId="ADAL" clId="{05A1DA8D-63B9-4B1C-AA10-E7BD2B032652}" dt="2020-06-17T09:01:54.532" v="4136"/>
          <ac:grpSpMkLst>
            <pc:docMk/>
            <pc:sldMk cId="1810638968" sldId="412"/>
            <ac:grpSpMk id="66" creationId="{8A12843F-14D7-4936-B6E7-6480BD1CC04C}"/>
          </ac:grpSpMkLst>
        </pc:grpChg>
        <pc:picChg chg="add">
          <ac:chgData name="Daniele, L.M. (Laura)" userId="fd7970a2-7a0c-4b70-8263-dcc64c0076cf" providerId="ADAL" clId="{05A1DA8D-63B9-4B1C-AA10-E7BD2B032652}" dt="2020-06-17T09:01:56.872" v="4137"/>
          <ac:picMkLst>
            <pc:docMk/>
            <pc:sldMk cId="1810638968" sldId="412"/>
            <ac:picMk id="3" creationId="{92E8F6F6-31CE-4CD1-8D4C-A98F4EE45CE6}"/>
          </ac:picMkLst>
        </pc:picChg>
        <pc:picChg chg="add">
          <ac:chgData name="Daniele, L.M. (Laura)" userId="fd7970a2-7a0c-4b70-8263-dcc64c0076cf" providerId="ADAL" clId="{05A1DA8D-63B9-4B1C-AA10-E7BD2B032652}" dt="2020-06-17T09:06:50.662" v="4359"/>
          <ac:picMkLst>
            <pc:docMk/>
            <pc:sldMk cId="1810638968" sldId="412"/>
            <ac:picMk id="79" creationId="{47A5BCBB-6499-4FE2-B866-CF1E4747AAD6}"/>
          </ac:picMkLst>
        </pc:picChg>
        <pc:picChg chg="del">
          <ac:chgData name="Daniele, L.M. (Laura)" userId="fd7970a2-7a0c-4b70-8263-dcc64c0076cf" providerId="ADAL" clId="{05A1DA8D-63B9-4B1C-AA10-E7BD2B032652}" dt="2020-06-17T09:01:51.257" v="4134" actId="478"/>
          <ac:picMkLst>
            <pc:docMk/>
            <pc:sldMk cId="1810638968" sldId="412"/>
            <ac:picMk id="81" creationId="{90D10890-5BA4-4BA5-9055-63B2403FB3BE}"/>
          </ac:picMkLst>
        </pc:picChg>
      </pc:sldChg>
      <pc:sldChg chg="addSp delSp modSp add del">
        <pc:chgData name="Daniele, L.M. (Laura)" userId="fd7970a2-7a0c-4b70-8263-dcc64c0076cf" providerId="ADAL" clId="{05A1DA8D-63B9-4B1C-AA10-E7BD2B032652}" dt="2020-06-17T09:11:20.837" v="4422" actId="2696"/>
        <pc:sldMkLst>
          <pc:docMk/>
          <pc:sldMk cId="96697746" sldId="413"/>
        </pc:sldMkLst>
        <pc:spChg chg="mod">
          <ac:chgData name="Daniele, L.M. (Laura)" userId="fd7970a2-7a0c-4b70-8263-dcc64c0076cf" providerId="ADAL" clId="{05A1DA8D-63B9-4B1C-AA10-E7BD2B032652}" dt="2020-06-17T09:03:16.889" v="4197" actId="20577"/>
          <ac:spMkLst>
            <pc:docMk/>
            <pc:sldMk cId="96697746" sldId="413"/>
            <ac:spMk id="86" creationId="{7A0B45B7-A04C-42D8-B492-A0FD7EAC5C97}"/>
          </ac:spMkLst>
        </pc:spChg>
        <pc:picChg chg="add mod">
          <ac:chgData name="Daniele, L.M. (Laura)" userId="fd7970a2-7a0c-4b70-8263-dcc64c0076cf" providerId="ADAL" clId="{05A1DA8D-63B9-4B1C-AA10-E7BD2B032652}" dt="2020-06-17T09:03:45.589" v="4201" actId="1076"/>
          <ac:picMkLst>
            <pc:docMk/>
            <pc:sldMk cId="96697746" sldId="413"/>
            <ac:picMk id="3" creationId="{105A0A50-FE45-4406-961B-A6C89F7754B4}"/>
          </ac:picMkLst>
        </pc:picChg>
        <pc:picChg chg="del">
          <ac:chgData name="Daniele, L.M. (Laura)" userId="fd7970a2-7a0c-4b70-8263-dcc64c0076cf" providerId="ADAL" clId="{05A1DA8D-63B9-4B1C-AA10-E7BD2B032652}" dt="2020-06-17T09:03:35.756" v="4199" actId="478"/>
          <ac:picMkLst>
            <pc:docMk/>
            <pc:sldMk cId="96697746" sldId="413"/>
            <ac:picMk id="81" creationId="{90D10890-5BA4-4BA5-9055-63B2403FB3BE}"/>
          </ac:picMkLst>
        </pc:picChg>
      </pc:sldChg>
      <pc:sldChg chg="add del">
        <pc:chgData name="Daniele, L.M. (Laura)" userId="fd7970a2-7a0c-4b70-8263-dcc64c0076cf" providerId="ADAL" clId="{05A1DA8D-63B9-4B1C-AA10-E7BD2B032652}" dt="2020-06-17T11:27:07.160" v="5763" actId="2696"/>
        <pc:sldMkLst>
          <pc:docMk/>
          <pc:sldMk cId="951867288" sldId="413"/>
        </pc:sldMkLst>
      </pc:sldChg>
      <pc:sldChg chg="add del">
        <pc:chgData name="Daniele, L.M. (Laura)" userId="fd7970a2-7a0c-4b70-8263-dcc64c0076cf" providerId="ADAL" clId="{05A1DA8D-63B9-4B1C-AA10-E7BD2B032652}" dt="2020-06-17T11:52:20.637" v="7249" actId="2696"/>
        <pc:sldMkLst>
          <pc:docMk/>
          <pc:sldMk cId="1886998904" sldId="413"/>
        </pc:sldMkLst>
      </pc:sldChg>
      <pc:sldChg chg="addSp delSp modSp add">
        <pc:chgData name="Daniele, L.M. (Laura)" userId="fd7970a2-7a0c-4b70-8263-dcc64c0076cf" providerId="ADAL" clId="{05A1DA8D-63B9-4B1C-AA10-E7BD2B032652}" dt="2020-06-17T13:48:11.695" v="8431" actId="14100"/>
        <pc:sldMkLst>
          <pc:docMk/>
          <pc:sldMk cId="2240237392" sldId="413"/>
        </pc:sldMkLst>
        <pc:spChg chg="mod ord">
          <ac:chgData name="Daniele, L.M. (Laura)" userId="fd7970a2-7a0c-4b70-8263-dcc64c0076cf" providerId="ADAL" clId="{05A1DA8D-63B9-4B1C-AA10-E7BD2B032652}" dt="2020-06-17T13:48:11.695" v="8431" actId="14100"/>
          <ac:spMkLst>
            <pc:docMk/>
            <pc:sldMk cId="2240237392" sldId="413"/>
            <ac:spMk id="8" creationId="{36E5B56E-1515-4346-86AA-DF75FC207FAB}"/>
          </ac:spMkLst>
        </pc:spChg>
        <pc:spChg chg="mod">
          <ac:chgData name="Daniele, L.M. (Laura)" userId="fd7970a2-7a0c-4b70-8263-dcc64c0076cf" providerId="ADAL" clId="{05A1DA8D-63B9-4B1C-AA10-E7BD2B032652}" dt="2020-06-17T13:40:28.750" v="8420" actId="1076"/>
          <ac:spMkLst>
            <pc:docMk/>
            <pc:sldMk cId="2240237392" sldId="413"/>
            <ac:spMk id="10" creationId="{CBA6F9A1-BD95-4CA2-8B86-853FBB25B6D2}"/>
          </ac:spMkLst>
        </pc:spChg>
        <pc:spChg chg="add mod">
          <ac:chgData name="Daniele, L.M. (Laura)" userId="fd7970a2-7a0c-4b70-8263-dcc64c0076cf" providerId="ADAL" clId="{05A1DA8D-63B9-4B1C-AA10-E7BD2B032652}" dt="2020-06-17T13:47:52.327" v="8430" actId="20577"/>
          <ac:spMkLst>
            <pc:docMk/>
            <pc:sldMk cId="2240237392" sldId="413"/>
            <ac:spMk id="11" creationId="{66BA3C99-C58C-4C61-B3C3-EEA308AC1992}"/>
          </ac:spMkLst>
        </pc:spChg>
        <pc:spChg chg="add del mod">
          <ac:chgData name="Daniele, L.M. (Laura)" userId="fd7970a2-7a0c-4b70-8263-dcc64c0076cf" providerId="ADAL" clId="{05A1DA8D-63B9-4B1C-AA10-E7BD2B032652}" dt="2020-06-17T13:40:17.794" v="8418" actId="1037"/>
          <ac:spMkLst>
            <pc:docMk/>
            <pc:sldMk cId="2240237392" sldId="413"/>
            <ac:spMk id="13" creationId="{BF346926-513B-4EED-8B22-78A8DED0D56B}"/>
          </ac:spMkLst>
        </pc:spChg>
        <pc:spChg chg="add del mod">
          <ac:chgData name="Daniele, L.M. (Laura)" userId="fd7970a2-7a0c-4b70-8263-dcc64c0076cf" providerId="ADAL" clId="{05A1DA8D-63B9-4B1C-AA10-E7BD2B032652}" dt="2020-06-17T13:40:17.794" v="8418" actId="1037"/>
          <ac:spMkLst>
            <pc:docMk/>
            <pc:sldMk cId="2240237392" sldId="413"/>
            <ac:spMk id="14" creationId="{37907692-CF75-4C87-AE89-DF91FEF1995A}"/>
          </ac:spMkLst>
        </pc:spChg>
        <pc:spChg chg="add del mod">
          <ac:chgData name="Daniele, L.M. (Laura)" userId="fd7970a2-7a0c-4b70-8263-dcc64c0076cf" providerId="ADAL" clId="{05A1DA8D-63B9-4B1C-AA10-E7BD2B032652}" dt="2020-06-17T13:40:17.794" v="8418" actId="1037"/>
          <ac:spMkLst>
            <pc:docMk/>
            <pc:sldMk cId="2240237392" sldId="413"/>
            <ac:spMk id="16" creationId="{3B5F2428-A663-4FB4-AF23-766591C01BDC}"/>
          </ac:spMkLst>
        </pc:spChg>
        <pc:spChg chg="mod">
          <ac:chgData name="Daniele, L.M. (Laura)" userId="fd7970a2-7a0c-4b70-8263-dcc64c0076cf" providerId="ADAL" clId="{05A1DA8D-63B9-4B1C-AA10-E7BD2B032652}" dt="2020-06-17T13:40:06.568" v="8397" actId="1076"/>
          <ac:spMkLst>
            <pc:docMk/>
            <pc:sldMk cId="2240237392" sldId="413"/>
            <ac:spMk id="17" creationId="{CDA610A2-BB05-4B89-8849-50EA689095F1}"/>
          </ac:spMkLst>
        </pc:spChg>
        <pc:picChg chg="add mod">
          <ac:chgData name="Daniele, L.M. (Laura)" userId="fd7970a2-7a0c-4b70-8263-dcc64c0076cf" providerId="ADAL" clId="{05A1DA8D-63B9-4B1C-AA10-E7BD2B032652}" dt="2020-06-17T13:37:39.254" v="8354" actId="14100"/>
          <ac:picMkLst>
            <pc:docMk/>
            <pc:sldMk cId="2240237392" sldId="413"/>
            <ac:picMk id="3" creationId="{426D712E-B2B9-4431-9D9F-465F43269410}"/>
          </ac:picMkLst>
        </pc:picChg>
        <pc:picChg chg="del">
          <ac:chgData name="Daniele, L.M. (Laura)" userId="fd7970a2-7a0c-4b70-8263-dcc64c0076cf" providerId="ADAL" clId="{05A1DA8D-63B9-4B1C-AA10-E7BD2B032652}" dt="2020-06-17T13:36:06.724" v="8335" actId="478"/>
          <ac:picMkLst>
            <pc:docMk/>
            <pc:sldMk cId="2240237392" sldId="413"/>
            <ac:picMk id="6" creationId="{263E1EA3-4168-446D-9A16-FB2BDF76383A}"/>
          </ac:picMkLst>
        </pc:picChg>
        <pc:picChg chg="add del mod">
          <ac:chgData name="Daniele, L.M. (Laura)" userId="fd7970a2-7a0c-4b70-8263-dcc64c0076cf" providerId="ADAL" clId="{05A1DA8D-63B9-4B1C-AA10-E7BD2B032652}" dt="2020-06-17T13:40:17.794" v="8418" actId="1037"/>
          <ac:picMkLst>
            <pc:docMk/>
            <pc:sldMk cId="2240237392" sldId="413"/>
            <ac:picMk id="9" creationId="{D5B5E654-9454-432B-853B-409F58723CE2}"/>
          </ac:picMkLst>
        </pc:picChg>
      </pc:sldChg>
      <pc:sldChg chg="delSp modSp add del">
        <pc:chgData name="Daniele, L.M. (Laura)" userId="fd7970a2-7a0c-4b70-8263-dcc64c0076cf" providerId="ADAL" clId="{05A1DA8D-63B9-4B1C-AA10-E7BD2B032652}" dt="2020-06-17T09:34:42.192" v="4440" actId="2696"/>
        <pc:sldMkLst>
          <pc:docMk/>
          <pc:sldMk cId="274973374" sldId="414"/>
        </pc:sldMkLst>
        <pc:spChg chg="mod">
          <ac:chgData name="Daniele, L.M. (Laura)" userId="fd7970a2-7a0c-4b70-8263-dcc64c0076cf" providerId="ADAL" clId="{05A1DA8D-63B9-4B1C-AA10-E7BD2B032652}" dt="2020-06-17T09:34:03.081" v="4438" actId="20577"/>
          <ac:spMkLst>
            <pc:docMk/>
            <pc:sldMk cId="274973374" sldId="414"/>
            <ac:spMk id="86" creationId="{7A0B45B7-A04C-42D8-B492-A0FD7EAC5C97}"/>
          </ac:spMkLst>
        </pc:spChg>
        <pc:picChg chg="del">
          <ac:chgData name="Daniele, L.M. (Laura)" userId="fd7970a2-7a0c-4b70-8263-dcc64c0076cf" providerId="ADAL" clId="{05A1DA8D-63B9-4B1C-AA10-E7BD2B032652}" dt="2020-06-17T09:33:58.892" v="4429" actId="478"/>
          <ac:picMkLst>
            <pc:docMk/>
            <pc:sldMk cId="274973374" sldId="414"/>
            <ac:picMk id="3" creationId="{92E8F6F6-31CE-4CD1-8D4C-A98F4EE45CE6}"/>
          </ac:picMkLst>
        </pc:picChg>
      </pc:sldChg>
      <pc:sldChg chg="addSp delSp modSp add del">
        <pc:chgData name="Daniele, L.M. (Laura)" userId="fd7970a2-7a0c-4b70-8263-dcc64c0076cf" providerId="ADAL" clId="{05A1DA8D-63B9-4B1C-AA10-E7BD2B032652}" dt="2020-06-17T09:11:23.713" v="4423" actId="2696"/>
        <pc:sldMkLst>
          <pc:docMk/>
          <pc:sldMk cId="3890846755" sldId="414"/>
        </pc:sldMkLst>
        <pc:spChg chg="mod">
          <ac:chgData name="Daniele, L.M. (Laura)" userId="fd7970a2-7a0c-4b70-8263-dcc64c0076cf" providerId="ADAL" clId="{05A1DA8D-63B9-4B1C-AA10-E7BD2B032652}" dt="2020-06-17T09:04:18.259" v="4227" actId="20577"/>
          <ac:spMkLst>
            <pc:docMk/>
            <pc:sldMk cId="3890846755" sldId="414"/>
            <ac:spMk id="86" creationId="{7A0B45B7-A04C-42D8-B492-A0FD7EAC5C97}"/>
          </ac:spMkLst>
        </pc:spChg>
        <pc:picChg chg="del">
          <ac:chgData name="Daniele, L.M. (Laura)" userId="fd7970a2-7a0c-4b70-8263-dcc64c0076cf" providerId="ADAL" clId="{05A1DA8D-63B9-4B1C-AA10-E7BD2B032652}" dt="2020-06-17T09:04:41.680" v="4228" actId="478"/>
          <ac:picMkLst>
            <pc:docMk/>
            <pc:sldMk cId="3890846755" sldId="414"/>
            <ac:picMk id="3" creationId="{105A0A50-FE45-4406-961B-A6C89F7754B4}"/>
          </ac:picMkLst>
        </pc:picChg>
        <pc:picChg chg="add mod">
          <ac:chgData name="Daniele, L.M. (Laura)" userId="fd7970a2-7a0c-4b70-8263-dcc64c0076cf" providerId="ADAL" clId="{05A1DA8D-63B9-4B1C-AA10-E7BD2B032652}" dt="2020-06-17T09:05:01.760" v="4231" actId="1076"/>
          <ac:picMkLst>
            <pc:docMk/>
            <pc:sldMk cId="3890846755" sldId="414"/>
            <ac:picMk id="4" creationId="{1EDDC44C-512A-47D1-93F9-F799EB404744}"/>
          </ac:picMkLst>
        </pc:picChg>
      </pc:sldChg>
      <pc:sldChg chg="addSp add del">
        <pc:chgData name="Daniele, L.M. (Laura)" userId="fd7970a2-7a0c-4b70-8263-dcc64c0076cf" providerId="ADAL" clId="{05A1DA8D-63B9-4B1C-AA10-E7BD2B032652}" dt="2020-06-17T09:34:59.681" v="4443" actId="2696"/>
        <pc:sldMkLst>
          <pc:docMk/>
          <pc:sldMk cId="2100184280" sldId="415"/>
        </pc:sldMkLst>
        <pc:picChg chg="add">
          <ac:chgData name="Daniele, L.M. (Laura)" userId="fd7970a2-7a0c-4b70-8263-dcc64c0076cf" providerId="ADAL" clId="{05A1DA8D-63B9-4B1C-AA10-E7BD2B032652}" dt="2020-06-17T09:34:47.963" v="4441"/>
          <ac:picMkLst>
            <pc:docMk/>
            <pc:sldMk cId="2100184280" sldId="415"/>
            <ac:picMk id="5" creationId="{28F0B0F0-AE94-49EB-956B-11A267C0B5C7}"/>
          </ac:picMkLst>
        </pc:picChg>
      </pc:sldChg>
      <pc:sldChg chg="addSp delSp modSp add">
        <pc:chgData name="Daniele, L.M. (Laura)" userId="fd7970a2-7a0c-4b70-8263-dcc64c0076cf" providerId="ADAL" clId="{05A1DA8D-63B9-4B1C-AA10-E7BD2B032652}" dt="2020-06-17T10:18:02.105" v="5230" actId="1076"/>
        <pc:sldMkLst>
          <pc:docMk/>
          <pc:sldMk cId="2660859367" sldId="416"/>
        </pc:sldMkLst>
        <pc:spChg chg="mod">
          <ac:chgData name="Daniele, L.M. (Laura)" userId="fd7970a2-7a0c-4b70-8263-dcc64c0076cf" providerId="ADAL" clId="{05A1DA8D-63B9-4B1C-AA10-E7BD2B032652}" dt="2020-06-17T09:35:05.778" v="4452" actId="20577"/>
          <ac:spMkLst>
            <pc:docMk/>
            <pc:sldMk cId="2660859367" sldId="416"/>
            <ac:spMk id="2" creationId="{A5FD30CB-183D-44CE-8555-A30333FD43A4}"/>
          </ac:spMkLst>
        </pc:spChg>
        <pc:spChg chg="mod">
          <ac:chgData name="Daniele, L.M. (Laura)" userId="fd7970a2-7a0c-4b70-8263-dcc64c0076cf" providerId="ADAL" clId="{05A1DA8D-63B9-4B1C-AA10-E7BD2B032652}" dt="2020-06-17T10:18:02.105" v="5230" actId="1076"/>
          <ac:spMkLst>
            <pc:docMk/>
            <pc:sldMk cId="2660859367" sldId="416"/>
            <ac:spMk id="3" creationId="{70D40F4B-D3E4-4EDC-9626-C64976F80FA6}"/>
          </ac:spMkLst>
        </pc:spChg>
        <pc:spChg chg="add mod">
          <ac:chgData name="Daniele, L.M. (Laura)" userId="fd7970a2-7a0c-4b70-8263-dcc64c0076cf" providerId="ADAL" clId="{05A1DA8D-63B9-4B1C-AA10-E7BD2B032652}" dt="2020-06-17T10:16:22.731" v="5218" actId="948"/>
          <ac:spMkLst>
            <pc:docMk/>
            <pc:sldMk cId="2660859367" sldId="416"/>
            <ac:spMk id="8" creationId="{CC5B90A9-EC8E-402F-BBF1-503739DD2B8D}"/>
          </ac:spMkLst>
        </pc:spChg>
        <pc:picChg chg="add">
          <ac:chgData name="Daniele, L.M. (Laura)" userId="fd7970a2-7a0c-4b70-8263-dcc64c0076cf" providerId="ADAL" clId="{05A1DA8D-63B9-4B1C-AA10-E7BD2B032652}" dt="2020-06-17T09:35:02.004" v="4444"/>
          <ac:picMkLst>
            <pc:docMk/>
            <pc:sldMk cId="2660859367" sldId="416"/>
            <ac:picMk id="5" creationId="{2ABB324A-AE2A-4D47-9D7F-AC777666729C}"/>
          </ac:picMkLst>
        </pc:picChg>
        <pc:picChg chg="add mod">
          <ac:chgData name="Daniele, L.M. (Laura)" userId="fd7970a2-7a0c-4b70-8263-dcc64c0076cf" providerId="ADAL" clId="{05A1DA8D-63B9-4B1C-AA10-E7BD2B032652}" dt="2020-06-17T09:56:25.153" v="4773" actId="1076"/>
          <ac:picMkLst>
            <pc:docMk/>
            <pc:sldMk cId="2660859367" sldId="416"/>
            <ac:picMk id="7" creationId="{9717A26A-6A47-42F8-B127-DBAB268439BF}"/>
          </ac:picMkLst>
        </pc:picChg>
        <pc:picChg chg="add del">
          <ac:chgData name="Daniele, L.M. (Laura)" userId="fd7970a2-7a0c-4b70-8263-dcc64c0076cf" providerId="ADAL" clId="{05A1DA8D-63B9-4B1C-AA10-E7BD2B032652}" dt="2020-06-17T09:55:34.526" v="4761"/>
          <ac:picMkLst>
            <pc:docMk/>
            <pc:sldMk cId="2660859367" sldId="416"/>
            <ac:picMk id="9" creationId="{90D71DF2-57F1-4DEA-8CFA-185F605B91DF}"/>
          </ac:picMkLst>
        </pc:picChg>
      </pc:sldChg>
      <pc:sldChg chg="addSp delSp modSp add">
        <pc:chgData name="Daniele, L.M. (Laura)" userId="fd7970a2-7a0c-4b70-8263-dcc64c0076cf" providerId="ADAL" clId="{05A1DA8D-63B9-4B1C-AA10-E7BD2B032652}" dt="2020-06-17T13:14:30.007" v="8093" actId="20577"/>
        <pc:sldMkLst>
          <pc:docMk/>
          <pc:sldMk cId="3738704137" sldId="417"/>
        </pc:sldMkLst>
        <pc:spChg chg="mod">
          <ac:chgData name="Daniele, L.M. (Laura)" userId="fd7970a2-7a0c-4b70-8263-dcc64c0076cf" providerId="ADAL" clId="{05A1DA8D-63B9-4B1C-AA10-E7BD2B032652}" dt="2020-06-17T11:02:39.325" v="5496" actId="20577"/>
          <ac:spMkLst>
            <pc:docMk/>
            <pc:sldMk cId="3738704137" sldId="417"/>
            <ac:spMk id="2" creationId="{A5FD30CB-183D-44CE-8555-A30333FD43A4}"/>
          </ac:spMkLst>
        </pc:spChg>
        <pc:spChg chg="mod">
          <ac:chgData name="Daniele, L.M. (Laura)" userId="fd7970a2-7a0c-4b70-8263-dcc64c0076cf" providerId="ADAL" clId="{05A1DA8D-63B9-4B1C-AA10-E7BD2B032652}" dt="2020-06-17T13:14:30.007" v="8093" actId="20577"/>
          <ac:spMkLst>
            <pc:docMk/>
            <pc:sldMk cId="3738704137" sldId="417"/>
            <ac:spMk id="3" creationId="{70D40F4B-D3E4-4EDC-9626-C64976F80FA6}"/>
          </ac:spMkLst>
        </pc:spChg>
        <pc:spChg chg="del">
          <ac:chgData name="Daniele, L.M. (Laura)" userId="fd7970a2-7a0c-4b70-8263-dcc64c0076cf" providerId="ADAL" clId="{05A1DA8D-63B9-4B1C-AA10-E7BD2B032652}" dt="2020-06-17T09:58:32.651" v="4805" actId="478"/>
          <ac:spMkLst>
            <pc:docMk/>
            <pc:sldMk cId="3738704137" sldId="417"/>
            <ac:spMk id="8" creationId="{CC5B90A9-EC8E-402F-BBF1-503739DD2B8D}"/>
          </ac:spMkLst>
        </pc:spChg>
        <pc:picChg chg="del">
          <ac:chgData name="Daniele, L.M. (Laura)" userId="fd7970a2-7a0c-4b70-8263-dcc64c0076cf" providerId="ADAL" clId="{05A1DA8D-63B9-4B1C-AA10-E7BD2B032652}" dt="2020-06-17T09:58:32.651" v="4805" actId="478"/>
          <ac:picMkLst>
            <pc:docMk/>
            <pc:sldMk cId="3738704137" sldId="417"/>
            <ac:picMk id="7" creationId="{9717A26A-6A47-42F8-B127-DBAB268439BF}"/>
          </ac:picMkLst>
        </pc:picChg>
        <pc:picChg chg="add del mod">
          <ac:chgData name="Daniele, L.M. (Laura)" userId="fd7970a2-7a0c-4b70-8263-dcc64c0076cf" providerId="ADAL" clId="{05A1DA8D-63B9-4B1C-AA10-E7BD2B032652}" dt="2020-06-17T10:20:52.339" v="5271" actId="478"/>
          <ac:picMkLst>
            <pc:docMk/>
            <pc:sldMk cId="3738704137" sldId="417"/>
            <ac:picMk id="9" creationId="{53E3CE61-3B08-4741-8C02-F2CCD508A1B5}"/>
          </ac:picMkLst>
        </pc:picChg>
      </pc:sldChg>
      <pc:sldChg chg="modSp add">
        <pc:chgData name="Daniele, L.M. (Laura)" userId="fd7970a2-7a0c-4b70-8263-dcc64c0076cf" providerId="ADAL" clId="{05A1DA8D-63B9-4B1C-AA10-E7BD2B032652}" dt="2020-06-17T10:05:13.870" v="4957" actId="5793"/>
        <pc:sldMkLst>
          <pc:docMk/>
          <pc:sldMk cId="2779001421" sldId="418"/>
        </pc:sldMkLst>
        <pc:spChg chg="mod">
          <ac:chgData name="Daniele, L.M. (Laura)" userId="fd7970a2-7a0c-4b70-8263-dcc64c0076cf" providerId="ADAL" clId="{05A1DA8D-63B9-4B1C-AA10-E7BD2B032652}" dt="2020-06-17T10:05:13.870" v="4957" actId="5793"/>
          <ac:spMkLst>
            <pc:docMk/>
            <pc:sldMk cId="2779001421" sldId="418"/>
            <ac:spMk id="4" creationId="{00000000-0000-0000-0000-000000000000}"/>
          </ac:spMkLst>
        </pc:spChg>
      </pc:sldChg>
      <pc:sldChg chg="modSp add">
        <pc:chgData name="Daniele, L.M. (Laura)" userId="fd7970a2-7a0c-4b70-8263-dcc64c0076cf" providerId="ADAL" clId="{05A1DA8D-63B9-4B1C-AA10-E7BD2B032652}" dt="2020-06-17T10:05:39.933" v="4992" actId="20577"/>
        <pc:sldMkLst>
          <pc:docMk/>
          <pc:sldMk cId="1724500835" sldId="419"/>
        </pc:sldMkLst>
        <pc:spChg chg="mod">
          <ac:chgData name="Daniele, L.M. (Laura)" userId="fd7970a2-7a0c-4b70-8263-dcc64c0076cf" providerId="ADAL" clId="{05A1DA8D-63B9-4B1C-AA10-E7BD2B032652}" dt="2020-06-17T10:05:39.933" v="4992" actId="20577"/>
          <ac:spMkLst>
            <pc:docMk/>
            <pc:sldMk cId="1724500835" sldId="419"/>
            <ac:spMk id="4" creationId="{00000000-0000-0000-0000-000000000000}"/>
          </ac:spMkLst>
        </pc:spChg>
      </pc:sldChg>
      <pc:sldChg chg="add ord">
        <pc:chgData name="Daniele, L.M. (Laura)" userId="fd7970a2-7a0c-4b70-8263-dcc64c0076cf" providerId="ADAL" clId="{05A1DA8D-63B9-4B1C-AA10-E7BD2B032652}" dt="2020-06-17T11:28:24.202" v="5787"/>
        <pc:sldMkLst>
          <pc:docMk/>
          <pc:sldMk cId="245663814" sldId="420"/>
        </pc:sldMkLst>
      </pc:sldChg>
      <pc:sldChg chg="modSp add del">
        <pc:chgData name="Daniele, L.M. (Laura)" userId="fd7970a2-7a0c-4b70-8263-dcc64c0076cf" providerId="ADAL" clId="{05A1DA8D-63B9-4B1C-AA10-E7BD2B032652}" dt="2020-06-17T11:27:42.279" v="5781" actId="2696"/>
        <pc:sldMkLst>
          <pc:docMk/>
          <pc:sldMk cId="3367147305" sldId="420"/>
        </pc:sldMkLst>
        <pc:spChg chg="mod">
          <ac:chgData name="Daniele, L.M. (Laura)" userId="fd7970a2-7a0c-4b70-8263-dcc64c0076cf" providerId="ADAL" clId="{05A1DA8D-63B9-4B1C-AA10-E7BD2B032652}" dt="2020-06-17T10:06:39.050" v="5011" actId="20577"/>
          <ac:spMkLst>
            <pc:docMk/>
            <pc:sldMk cId="3367147305" sldId="420"/>
            <ac:spMk id="4" creationId="{00000000-0000-0000-0000-000000000000}"/>
          </ac:spMkLst>
        </pc:spChg>
      </pc:sldChg>
      <pc:sldChg chg="add del">
        <pc:chgData name="Daniele, L.M. (Laura)" userId="fd7970a2-7a0c-4b70-8263-dcc64c0076cf" providerId="ADAL" clId="{05A1DA8D-63B9-4B1C-AA10-E7BD2B032652}" dt="2020-06-17T16:33:06.867" v="9601" actId="2696"/>
        <pc:sldMkLst>
          <pc:docMk/>
          <pc:sldMk cId="523249835" sldId="421"/>
        </pc:sldMkLst>
      </pc:sldChg>
      <pc:sldChg chg="modSp add del ord">
        <pc:chgData name="Daniele, L.M. (Laura)" userId="fd7970a2-7a0c-4b70-8263-dcc64c0076cf" providerId="ADAL" clId="{05A1DA8D-63B9-4B1C-AA10-E7BD2B032652}" dt="2020-06-17T11:59:12.311" v="7388" actId="2696"/>
        <pc:sldMkLst>
          <pc:docMk/>
          <pc:sldMk cId="1243960171" sldId="421"/>
        </pc:sldMkLst>
        <pc:spChg chg="mod">
          <ac:chgData name="Daniele, L.M. (Laura)" userId="fd7970a2-7a0c-4b70-8263-dcc64c0076cf" providerId="ADAL" clId="{05A1DA8D-63B9-4B1C-AA10-E7BD2B032652}" dt="2020-06-17T11:29:18.179" v="5858" actId="20577"/>
          <ac:spMkLst>
            <pc:docMk/>
            <pc:sldMk cId="1243960171" sldId="421"/>
            <ac:spMk id="3" creationId="{607B5DE4-0B72-4020-A9A9-47355718224D}"/>
          </ac:spMkLst>
        </pc:spChg>
      </pc:sldChg>
      <pc:sldChg chg="modSp add del">
        <pc:chgData name="Daniele, L.M. (Laura)" userId="fd7970a2-7a0c-4b70-8263-dcc64c0076cf" providerId="ADAL" clId="{05A1DA8D-63B9-4B1C-AA10-E7BD2B032652}" dt="2020-06-17T11:27:42.277" v="5780" actId="2696"/>
        <pc:sldMkLst>
          <pc:docMk/>
          <pc:sldMk cId="3693671855" sldId="421"/>
        </pc:sldMkLst>
        <pc:spChg chg="mod">
          <ac:chgData name="Daniele, L.M. (Laura)" userId="fd7970a2-7a0c-4b70-8263-dcc64c0076cf" providerId="ADAL" clId="{05A1DA8D-63B9-4B1C-AA10-E7BD2B032652}" dt="2020-06-17T10:07:08.294" v="5030" actId="20577"/>
          <ac:spMkLst>
            <pc:docMk/>
            <pc:sldMk cId="3693671855" sldId="421"/>
            <ac:spMk id="2" creationId="{2652D591-41B3-4B01-8620-AEC22E39297C}"/>
          </ac:spMkLst>
        </pc:spChg>
        <pc:spChg chg="mod">
          <ac:chgData name="Daniele, L.M. (Laura)" userId="fd7970a2-7a0c-4b70-8263-dcc64c0076cf" providerId="ADAL" clId="{05A1DA8D-63B9-4B1C-AA10-E7BD2B032652}" dt="2020-06-17T10:08:14.805" v="5197" actId="20577"/>
          <ac:spMkLst>
            <pc:docMk/>
            <pc:sldMk cId="3693671855" sldId="421"/>
            <ac:spMk id="3" creationId="{607B5DE4-0B72-4020-A9A9-47355718224D}"/>
          </ac:spMkLst>
        </pc:spChg>
      </pc:sldChg>
      <pc:sldChg chg="modSp add del">
        <pc:chgData name="Daniele, L.M. (Laura)" userId="fd7970a2-7a0c-4b70-8263-dcc64c0076cf" providerId="ADAL" clId="{05A1DA8D-63B9-4B1C-AA10-E7BD2B032652}" dt="2020-06-17T16:39:49.083" v="9832" actId="2696"/>
        <pc:sldMkLst>
          <pc:docMk/>
          <pc:sldMk cId="4083602083" sldId="421"/>
        </pc:sldMkLst>
        <pc:spChg chg="mod">
          <ac:chgData name="Daniele, L.M. (Laura)" userId="fd7970a2-7a0c-4b70-8263-dcc64c0076cf" providerId="ADAL" clId="{05A1DA8D-63B9-4B1C-AA10-E7BD2B032652}" dt="2020-06-17T16:39:41.351" v="9830" actId="20577"/>
          <ac:spMkLst>
            <pc:docMk/>
            <pc:sldMk cId="4083602083" sldId="421"/>
            <ac:spMk id="2" creationId="{2652D591-41B3-4B01-8620-AEC22E39297C}"/>
          </ac:spMkLst>
        </pc:spChg>
        <pc:spChg chg="mod">
          <ac:chgData name="Daniele, L.M. (Laura)" userId="fd7970a2-7a0c-4b70-8263-dcc64c0076cf" providerId="ADAL" clId="{05A1DA8D-63B9-4B1C-AA10-E7BD2B032652}" dt="2020-06-17T16:33:55.378" v="9620" actId="20577"/>
          <ac:spMkLst>
            <pc:docMk/>
            <pc:sldMk cId="4083602083" sldId="421"/>
            <ac:spMk id="3" creationId="{607B5DE4-0B72-4020-A9A9-47355718224D}"/>
          </ac:spMkLst>
        </pc:spChg>
      </pc:sldChg>
      <pc:sldChg chg="modSp add del">
        <pc:chgData name="Daniele, L.M. (Laura)" userId="fd7970a2-7a0c-4b70-8263-dcc64c0076cf" providerId="ADAL" clId="{05A1DA8D-63B9-4B1C-AA10-E7BD2B032652}" dt="2020-06-17T10:23:06.015" v="5325" actId="2696"/>
        <pc:sldMkLst>
          <pc:docMk/>
          <pc:sldMk cId="1998304414" sldId="422"/>
        </pc:sldMkLst>
        <pc:spChg chg="mod">
          <ac:chgData name="Daniele, L.M. (Laura)" userId="fd7970a2-7a0c-4b70-8263-dcc64c0076cf" providerId="ADAL" clId="{05A1DA8D-63B9-4B1C-AA10-E7BD2B032652}" dt="2020-06-17T10:19:53.413" v="5243" actId="20577"/>
          <ac:spMkLst>
            <pc:docMk/>
            <pc:sldMk cId="1998304414" sldId="422"/>
            <ac:spMk id="3" creationId="{4C1CE521-2009-4A1F-BFC6-44632F540CC7}"/>
          </ac:spMkLst>
        </pc:spChg>
      </pc:sldChg>
      <pc:sldChg chg="modSp add">
        <pc:chgData name="Daniele, L.M. (Laura)" userId="fd7970a2-7a0c-4b70-8263-dcc64c0076cf" providerId="ADAL" clId="{05A1DA8D-63B9-4B1C-AA10-E7BD2B032652}" dt="2020-06-17T11:02:34.824" v="5492" actId="20577"/>
        <pc:sldMkLst>
          <pc:docMk/>
          <pc:sldMk cId="217146335" sldId="423"/>
        </pc:sldMkLst>
        <pc:spChg chg="mod">
          <ac:chgData name="Daniele, L.M. (Laura)" userId="fd7970a2-7a0c-4b70-8263-dcc64c0076cf" providerId="ADAL" clId="{05A1DA8D-63B9-4B1C-AA10-E7BD2B032652}" dt="2020-06-17T11:02:34.824" v="5492" actId="20577"/>
          <ac:spMkLst>
            <pc:docMk/>
            <pc:sldMk cId="217146335" sldId="423"/>
            <ac:spMk id="2" creationId="{A5FD30CB-183D-44CE-8555-A30333FD43A4}"/>
          </ac:spMkLst>
        </pc:spChg>
        <pc:spChg chg="mod">
          <ac:chgData name="Daniele, L.M. (Laura)" userId="fd7970a2-7a0c-4b70-8263-dcc64c0076cf" providerId="ADAL" clId="{05A1DA8D-63B9-4B1C-AA10-E7BD2B032652}" dt="2020-06-17T11:02:03.961" v="5483" actId="20577"/>
          <ac:spMkLst>
            <pc:docMk/>
            <pc:sldMk cId="217146335" sldId="423"/>
            <ac:spMk id="3" creationId="{70D40F4B-D3E4-4EDC-9626-C64976F80FA6}"/>
          </ac:spMkLst>
        </pc:spChg>
        <pc:picChg chg="mod">
          <ac:chgData name="Daniele, L.M. (Laura)" userId="fd7970a2-7a0c-4b70-8263-dcc64c0076cf" providerId="ADAL" clId="{05A1DA8D-63B9-4B1C-AA10-E7BD2B032652}" dt="2020-06-17T11:02:14.887" v="5486" actId="1076"/>
          <ac:picMkLst>
            <pc:docMk/>
            <pc:sldMk cId="217146335" sldId="423"/>
            <ac:picMk id="9" creationId="{53E3CE61-3B08-4741-8C02-F2CCD508A1B5}"/>
          </ac:picMkLst>
        </pc:picChg>
      </pc:sldChg>
      <pc:sldChg chg="addSp delSp modSp add mod modClrScheme chgLayout">
        <pc:chgData name="Daniele, L.M. (Laura)" userId="fd7970a2-7a0c-4b70-8263-dcc64c0076cf" providerId="ADAL" clId="{05A1DA8D-63B9-4B1C-AA10-E7BD2B032652}" dt="2020-06-17T13:15:34.267" v="8110" actId="20577"/>
        <pc:sldMkLst>
          <pc:docMk/>
          <pc:sldMk cId="3014947721" sldId="424"/>
        </pc:sldMkLst>
        <pc:spChg chg="mod">
          <ac:chgData name="Daniele, L.M. (Laura)" userId="fd7970a2-7a0c-4b70-8263-dcc64c0076cf" providerId="ADAL" clId="{05A1DA8D-63B9-4B1C-AA10-E7BD2B032652}" dt="2020-06-17T11:22:05.451" v="5621" actId="20577"/>
          <ac:spMkLst>
            <pc:docMk/>
            <pc:sldMk cId="3014947721" sldId="424"/>
            <ac:spMk id="2" creationId="{1104FD77-20F8-4BD6-8BD9-1BA7CCF286B4}"/>
          </ac:spMkLst>
        </pc:spChg>
        <pc:spChg chg="del">
          <ac:chgData name="Daniele, L.M. (Laura)" userId="fd7970a2-7a0c-4b70-8263-dcc64c0076cf" providerId="ADAL" clId="{05A1DA8D-63B9-4B1C-AA10-E7BD2B032652}" dt="2020-06-17T11:17:32.489" v="5499" actId="478"/>
          <ac:spMkLst>
            <pc:docMk/>
            <pc:sldMk cId="3014947721" sldId="424"/>
            <ac:spMk id="3" creationId="{738AAB32-07EC-4799-B310-809B9FBF5713}"/>
          </ac:spMkLst>
        </pc:spChg>
        <pc:spChg chg="mod">
          <ac:chgData name="Daniele, L.M. (Laura)" userId="fd7970a2-7a0c-4b70-8263-dcc64c0076cf" providerId="ADAL" clId="{05A1DA8D-63B9-4B1C-AA10-E7BD2B032652}" dt="2020-06-17T11:17:39.533" v="5503" actId="26606"/>
          <ac:spMkLst>
            <pc:docMk/>
            <pc:sldMk cId="3014947721" sldId="424"/>
            <ac:spMk id="4" creationId="{1EB5E0C0-6B4B-4C3D-AC6E-4487AE08B4BF}"/>
          </ac:spMkLst>
        </pc:spChg>
        <pc:spChg chg="add del mod">
          <ac:chgData name="Daniele, L.M. (Laura)" userId="fd7970a2-7a0c-4b70-8263-dcc64c0076cf" providerId="ADAL" clId="{05A1DA8D-63B9-4B1C-AA10-E7BD2B032652}" dt="2020-06-17T11:17:34.405" v="5500" actId="478"/>
          <ac:spMkLst>
            <pc:docMk/>
            <pc:sldMk cId="3014947721" sldId="424"/>
            <ac:spMk id="6" creationId="{DA7068F9-04BC-44BF-8BEC-CE42B9BE340A}"/>
          </ac:spMkLst>
        </pc:spChg>
        <pc:spChg chg="add mod">
          <ac:chgData name="Daniele, L.M. (Laura)" userId="fd7970a2-7a0c-4b70-8263-dcc64c0076cf" providerId="ADAL" clId="{05A1DA8D-63B9-4B1C-AA10-E7BD2B032652}" dt="2020-06-17T12:33:20.404" v="7615" actId="1076"/>
          <ac:spMkLst>
            <pc:docMk/>
            <pc:sldMk cId="3014947721" sldId="424"/>
            <ac:spMk id="8" creationId="{76CCC61A-D669-4E8C-8487-4ECEE536D3B1}"/>
          </ac:spMkLst>
        </pc:spChg>
        <pc:spChg chg="add mod">
          <ac:chgData name="Daniele, L.M. (Laura)" userId="fd7970a2-7a0c-4b70-8263-dcc64c0076cf" providerId="ADAL" clId="{05A1DA8D-63B9-4B1C-AA10-E7BD2B032652}" dt="2020-06-17T13:15:34.267" v="8110" actId="20577"/>
          <ac:spMkLst>
            <pc:docMk/>
            <pc:sldMk cId="3014947721" sldId="424"/>
            <ac:spMk id="9" creationId="{E2DC63EC-645C-489F-AA85-4D6CABAA1DA3}"/>
          </ac:spMkLst>
        </pc:spChg>
        <pc:spChg chg="add del mod">
          <ac:chgData name="Daniele, L.M. (Laura)" userId="fd7970a2-7a0c-4b70-8263-dcc64c0076cf" providerId="ADAL" clId="{05A1DA8D-63B9-4B1C-AA10-E7BD2B032652}" dt="2020-06-17T11:23:52.196" v="5740" actId="478"/>
          <ac:spMkLst>
            <pc:docMk/>
            <pc:sldMk cId="3014947721" sldId="424"/>
            <ac:spMk id="10" creationId="{F8672F41-4DF0-4F5E-8D02-F38D1B7CF4AF}"/>
          </ac:spMkLst>
        </pc:spChg>
        <pc:spChg chg="add mod">
          <ac:chgData name="Daniele, L.M. (Laura)" userId="fd7970a2-7a0c-4b70-8263-dcc64c0076cf" providerId="ADAL" clId="{05A1DA8D-63B9-4B1C-AA10-E7BD2B032652}" dt="2020-06-17T11:24:14.289" v="5747" actId="313"/>
          <ac:spMkLst>
            <pc:docMk/>
            <pc:sldMk cId="3014947721" sldId="424"/>
            <ac:spMk id="11" creationId="{670222A4-1294-4E0F-86F6-DA42003BCBD6}"/>
          </ac:spMkLst>
        </pc:spChg>
        <pc:spChg chg="add mod">
          <ac:chgData name="Daniele, L.M. (Laura)" userId="fd7970a2-7a0c-4b70-8263-dcc64c0076cf" providerId="ADAL" clId="{05A1DA8D-63B9-4B1C-AA10-E7BD2B032652}" dt="2020-06-17T12:32:53.581" v="7613" actId="1076"/>
          <ac:spMkLst>
            <pc:docMk/>
            <pc:sldMk cId="3014947721" sldId="424"/>
            <ac:spMk id="12" creationId="{B33A69B8-F872-4205-AAC5-AC3DA9C3F18B}"/>
          </ac:spMkLst>
        </pc:spChg>
        <pc:picChg chg="add mod ord">
          <ac:chgData name="Daniele, L.M. (Laura)" userId="fd7970a2-7a0c-4b70-8263-dcc64c0076cf" providerId="ADAL" clId="{05A1DA8D-63B9-4B1C-AA10-E7BD2B032652}" dt="2020-06-17T11:22:47.922" v="5628" actId="1076"/>
          <ac:picMkLst>
            <pc:docMk/>
            <pc:sldMk cId="3014947721" sldId="424"/>
            <ac:picMk id="7" creationId="{77C2A131-4024-4733-A346-353301102FA7}"/>
          </ac:picMkLst>
        </pc:picChg>
      </pc:sldChg>
      <pc:sldChg chg="modSp add del">
        <pc:chgData name="Daniele, L.M. (Laura)" userId="fd7970a2-7a0c-4b70-8263-dcc64c0076cf" providerId="ADAL" clId="{05A1DA8D-63B9-4B1C-AA10-E7BD2B032652}" dt="2020-06-17T11:27:07.177" v="5767" actId="2696"/>
        <pc:sldMkLst>
          <pc:docMk/>
          <pc:sldMk cId="2373927201" sldId="425"/>
        </pc:sldMkLst>
        <pc:spChg chg="mod">
          <ac:chgData name="Daniele, L.M. (Laura)" userId="fd7970a2-7a0c-4b70-8263-dcc64c0076cf" providerId="ADAL" clId="{05A1DA8D-63B9-4B1C-AA10-E7BD2B032652}" dt="2020-06-17T11:26:38.263" v="5762" actId="20577"/>
          <ac:spMkLst>
            <pc:docMk/>
            <pc:sldMk cId="2373927201" sldId="425"/>
            <ac:spMk id="4" creationId="{00000000-0000-0000-0000-000000000000}"/>
          </ac:spMkLst>
        </pc:spChg>
      </pc:sldChg>
      <pc:sldChg chg="addSp delSp modSp add ord">
        <pc:chgData name="Daniele, L.M. (Laura)" userId="fd7970a2-7a0c-4b70-8263-dcc64c0076cf" providerId="ADAL" clId="{05A1DA8D-63B9-4B1C-AA10-E7BD2B032652}" dt="2020-06-17T16:43:11.059" v="9920" actId="20577"/>
        <pc:sldMkLst>
          <pc:docMk/>
          <pc:sldMk cId="3349717016" sldId="425"/>
        </pc:sldMkLst>
        <pc:spChg chg="add del">
          <ac:chgData name="Daniele, L.M. (Laura)" userId="fd7970a2-7a0c-4b70-8263-dcc64c0076cf" providerId="ADAL" clId="{05A1DA8D-63B9-4B1C-AA10-E7BD2B032652}" dt="2020-06-17T11:49:46.240" v="7208"/>
          <ac:spMkLst>
            <pc:docMk/>
            <pc:sldMk cId="3349717016" sldId="425"/>
            <ac:spMk id="2" creationId="{876379DA-41F6-48C4-8880-2F1EB0EAC3E6}"/>
          </ac:spMkLst>
        </pc:spChg>
        <pc:spChg chg="mod">
          <ac:chgData name="Daniele, L.M. (Laura)" userId="fd7970a2-7a0c-4b70-8263-dcc64c0076cf" providerId="ADAL" clId="{05A1DA8D-63B9-4B1C-AA10-E7BD2B032652}" dt="2020-06-17T16:43:11.059" v="9920" actId="20577"/>
          <ac:spMkLst>
            <pc:docMk/>
            <pc:sldMk cId="3349717016" sldId="425"/>
            <ac:spMk id="4" creationId="{00000000-0000-0000-0000-000000000000}"/>
          </ac:spMkLst>
        </pc:spChg>
      </pc:sldChg>
      <pc:sldChg chg="modSp add del">
        <pc:chgData name="Daniele, L.M. (Laura)" userId="fd7970a2-7a0c-4b70-8263-dcc64c0076cf" providerId="ADAL" clId="{05A1DA8D-63B9-4B1C-AA10-E7BD2B032652}" dt="2020-06-17T16:33:06.892" v="9602" actId="2696"/>
        <pc:sldMkLst>
          <pc:docMk/>
          <pc:sldMk cId="388458412" sldId="426"/>
        </pc:sldMkLst>
        <pc:spChg chg="mod">
          <ac:chgData name="Daniele, L.M. (Laura)" userId="fd7970a2-7a0c-4b70-8263-dcc64c0076cf" providerId="ADAL" clId="{05A1DA8D-63B9-4B1C-AA10-E7BD2B032652}" dt="2020-06-17T13:49:05.466" v="8440" actId="20577"/>
          <ac:spMkLst>
            <pc:docMk/>
            <pc:sldMk cId="388458412" sldId="426"/>
            <ac:spMk id="4" creationId="{00000000-0000-0000-0000-000000000000}"/>
          </ac:spMkLst>
        </pc:spChg>
      </pc:sldChg>
      <pc:sldChg chg="modSp add del">
        <pc:chgData name="Daniele, L.M. (Laura)" userId="fd7970a2-7a0c-4b70-8263-dcc64c0076cf" providerId="ADAL" clId="{05A1DA8D-63B9-4B1C-AA10-E7BD2B032652}" dt="2020-06-17T11:59:12.315" v="7389" actId="2696"/>
        <pc:sldMkLst>
          <pc:docMk/>
          <pc:sldMk cId="1853777096" sldId="426"/>
        </pc:sldMkLst>
        <pc:spChg chg="mod">
          <ac:chgData name="Daniele, L.M. (Laura)" userId="fd7970a2-7a0c-4b70-8263-dcc64c0076cf" providerId="ADAL" clId="{05A1DA8D-63B9-4B1C-AA10-E7BD2B032652}" dt="2020-06-17T11:28:56.267" v="5805" actId="20577"/>
          <ac:spMkLst>
            <pc:docMk/>
            <pc:sldMk cId="1853777096" sldId="426"/>
            <ac:spMk id="4" creationId="{00000000-0000-0000-0000-000000000000}"/>
          </ac:spMkLst>
        </pc:spChg>
      </pc:sldChg>
      <pc:sldChg chg="add del">
        <pc:chgData name="Daniele, L.M. (Laura)" userId="fd7970a2-7a0c-4b70-8263-dcc64c0076cf" providerId="ADAL" clId="{05A1DA8D-63B9-4B1C-AA10-E7BD2B032652}" dt="2020-06-17T16:39:47.150" v="9831" actId="2696"/>
        <pc:sldMkLst>
          <pc:docMk/>
          <pc:sldMk cId="2201252831" sldId="426"/>
        </pc:sldMkLst>
      </pc:sldChg>
      <pc:sldChg chg="modSp add">
        <pc:chgData name="Daniele, L.M. (Laura)" userId="fd7970a2-7a0c-4b70-8263-dcc64c0076cf" providerId="ADAL" clId="{05A1DA8D-63B9-4B1C-AA10-E7BD2B032652}" dt="2020-06-17T16:46:03.137" v="10059" actId="20577"/>
        <pc:sldMkLst>
          <pc:docMk/>
          <pc:sldMk cId="1831050166" sldId="427"/>
        </pc:sldMkLst>
        <pc:spChg chg="mod">
          <ac:chgData name="Daniele, L.M. (Laura)" userId="fd7970a2-7a0c-4b70-8263-dcc64c0076cf" providerId="ADAL" clId="{05A1DA8D-63B9-4B1C-AA10-E7BD2B032652}" dt="2020-06-17T11:34:41.230" v="6489" actId="5793"/>
          <ac:spMkLst>
            <pc:docMk/>
            <pc:sldMk cId="1831050166" sldId="427"/>
            <ac:spMk id="2" creationId="{2652D591-41B3-4B01-8620-AEC22E39297C}"/>
          </ac:spMkLst>
        </pc:spChg>
        <pc:spChg chg="mod">
          <ac:chgData name="Daniele, L.M. (Laura)" userId="fd7970a2-7a0c-4b70-8263-dcc64c0076cf" providerId="ADAL" clId="{05A1DA8D-63B9-4B1C-AA10-E7BD2B032652}" dt="2020-06-17T16:46:03.137" v="10059" actId="20577"/>
          <ac:spMkLst>
            <pc:docMk/>
            <pc:sldMk cId="1831050166" sldId="427"/>
            <ac:spMk id="3" creationId="{607B5DE4-0B72-4020-A9A9-47355718224D}"/>
          </ac:spMkLst>
        </pc:spChg>
      </pc:sldChg>
      <pc:sldChg chg="add del">
        <pc:chgData name="Daniele, L.M. (Laura)" userId="fd7970a2-7a0c-4b70-8263-dcc64c0076cf" providerId="ADAL" clId="{05A1DA8D-63B9-4B1C-AA10-E7BD2B032652}" dt="2020-06-17T11:56:29.477" v="7307"/>
        <pc:sldMkLst>
          <pc:docMk/>
          <pc:sldMk cId="2244133801" sldId="428"/>
        </pc:sldMkLst>
      </pc:sldChg>
      <pc:sldChg chg="addSp delSp modSp add ord">
        <pc:chgData name="Daniele, L.M. (Laura)" userId="fd7970a2-7a0c-4b70-8263-dcc64c0076cf" providerId="ADAL" clId="{05A1DA8D-63B9-4B1C-AA10-E7BD2B032652}" dt="2020-06-17T16:28:13.549" v="9591" actId="1036"/>
        <pc:sldMkLst>
          <pc:docMk/>
          <pc:sldMk cId="2265129064" sldId="428"/>
        </pc:sldMkLst>
        <pc:spChg chg="mod">
          <ac:chgData name="Daniele, L.M. (Laura)" userId="fd7970a2-7a0c-4b70-8263-dcc64c0076cf" providerId="ADAL" clId="{05A1DA8D-63B9-4B1C-AA10-E7BD2B032652}" dt="2020-06-17T16:25:12.608" v="9554" actId="1035"/>
          <ac:spMkLst>
            <pc:docMk/>
            <pc:sldMk cId="2265129064" sldId="428"/>
            <ac:spMk id="2" creationId="{9B71C370-D5AD-4285-B597-DF811FF69E0D}"/>
          </ac:spMkLst>
        </pc:spChg>
        <pc:spChg chg="add mod">
          <ac:chgData name="Daniele, L.M. (Laura)" userId="fd7970a2-7a0c-4b70-8263-dcc64c0076cf" providerId="ADAL" clId="{05A1DA8D-63B9-4B1C-AA10-E7BD2B032652}" dt="2020-06-17T12:45:38.032" v="7691" actId="1076"/>
          <ac:spMkLst>
            <pc:docMk/>
            <pc:sldMk cId="2265129064" sldId="428"/>
            <ac:spMk id="3" creationId="{7BD3728B-85CB-4B8D-B8CD-407D8BBC8725}"/>
          </ac:spMkLst>
        </pc:spChg>
        <pc:spChg chg="add del mod">
          <ac:chgData name="Daniele, L.M. (Laura)" userId="fd7970a2-7a0c-4b70-8263-dcc64c0076cf" providerId="ADAL" clId="{05A1DA8D-63B9-4B1C-AA10-E7BD2B032652}" dt="2020-06-17T12:45:09.226" v="7676" actId="478"/>
          <ac:spMkLst>
            <pc:docMk/>
            <pc:sldMk cId="2265129064" sldId="428"/>
            <ac:spMk id="7" creationId="{97D2BFFD-87B3-4B4F-AF5F-B2A9B83B1CF6}"/>
          </ac:spMkLst>
        </pc:spChg>
        <pc:spChg chg="del mod">
          <ac:chgData name="Daniele, L.M. (Laura)" userId="fd7970a2-7a0c-4b70-8263-dcc64c0076cf" providerId="ADAL" clId="{05A1DA8D-63B9-4B1C-AA10-E7BD2B032652}" dt="2020-06-17T12:44:35.971" v="7675" actId="478"/>
          <ac:spMkLst>
            <pc:docMk/>
            <pc:sldMk cId="2265129064" sldId="428"/>
            <ac:spMk id="11" creationId="{8B931C60-B751-4D40-A679-4B6147277B01}"/>
          </ac:spMkLst>
        </pc:spChg>
        <pc:spChg chg="del">
          <ac:chgData name="Daniele, L.M. (Laura)" userId="fd7970a2-7a0c-4b70-8263-dcc64c0076cf" providerId="ADAL" clId="{05A1DA8D-63B9-4B1C-AA10-E7BD2B032652}" dt="2020-06-17T12:07:35.965" v="7496" actId="478"/>
          <ac:spMkLst>
            <pc:docMk/>
            <pc:sldMk cId="2265129064" sldId="428"/>
            <ac:spMk id="12" creationId="{D7E94118-9C8D-4391-ADC3-D7AF815C231D}"/>
          </ac:spMkLst>
        </pc:spChg>
        <pc:spChg chg="add mod">
          <ac:chgData name="Daniele, L.M. (Laura)" userId="fd7970a2-7a0c-4b70-8263-dcc64c0076cf" providerId="ADAL" clId="{05A1DA8D-63B9-4B1C-AA10-E7BD2B032652}" dt="2020-06-17T16:28:13.549" v="9591" actId="1036"/>
          <ac:spMkLst>
            <pc:docMk/>
            <pc:sldMk cId="2265129064" sldId="428"/>
            <ac:spMk id="13" creationId="{04081B20-2344-4670-8F9A-0CC5A580B25B}"/>
          </ac:spMkLst>
        </pc:spChg>
        <pc:picChg chg="del">
          <ac:chgData name="Daniele, L.M. (Laura)" userId="fd7970a2-7a0c-4b70-8263-dcc64c0076cf" providerId="ADAL" clId="{05A1DA8D-63B9-4B1C-AA10-E7BD2B032652}" dt="2020-06-17T12:07:25.694" v="7493" actId="478"/>
          <ac:picMkLst>
            <pc:docMk/>
            <pc:sldMk cId="2265129064" sldId="428"/>
            <ac:picMk id="6" creationId="{140D98CA-9BC1-42A8-B19E-FF1397A9237F}"/>
          </ac:picMkLst>
        </pc:picChg>
        <pc:picChg chg="mod">
          <ac:chgData name="Daniele, L.M. (Laura)" userId="fd7970a2-7a0c-4b70-8263-dcc64c0076cf" providerId="ADAL" clId="{05A1DA8D-63B9-4B1C-AA10-E7BD2B032652}" dt="2020-06-17T16:25:05.812" v="9545" actId="1076"/>
          <ac:picMkLst>
            <pc:docMk/>
            <pc:sldMk cId="2265129064" sldId="428"/>
            <ac:picMk id="8" creationId="{DB29DEA1-60D3-4CAB-AE85-E8979008548D}"/>
          </ac:picMkLst>
        </pc:picChg>
        <pc:picChg chg="del">
          <ac:chgData name="Daniele, L.M. (Laura)" userId="fd7970a2-7a0c-4b70-8263-dcc64c0076cf" providerId="ADAL" clId="{05A1DA8D-63B9-4B1C-AA10-E7BD2B032652}" dt="2020-06-17T12:43:37.719" v="7660" actId="478"/>
          <ac:picMkLst>
            <pc:docMk/>
            <pc:sldMk cId="2265129064" sldId="428"/>
            <ac:picMk id="9" creationId="{11A7B3A8-21BE-49B7-B51B-E3176A0CCC42}"/>
          </ac:picMkLst>
        </pc:picChg>
        <pc:picChg chg="add mod">
          <ac:chgData name="Daniele, L.M. (Laura)" userId="fd7970a2-7a0c-4b70-8263-dcc64c0076cf" providerId="ADAL" clId="{05A1DA8D-63B9-4B1C-AA10-E7BD2B032652}" dt="2020-06-17T16:24:49.036" v="9541" actId="1076"/>
          <ac:picMkLst>
            <pc:docMk/>
            <pc:sldMk cId="2265129064" sldId="428"/>
            <ac:picMk id="10" creationId="{0A9A0E92-2391-41EB-ABFC-409150121398}"/>
          </ac:picMkLst>
        </pc:picChg>
      </pc:sldChg>
      <pc:sldChg chg="addSp modSp add">
        <pc:chgData name="Daniele, L.M. (Laura)" userId="fd7970a2-7a0c-4b70-8263-dcc64c0076cf" providerId="ADAL" clId="{05A1DA8D-63B9-4B1C-AA10-E7BD2B032652}" dt="2020-06-17T13:30:42.843" v="8289" actId="1076"/>
        <pc:sldMkLst>
          <pc:docMk/>
          <pc:sldMk cId="4017924090" sldId="429"/>
        </pc:sldMkLst>
        <pc:spChg chg="mod">
          <ac:chgData name="Daniele, L.M. (Laura)" userId="fd7970a2-7a0c-4b70-8263-dcc64c0076cf" providerId="ADAL" clId="{05A1DA8D-63B9-4B1C-AA10-E7BD2B032652}" dt="2020-06-17T12:52:38.117" v="7785" actId="20577"/>
          <ac:spMkLst>
            <pc:docMk/>
            <pc:sldMk cId="4017924090" sldId="429"/>
            <ac:spMk id="3" creationId="{923D42D1-1F34-40BB-9E8D-5C741129D4F8}"/>
          </ac:spMkLst>
        </pc:spChg>
        <pc:picChg chg="mod">
          <ac:chgData name="Daniele, L.M. (Laura)" userId="fd7970a2-7a0c-4b70-8263-dcc64c0076cf" providerId="ADAL" clId="{05A1DA8D-63B9-4B1C-AA10-E7BD2B032652}" dt="2020-06-17T13:30:42.843" v="8289" actId="1076"/>
          <ac:picMkLst>
            <pc:docMk/>
            <pc:sldMk cId="4017924090" sldId="429"/>
            <ac:picMk id="5" creationId="{0F7F9B85-7771-41B2-B205-6F0FB0D2A9CD}"/>
          </ac:picMkLst>
        </pc:picChg>
        <pc:picChg chg="add">
          <ac:chgData name="Daniele, L.M. (Laura)" userId="fd7970a2-7a0c-4b70-8263-dcc64c0076cf" providerId="ADAL" clId="{05A1DA8D-63B9-4B1C-AA10-E7BD2B032652}" dt="2020-06-17T12:51:02.189" v="7773"/>
          <ac:picMkLst>
            <pc:docMk/>
            <pc:sldMk cId="4017924090" sldId="429"/>
            <ac:picMk id="6" creationId="{1DE4DA21-120A-464F-B314-6050D432B1A3}"/>
          </ac:picMkLst>
        </pc:picChg>
      </pc:sldChg>
      <pc:sldChg chg="modSp add">
        <pc:chgData name="Daniele, L.M. (Laura)" userId="fd7970a2-7a0c-4b70-8263-dcc64c0076cf" providerId="ADAL" clId="{05A1DA8D-63B9-4B1C-AA10-E7BD2B032652}" dt="2020-06-17T12:50:34.258" v="7772" actId="20577"/>
        <pc:sldMkLst>
          <pc:docMk/>
          <pc:sldMk cId="3134864834" sldId="430"/>
        </pc:sldMkLst>
        <pc:spChg chg="mod">
          <ac:chgData name="Daniele, L.M. (Laura)" userId="fd7970a2-7a0c-4b70-8263-dcc64c0076cf" providerId="ADAL" clId="{05A1DA8D-63B9-4B1C-AA10-E7BD2B032652}" dt="2020-06-17T12:50:34.258" v="7772" actId="20577"/>
          <ac:spMkLst>
            <pc:docMk/>
            <pc:sldMk cId="3134864834" sldId="430"/>
            <ac:spMk id="4" creationId="{00000000-0000-0000-0000-000000000000}"/>
          </ac:spMkLst>
        </pc:spChg>
      </pc:sldChg>
      <pc:sldChg chg="addSp modSp add">
        <pc:chgData name="Daniele, L.M. (Laura)" userId="fd7970a2-7a0c-4b70-8263-dcc64c0076cf" providerId="ADAL" clId="{05A1DA8D-63B9-4B1C-AA10-E7BD2B032652}" dt="2020-06-17T13:31:04.031" v="8295" actId="20577"/>
        <pc:sldMkLst>
          <pc:docMk/>
          <pc:sldMk cId="1243627536" sldId="431"/>
        </pc:sldMkLst>
        <pc:spChg chg="mod">
          <ac:chgData name="Daniele, L.M. (Laura)" userId="fd7970a2-7a0c-4b70-8263-dcc64c0076cf" providerId="ADAL" clId="{05A1DA8D-63B9-4B1C-AA10-E7BD2B032652}" dt="2020-06-17T13:31:04.031" v="8295" actId="20577"/>
          <ac:spMkLst>
            <pc:docMk/>
            <pc:sldMk cId="1243627536" sldId="431"/>
            <ac:spMk id="3" creationId="{923D42D1-1F34-40BB-9E8D-5C741129D4F8}"/>
          </ac:spMkLst>
        </pc:spChg>
        <pc:picChg chg="mod">
          <ac:chgData name="Daniele, L.M. (Laura)" userId="fd7970a2-7a0c-4b70-8263-dcc64c0076cf" providerId="ADAL" clId="{05A1DA8D-63B9-4B1C-AA10-E7BD2B032652}" dt="2020-06-17T13:01:02.680" v="7898" actId="1076"/>
          <ac:picMkLst>
            <pc:docMk/>
            <pc:sldMk cId="1243627536" sldId="431"/>
            <ac:picMk id="5" creationId="{C3F32C74-8629-4621-9A80-51AE7BFA4244}"/>
          </ac:picMkLst>
        </pc:picChg>
        <pc:picChg chg="add">
          <ac:chgData name="Daniele, L.M. (Laura)" userId="fd7970a2-7a0c-4b70-8263-dcc64c0076cf" providerId="ADAL" clId="{05A1DA8D-63B9-4B1C-AA10-E7BD2B032652}" dt="2020-06-17T12:54:46.648" v="7810"/>
          <ac:picMkLst>
            <pc:docMk/>
            <pc:sldMk cId="1243627536" sldId="431"/>
            <ac:picMk id="6" creationId="{131767F7-220D-43CE-8878-B8C8EE826B87}"/>
          </ac:picMkLst>
        </pc:picChg>
      </pc:sldChg>
      <pc:sldChg chg="add">
        <pc:chgData name="Daniele, L.M. (Laura)" userId="fd7970a2-7a0c-4b70-8263-dcc64c0076cf" providerId="ADAL" clId="{05A1DA8D-63B9-4B1C-AA10-E7BD2B032652}" dt="2020-06-17T13:00:49.003" v="7897"/>
        <pc:sldMkLst>
          <pc:docMk/>
          <pc:sldMk cId="3776632213" sldId="432"/>
        </pc:sldMkLst>
      </pc:sldChg>
      <pc:sldChg chg="modSp add">
        <pc:chgData name="Daniele, L.M. (Laura)" userId="fd7970a2-7a0c-4b70-8263-dcc64c0076cf" providerId="ADAL" clId="{05A1DA8D-63B9-4B1C-AA10-E7BD2B032652}" dt="2020-06-17T13:22:15.899" v="8174" actId="20577"/>
        <pc:sldMkLst>
          <pc:docMk/>
          <pc:sldMk cId="87881137" sldId="433"/>
        </pc:sldMkLst>
        <pc:spChg chg="mod">
          <ac:chgData name="Daniele, L.M. (Laura)" userId="fd7970a2-7a0c-4b70-8263-dcc64c0076cf" providerId="ADAL" clId="{05A1DA8D-63B9-4B1C-AA10-E7BD2B032652}" dt="2020-06-17T13:22:15.899" v="8174" actId="20577"/>
          <ac:spMkLst>
            <pc:docMk/>
            <pc:sldMk cId="87881137" sldId="433"/>
            <ac:spMk id="2" creationId="{9B71C370-D5AD-4285-B597-DF811FF69E0D}"/>
          </ac:spMkLst>
        </pc:spChg>
      </pc:sldChg>
      <pc:sldChg chg="modSp add del">
        <pc:chgData name="Daniele, L.M. (Laura)" userId="fd7970a2-7a0c-4b70-8263-dcc64c0076cf" providerId="ADAL" clId="{05A1DA8D-63B9-4B1C-AA10-E7BD2B032652}" dt="2020-06-17T13:19:03.326" v="8126" actId="2696"/>
        <pc:sldMkLst>
          <pc:docMk/>
          <pc:sldMk cId="2072358733" sldId="433"/>
        </pc:sldMkLst>
        <pc:spChg chg="mod">
          <ac:chgData name="Daniele, L.M. (Laura)" userId="fd7970a2-7a0c-4b70-8263-dcc64c0076cf" providerId="ADAL" clId="{05A1DA8D-63B9-4B1C-AA10-E7BD2B032652}" dt="2020-06-17T13:18:21.397" v="8125" actId="20577"/>
          <ac:spMkLst>
            <pc:docMk/>
            <pc:sldMk cId="2072358733" sldId="433"/>
            <ac:spMk id="3" creationId="{A6E2C1AC-AF9D-4669-A67B-3B4B8625A511}"/>
          </ac:spMkLst>
        </pc:spChg>
      </pc:sldChg>
      <pc:sldChg chg="addSp modSp add del">
        <pc:chgData name="Daniele, L.M. (Laura)" userId="fd7970a2-7a0c-4b70-8263-dcc64c0076cf" providerId="ADAL" clId="{05A1DA8D-63B9-4B1C-AA10-E7BD2B032652}" dt="2020-06-17T16:26:30" v="9576" actId="2696"/>
        <pc:sldMkLst>
          <pc:docMk/>
          <pc:sldMk cId="3349549956" sldId="434"/>
        </pc:sldMkLst>
        <pc:spChg chg="mod">
          <ac:chgData name="Daniele, L.M. (Laura)" userId="fd7970a2-7a0c-4b70-8263-dcc64c0076cf" providerId="ADAL" clId="{05A1DA8D-63B9-4B1C-AA10-E7BD2B032652}" dt="2020-06-17T13:28:16.329" v="8276"/>
          <ac:spMkLst>
            <pc:docMk/>
            <pc:sldMk cId="3349549956" sldId="434"/>
            <ac:spMk id="3" creationId="{DA0DD177-F747-4762-A99A-244A9C9705FF}"/>
          </ac:spMkLst>
        </pc:spChg>
        <pc:spChg chg="mod">
          <ac:chgData name="Daniele, L.M. (Laura)" userId="fd7970a2-7a0c-4b70-8263-dcc64c0076cf" providerId="ADAL" clId="{05A1DA8D-63B9-4B1C-AA10-E7BD2B032652}" dt="2020-06-17T13:28:59.657" v="8284" actId="20577"/>
          <ac:spMkLst>
            <pc:docMk/>
            <pc:sldMk cId="3349549956" sldId="434"/>
            <ac:spMk id="4" creationId="{0A37708A-8E5E-4F9D-A832-3625A200D306}"/>
          </ac:spMkLst>
        </pc:spChg>
        <pc:picChg chg="add">
          <ac:chgData name="Daniele, L.M. (Laura)" userId="fd7970a2-7a0c-4b70-8263-dcc64c0076cf" providerId="ADAL" clId="{05A1DA8D-63B9-4B1C-AA10-E7BD2B032652}" dt="2020-06-17T13:28:26.683" v="8277"/>
          <ac:picMkLst>
            <pc:docMk/>
            <pc:sldMk cId="3349549956" sldId="434"/>
            <ac:picMk id="5" creationId="{6A648BE8-1267-4993-A95E-95C4B04AB300}"/>
          </ac:picMkLst>
        </pc:picChg>
      </pc:sldChg>
      <pc:sldChg chg="add ord">
        <pc:chgData name="Daniele, L.M. (Laura)" userId="fd7970a2-7a0c-4b70-8263-dcc64c0076cf" providerId="ADAL" clId="{05A1DA8D-63B9-4B1C-AA10-E7BD2B032652}" dt="2020-06-17T13:30:20.977" v="8287"/>
        <pc:sldMkLst>
          <pc:docMk/>
          <pc:sldMk cId="1167962052" sldId="435"/>
        </pc:sldMkLst>
      </pc:sldChg>
      <pc:sldChg chg="add ord">
        <pc:chgData name="Daniele, L.M. (Laura)" userId="fd7970a2-7a0c-4b70-8263-dcc64c0076cf" providerId="ADAL" clId="{05A1DA8D-63B9-4B1C-AA10-E7BD2B032652}" dt="2020-06-17T13:30:26.841" v="8288"/>
        <pc:sldMkLst>
          <pc:docMk/>
          <pc:sldMk cId="3522285741" sldId="436"/>
        </pc:sldMkLst>
      </pc:sldChg>
      <pc:sldChg chg="add ord">
        <pc:chgData name="Daniele, L.M. (Laura)" userId="fd7970a2-7a0c-4b70-8263-dcc64c0076cf" providerId="ADAL" clId="{05A1DA8D-63B9-4B1C-AA10-E7BD2B032652}" dt="2020-06-17T13:30:16.731" v="8286"/>
        <pc:sldMkLst>
          <pc:docMk/>
          <pc:sldMk cId="3788001141" sldId="437"/>
        </pc:sldMkLst>
      </pc:sldChg>
      <pc:sldChg chg="modSp add">
        <pc:chgData name="Daniele, L.M. (Laura)" userId="fd7970a2-7a0c-4b70-8263-dcc64c0076cf" providerId="ADAL" clId="{05A1DA8D-63B9-4B1C-AA10-E7BD2B032652}" dt="2020-06-17T16:31:05.887" v="9596" actId="5793"/>
        <pc:sldMkLst>
          <pc:docMk/>
          <pc:sldMk cId="3032933169" sldId="438"/>
        </pc:sldMkLst>
        <pc:spChg chg="mod">
          <ac:chgData name="Daniele, L.M. (Laura)" userId="fd7970a2-7a0c-4b70-8263-dcc64c0076cf" providerId="ADAL" clId="{05A1DA8D-63B9-4B1C-AA10-E7BD2B032652}" dt="2020-06-17T16:31:05.887" v="9596" actId="5793"/>
          <ac:spMkLst>
            <pc:docMk/>
            <pc:sldMk cId="3032933169" sldId="438"/>
            <ac:spMk id="4" creationId="{00000000-0000-0000-0000-000000000000}"/>
          </ac:spMkLst>
        </pc:spChg>
      </pc:sldChg>
      <pc:sldChg chg="addSp modSp add">
        <pc:chgData name="Daniele, L.M. (Laura)" userId="fd7970a2-7a0c-4b70-8263-dcc64c0076cf" providerId="ADAL" clId="{05A1DA8D-63B9-4B1C-AA10-E7BD2B032652}" dt="2020-06-17T16:46:36.333" v="10069" actId="20577"/>
        <pc:sldMkLst>
          <pc:docMk/>
          <pc:sldMk cId="3290959556" sldId="439"/>
        </pc:sldMkLst>
        <pc:spChg chg="mod">
          <ac:chgData name="Daniele, L.M. (Laura)" userId="fd7970a2-7a0c-4b70-8263-dcc64c0076cf" providerId="ADAL" clId="{05A1DA8D-63B9-4B1C-AA10-E7BD2B032652}" dt="2020-06-17T16:46:36.333" v="10069" actId="20577"/>
          <ac:spMkLst>
            <pc:docMk/>
            <pc:sldMk cId="3290959556" sldId="439"/>
            <ac:spMk id="5" creationId="{00000000-0000-0000-0000-000000000000}"/>
          </ac:spMkLst>
        </pc:spChg>
        <pc:spChg chg="mod">
          <ac:chgData name="Daniele, L.M. (Laura)" userId="fd7970a2-7a0c-4b70-8263-dcc64c0076cf" providerId="ADAL" clId="{05A1DA8D-63B9-4B1C-AA10-E7BD2B032652}" dt="2020-06-17T16:38:11.088" v="9787" actId="20577"/>
          <ac:spMkLst>
            <pc:docMk/>
            <pc:sldMk cId="3290959556" sldId="439"/>
            <ac:spMk id="6" creationId="{00000000-0000-0000-0000-000000000000}"/>
          </ac:spMkLst>
        </pc:spChg>
        <pc:spChg chg="mod">
          <ac:chgData name="Daniele, L.M. (Laura)" userId="fd7970a2-7a0c-4b70-8263-dcc64c0076cf" providerId="ADAL" clId="{05A1DA8D-63B9-4B1C-AA10-E7BD2B032652}" dt="2020-06-17T14:03:56.937" v="8873" actId="1036"/>
          <ac:spMkLst>
            <pc:docMk/>
            <pc:sldMk cId="3290959556" sldId="439"/>
            <ac:spMk id="17" creationId="{710CF08E-BA87-4222-A1DF-CE2D9F1849BC}"/>
          </ac:spMkLst>
        </pc:spChg>
        <pc:spChg chg="add mod">
          <ac:chgData name="Daniele, L.M. (Laura)" userId="fd7970a2-7a0c-4b70-8263-dcc64c0076cf" providerId="ADAL" clId="{05A1DA8D-63B9-4B1C-AA10-E7BD2B032652}" dt="2020-06-17T16:38:58.348" v="9807" actId="20577"/>
          <ac:spMkLst>
            <pc:docMk/>
            <pc:sldMk cId="3290959556" sldId="439"/>
            <ac:spMk id="20" creationId="{0F7A190F-8A66-4243-AE4D-452AA8103EA1}"/>
          </ac:spMkLst>
        </pc:spChg>
        <pc:grpChg chg="mod">
          <ac:chgData name="Daniele, L.M. (Laura)" userId="fd7970a2-7a0c-4b70-8263-dcc64c0076cf" providerId="ADAL" clId="{05A1DA8D-63B9-4B1C-AA10-E7BD2B032652}" dt="2020-06-17T14:03:56.937" v="8873" actId="1036"/>
          <ac:grpSpMkLst>
            <pc:docMk/>
            <pc:sldMk cId="3290959556" sldId="439"/>
            <ac:grpSpMk id="19" creationId="{9037DDE5-3AD3-4D2C-BC77-C23D7AD3C898}"/>
          </ac:grpSpMkLst>
        </pc:gr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2D606223-5810-7A4B-BB24-4DC04D13303D}" type="datetimeFigureOut">
              <a:rPr lang="en-US" smtClean="0"/>
              <a:t>6/24/2020</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CAB2983-8FA3-524E-8FF0-F4270ED24BA9}" type="slidenum">
              <a:rPr lang="en-US" smtClean="0"/>
              <a:t>‹#›</a:t>
            </a:fld>
            <a:endParaRPr lang="en-US"/>
          </a:p>
        </p:txBody>
      </p:sp>
    </p:spTree>
    <p:extLst>
      <p:ext uri="{BB962C8B-B14F-4D97-AF65-F5344CB8AC3E}">
        <p14:creationId xmlns:p14="http://schemas.microsoft.com/office/powerpoint/2010/main" val="66783878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PT"/>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61E3467-54CA-4ED8-ACC4-7F680C940380}" type="datetimeFigureOut">
              <a:rPr lang="pt-PT" smtClean="0"/>
              <a:t>24/06/2020</a:t>
            </a:fld>
            <a:endParaRPr lang="pt-PT"/>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pt-PT"/>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pt-PT"/>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1D59A6D-54E1-4A01-AE77-1D6F72C6127B}" type="slidenum">
              <a:rPr lang="pt-PT" smtClean="0"/>
              <a:t>‹#›</a:t>
            </a:fld>
            <a:endParaRPr lang="pt-PT"/>
          </a:p>
        </p:txBody>
      </p:sp>
    </p:spTree>
    <p:extLst>
      <p:ext uri="{BB962C8B-B14F-4D97-AF65-F5344CB8AC3E}">
        <p14:creationId xmlns:p14="http://schemas.microsoft.com/office/powerpoint/2010/main" val="94338819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1D59A6D-54E1-4A01-AE77-1D6F72C6127B}" type="slidenum">
              <a:rPr lang="en-US" smtClean="0"/>
              <a:t>2</a:t>
            </a:fld>
            <a:endParaRPr lang="en-US" dirty="0"/>
          </a:p>
        </p:txBody>
      </p:sp>
    </p:spTree>
    <p:extLst>
      <p:ext uri="{BB962C8B-B14F-4D97-AF65-F5344CB8AC3E}">
        <p14:creationId xmlns:p14="http://schemas.microsoft.com/office/powerpoint/2010/main" val="35069830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1D59A6D-54E1-4A01-AE77-1D6F72C6127B}" type="slidenum">
              <a:rPr lang="en-US" smtClean="0"/>
              <a:t>13</a:t>
            </a:fld>
            <a:endParaRPr lang="en-US" dirty="0"/>
          </a:p>
        </p:txBody>
      </p:sp>
    </p:spTree>
    <p:extLst>
      <p:ext uri="{BB962C8B-B14F-4D97-AF65-F5344CB8AC3E}">
        <p14:creationId xmlns:p14="http://schemas.microsoft.com/office/powerpoint/2010/main" val="23796203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21D59A6D-54E1-4A01-AE77-1D6F72C6127B}" type="slidenum">
              <a:rPr lang="pt-PT" smtClean="0"/>
              <a:t>15</a:t>
            </a:fld>
            <a:endParaRPr lang="pt-PT"/>
          </a:p>
        </p:txBody>
      </p:sp>
    </p:spTree>
    <p:extLst>
      <p:ext uri="{BB962C8B-B14F-4D97-AF65-F5344CB8AC3E}">
        <p14:creationId xmlns:p14="http://schemas.microsoft.com/office/powerpoint/2010/main" val="19442472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1D59A6D-54E1-4A01-AE77-1D6F72C6127B}" type="slidenum">
              <a:rPr lang="en-US" smtClean="0"/>
              <a:t>16</a:t>
            </a:fld>
            <a:endParaRPr lang="en-US" dirty="0"/>
          </a:p>
        </p:txBody>
      </p:sp>
    </p:spTree>
    <p:extLst>
      <p:ext uri="{BB962C8B-B14F-4D97-AF65-F5344CB8AC3E}">
        <p14:creationId xmlns:p14="http://schemas.microsoft.com/office/powerpoint/2010/main" val="24198987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1D59A6D-54E1-4A01-AE77-1D6F72C6127B}" type="slidenum">
              <a:rPr lang="en-US" smtClean="0"/>
              <a:t>17</a:t>
            </a:fld>
            <a:endParaRPr lang="en-US" dirty="0"/>
          </a:p>
        </p:txBody>
      </p:sp>
    </p:spTree>
    <p:extLst>
      <p:ext uri="{BB962C8B-B14F-4D97-AF65-F5344CB8AC3E}">
        <p14:creationId xmlns:p14="http://schemas.microsoft.com/office/powerpoint/2010/main" val="2893752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1D59A6D-54E1-4A01-AE77-1D6F72C6127B}" type="slidenum">
              <a:rPr lang="en-US" smtClean="0"/>
              <a:t>18</a:t>
            </a:fld>
            <a:endParaRPr lang="en-US" dirty="0"/>
          </a:p>
        </p:txBody>
      </p:sp>
    </p:spTree>
    <p:extLst>
      <p:ext uri="{BB962C8B-B14F-4D97-AF65-F5344CB8AC3E}">
        <p14:creationId xmlns:p14="http://schemas.microsoft.com/office/powerpoint/2010/main" val="14318755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1D59A6D-54E1-4A01-AE77-1D6F72C6127B}" type="slidenum">
              <a:rPr lang="en-US" smtClean="0"/>
              <a:t>19</a:t>
            </a:fld>
            <a:endParaRPr lang="en-US" dirty="0"/>
          </a:p>
        </p:txBody>
      </p:sp>
    </p:spTree>
    <p:extLst>
      <p:ext uri="{BB962C8B-B14F-4D97-AF65-F5344CB8AC3E}">
        <p14:creationId xmlns:p14="http://schemas.microsoft.com/office/powerpoint/2010/main" val="12109514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1D59A6D-54E1-4A01-AE77-1D6F72C6127B}" type="slidenum">
              <a:rPr lang="en-US" smtClean="0"/>
              <a:t>20</a:t>
            </a:fld>
            <a:endParaRPr lang="en-US" dirty="0"/>
          </a:p>
        </p:txBody>
      </p:sp>
    </p:spTree>
    <p:extLst>
      <p:ext uri="{BB962C8B-B14F-4D97-AF65-F5344CB8AC3E}">
        <p14:creationId xmlns:p14="http://schemas.microsoft.com/office/powerpoint/2010/main" val="36200720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1D59A6D-54E1-4A01-AE77-1D6F72C6127B}" type="slidenum">
              <a:rPr lang="en-US" smtClean="0"/>
              <a:t>21</a:t>
            </a:fld>
            <a:endParaRPr lang="en-US" dirty="0"/>
          </a:p>
        </p:txBody>
      </p:sp>
    </p:spTree>
    <p:extLst>
      <p:ext uri="{BB962C8B-B14F-4D97-AF65-F5344CB8AC3E}">
        <p14:creationId xmlns:p14="http://schemas.microsoft.com/office/powerpoint/2010/main" val="16259327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1D59A6D-54E1-4A01-AE77-1D6F72C6127B}" type="slidenum">
              <a:rPr lang="en-US" smtClean="0"/>
              <a:t>22</a:t>
            </a:fld>
            <a:endParaRPr lang="en-US" dirty="0"/>
          </a:p>
        </p:txBody>
      </p:sp>
    </p:spTree>
    <p:extLst>
      <p:ext uri="{BB962C8B-B14F-4D97-AF65-F5344CB8AC3E}">
        <p14:creationId xmlns:p14="http://schemas.microsoft.com/office/powerpoint/2010/main" val="19462789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21D59A6D-54E1-4A01-AE77-1D6F72C6127B}" type="slidenum">
              <a:rPr lang="pt-PT" smtClean="0"/>
              <a:t>23</a:t>
            </a:fld>
            <a:endParaRPr lang="pt-PT"/>
          </a:p>
        </p:txBody>
      </p:sp>
    </p:spTree>
    <p:extLst>
      <p:ext uri="{BB962C8B-B14F-4D97-AF65-F5344CB8AC3E}">
        <p14:creationId xmlns:p14="http://schemas.microsoft.com/office/powerpoint/2010/main" val="29550327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21D59A6D-54E1-4A01-AE77-1D6F72C6127B}" type="slidenum">
              <a:rPr lang="pt-PT" smtClean="0"/>
              <a:t>4</a:t>
            </a:fld>
            <a:endParaRPr lang="pt-PT"/>
          </a:p>
        </p:txBody>
      </p:sp>
    </p:spTree>
    <p:extLst>
      <p:ext uri="{BB962C8B-B14F-4D97-AF65-F5344CB8AC3E}">
        <p14:creationId xmlns:p14="http://schemas.microsoft.com/office/powerpoint/2010/main" val="16402327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1D59A6D-54E1-4A01-AE77-1D6F72C6127B}" type="slidenum">
              <a:rPr lang="en-US" smtClean="0"/>
              <a:t>24</a:t>
            </a:fld>
            <a:endParaRPr lang="en-US" dirty="0"/>
          </a:p>
        </p:txBody>
      </p:sp>
    </p:spTree>
    <p:extLst>
      <p:ext uri="{BB962C8B-B14F-4D97-AF65-F5344CB8AC3E}">
        <p14:creationId xmlns:p14="http://schemas.microsoft.com/office/powerpoint/2010/main" val="313697294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1D59A6D-54E1-4A01-AE77-1D6F72C6127B}" type="slidenum">
              <a:rPr lang="en-US" smtClean="0"/>
              <a:t>25</a:t>
            </a:fld>
            <a:endParaRPr lang="en-US" dirty="0"/>
          </a:p>
        </p:txBody>
      </p:sp>
    </p:spTree>
    <p:extLst>
      <p:ext uri="{BB962C8B-B14F-4D97-AF65-F5344CB8AC3E}">
        <p14:creationId xmlns:p14="http://schemas.microsoft.com/office/powerpoint/2010/main" val="332172088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1D59A6D-54E1-4A01-AE77-1D6F72C6127B}" type="slidenum">
              <a:rPr lang="en-US" smtClean="0"/>
              <a:t>26</a:t>
            </a:fld>
            <a:endParaRPr lang="en-US" dirty="0"/>
          </a:p>
        </p:txBody>
      </p:sp>
    </p:spTree>
    <p:extLst>
      <p:ext uri="{BB962C8B-B14F-4D97-AF65-F5344CB8AC3E}">
        <p14:creationId xmlns:p14="http://schemas.microsoft.com/office/powerpoint/2010/main" val="368738235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1D59A6D-54E1-4A01-AE77-1D6F72C6127B}" type="slidenum">
              <a:rPr lang="en-US" smtClean="0"/>
              <a:t>29</a:t>
            </a:fld>
            <a:endParaRPr lang="en-US" dirty="0"/>
          </a:p>
        </p:txBody>
      </p:sp>
    </p:spTree>
    <p:extLst>
      <p:ext uri="{BB962C8B-B14F-4D97-AF65-F5344CB8AC3E}">
        <p14:creationId xmlns:p14="http://schemas.microsoft.com/office/powerpoint/2010/main" val="308554009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1D59A6D-54E1-4A01-AE77-1D6F72C6127B}" type="slidenum">
              <a:rPr lang="en-US" smtClean="0"/>
              <a:t>30</a:t>
            </a:fld>
            <a:endParaRPr lang="en-US" dirty="0"/>
          </a:p>
        </p:txBody>
      </p:sp>
    </p:spTree>
    <p:extLst>
      <p:ext uri="{BB962C8B-B14F-4D97-AF65-F5344CB8AC3E}">
        <p14:creationId xmlns:p14="http://schemas.microsoft.com/office/powerpoint/2010/main" val="7727095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6</a:t>
            </a:r>
          </a:p>
        </p:txBody>
      </p:sp>
      <p:sp>
        <p:nvSpPr>
          <p:cNvPr id="4" name="Slide Number Placeholder 3"/>
          <p:cNvSpPr>
            <a:spLocks noGrp="1"/>
          </p:cNvSpPr>
          <p:nvPr>
            <p:ph type="sldNum" sz="quarter" idx="5"/>
          </p:nvPr>
        </p:nvSpPr>
        <p:spPr/>
        <p:txBody>
          <a:bodyPr/>
          <a:lstStyle/>
          <a:p>
            <a:fld id="{21D59A6D-54E1-4A01-AE77-1D6F72C6127B}" type="slidenum">
              <a:rPr lang="pt-PT" smtClean="0"/>
              <a:t>31</a:t>
            </a:fld>
            <a:endParaRPr lang="pt-PT"/>
          </a:p>
        </p:txBody>
      </p:sp>
    </p:spTree>
    <p:extLst>
      <p:ext uri="{BB962C8B-B14F-4D97-AF65-F5344CB8AC3E}">
        <p14:creationId xmlns:p14="http://schemas.microsoft.com/office/powerpoint/2010/main" val="362898260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1D59A6D-54E1-4A01-AE77-1D6F72C6127B}" type="slidenum">
              <a:rPr lang="en-US" smtClean="0"/>
              <a:t>33</a:t>
            </a:fld>
            <a:endParaRPr lang="en-US" dirty="0"/>
          </a:p>
        </p:txBody>
      </p:sp>
    </p:spTree>
    <p:extLst>
      <p:ext uri="{BB962C8B-B14F-4D97-AF65-F5344CB8AC3E}">
        <p14:creationId xmlns:p14="http://schemas.microsoft.com/office/powerpoint/2010/main" val="89956294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1D59A6D-54E1-4A01-AE77-1D6F72C6127B}" type="slidenum">
              <a:rPr lang="en-US" smtClean="0"/>
              <a:t>35</a:t>
            </a:fld>
            <a:endParaRPr lang="en-US" dirty="0"/>
          </a:p>
        </p:txBody>
      </p:sp>
    </p:spTree>
    <p:extLst>
      <p:ext uri="{BB962C8B-B14F-4D97-AF65-F5344CB8AC3E}">
        <p14:creationId xmlns:p14="http://schemas.microsoft.com/office/powerpoint/2010/main" val="71499612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1D59A6D-54E1-4A01-AE77-1D6F72C6127B}" type="slidenum">
              <a:rPr lang="en-US" smtClean="0"/>
              <a:t>36</a:t>
            </a:fld>
            <a:endParaRPr lang="en-US" dirty="0"/>
          </a:p>
        </p:txBody>
      </p:sp>
    </p:spTree>
    <p:extLst>
      <p:ext uri="{BB962C8B-B14F-4D97-AF65-F5344CB8AC3E}">
        <p14:creationId xmlns:p14="http://schemas.microsoft.com/office/powerpoint/2010/main" val="16468206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1D59A6D-54E1-4A01-AE77-1D6F72C6127B}" type="slidenum">
              <a:rPr lang="en-US" smtClean="0"/>
              <a:t>37</a:t>
            </a:fld>
            <a:endParaRPr lang="en-US" dirty="0"/>
          </a:p>
        </p:txBody>
      </p:sp>
    </p:spTree>
    <p:extLst>
      <p:ext uri="{BB962C8B-B14F-4D97-AF65-F5344CB8AC3E}">
        <p14:creationId xmlns:p14="http://schemas.microsoft.com/office/powerpoint/2010/main" val="14417421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1D59A6D-54E1-4A01-AE77-1D6F72C6127B}" type="slidenum">
              <a:rPr lang="en-US" smtClean="0"/>
              <a:t>5</a:t>
            </a:fld>
            <a:endParaRPr lang="en-US" dirty="0"/>
          </a:p>
        </p:txBody>
      </p:sp>
    </p:spTree>
    <p:extLst>
      <p:ext uri="{BB962C8B-B14F-4D97-AF65-F5344CB8AC3E}">
        <p14:creationId xmlns:p14="http://schemas.microsoft.com/office/powerpoint/2010/main" val="332990193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1D59A6D-54E1-4A01-AE77-1D6F72C6127B}" type="slidenum">
              <a:rPr lang="en-US" smtClean="0"/>
              <a:t>39</a:t>
            </a:fld>
            <a:endParaRPr lang="en-US" dirty="0"/>
          </a:p>
        </p:txBody>
      </p:sp>
    </p:spTree>
    <p:extLst>
      <p:ext uri="{BB962C8B-B14F-4D97-AF65-F5344CB8AC3E}">
        <p14:creationId xmlns:p14="http://schemas.microsoft.com/office/powerpoint/2010/main" val="8828773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1D59A6D-54E1-4A01-AE77-1D6F72C6127B}" type="slidenum">
              <a:rPr lang="en-US" smtClean="0"/>
              <a:t>40</a:t>
            </a:fld>
            <a:endParaRPr lang="en-US" dirty="0"/>
          </a:p>
        </p:txBody>
      </p:sp>
    </p:spTree>
    <p:extLst>
      <p:ext uri="{BB962C8B-B14F-4D97-AF65-F5344CB8AC3E}">
        <p14:creationId xmlns:p14="http://schemas.microsoft.com/office/powerpoint/2010/main" val="275997155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1D59A6D-54E1-4A01-AE77-1D6F72C6127B}" type="slidenum">
              <a:rPr lang="en-US" smtClean="0"/>
              <a:t>41</a:t>
            </a:fld>
            <a:endParaRPr lang="en-US" dirty="0"/>
          </a:p>
        </p:txBody>
      </p:sp>
    </p:spTree>
    <p:extLst>
      <p:ext uri="{BB962C8B-B14F-4D97-AF65-F5344CB8AC3E}">
        <p14:creationId xmlns:p14="http://schemas.microsoft.com/office/powerpoint/2010/main" val="34572854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1D59A6D-54E1-4A01-AE77-1D6F72C6127B}" type="slidenum">
              <a:rPr lang="en-US" smtClean="0"/>
              <a:t>42</a:t>
            </a:fld>
            <a:endParaRPr lang="en-US" dirty="0"/>
          </a:p>
        </p:txBody>
      </p:sp>
    </p:spTree>
    <p:extLst>
      <p:ext uri="{BB962C8B-B14F-4D97-AF65-F5344CB8AC3E}">
        <p14:creationId xmlns:p14="http://schemas.microsoft.com/office/powerpoint/2010/main" val="34538242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1D59A6D-54E1-4A01-AE77-1D6F72C6127B}" type="slidenum">
              <a:rPr lang="en-US" smtClean="0"/>
              <a:t>44</a:t>
            </a:fld>
            <a:endParaRPr lang="en-US" dirty="0"/>
          </a:p>
        </p:txBody>
      </p:sp>
    </p:spTree>
    <p:extLst>
      <p:ext uri="{BB962C8B-B14F-4D97-AF65-F5344CB8AC3E}">
        <p14:creationId xmlns:p14="http://schemas.microsoft.com/office/powerpoint/2010/main" val="342259539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1D59A6D-54E1-4A01-AE77-1D6F72C6127B}" type="slidenum">
              <a:rPr lang="en-US" smtClean="0"/>
              <a:t>45</a:t>
            </a:fld>
            <a:endParaRPr lang="en-US" dirty="0"/>
          </a:p>
        </p:txBody>
      </p:sp>
    </p:spTree>
    <p:extLst>
      <p:ext uri="{BB962C8B-B14F-4D97-AF65-F5344CB8AC3E}">
        <p14:creationId xmlns:p14="http://schemas.microsoft.com/office/powerpoint/2010/main" val="102788428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1D59A6D-54E1-4A01-AE77-1D6F72C6127B}" type="slidenum">
              <a:rPr lang="en-US" smtClean="0"/>
              <a:t>46</a:t>
            </a:fld>
            <a:endParaRPr lang="en-US" dirty="0"/>
          </a:p>
        </p:txBody>
      </p:sp>
    </p:spTree>
    <p:extLst>
      <p:ext uri="{BB962C8B-B14F-4D97-AF65-F5344CB8AC3E}">
        <p14:creationId xmlns:p14="http://schemas.microsoft.com/office/powerpoint/2010/main" val="220812936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1D59A6D-54E1-4A01-AE77-1D6F72C6127B}" type="slidenum">
              <a:rPr lang="en-US" smtClean="0"/>
              <a:t>47</a:t>
            </a:fld>
            <a:endParaRPr lang="en-US" dirty="0"/>
          </a:p>
        </p:txBody>
      </p:sp>
    </p:spTree>
    <p:extLst>
      <p:ext uri="{BB962C8B-B14F-4D97-AF65-F5344CB8AC3E}">
        <p14:creationId xmlns:p14="http://schemas.microsoft.com/office/powerpoint/2010/main" val="131259790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21D59A6D-54E1-4A01-AE77-1D6F72C6127B}" type="slidenum">
              <a:rPr lang="pt-PT" smtClean="0"/>
              <a:t>56</a:t>
            </a:fld>
            <a:endParaRPr lang="pt-PT"/>
          </a:p>
        </p:txBody>
      </p:sp>
    </p:spTree>
    <p:extLst>
      <p:ext uri="{BB962C8B-B14F-4D97-AF65-F5344CB8AC3E}">
        <p14:creationId xmlns:p14="http://schemas.microsoft.com/office/powerpoint/2010/main" val="296870362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21D59A6D-54E1-4A01-AE77-1D6F72C6127B}" type="slidenum">
              <a:rPr lang="pt-PT" smtClean="0"/>
              <a:t>59</a:t>
            </a:fld>
            <a:endParaRPr lang="pt-PT"/>
          </a:p>
        </p:txBody>
      </p:sp>
    </p:spTree>
    <p:extLst>
      <p:ext uri="{BB962C8B-B14F-4D97-AF65-F5344CB8AC3E}">
        <p14:creationId xmlns:p14="http://schemas.microsoft.com/office/powerpoint/2010/main" val="14959772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1D59A6D-54E1-4A01-AE77-1D6F72C6127B}" type="slidenum">
              <a:rPr lang="en-US" smtClean="0"/>
              <a:t>6</a:t>
            </a:fld>
            <a:endParaRPr lang="en-US" dirty="0"/>
          </a:p>
        </p:txBody>
      </p:sp>
    </p:spTree>
    <p:extLst>
      <p:ext uri="{BB962C8B-B14F-4D97-AF65-F5344CB8AC3E}">
        <p14:creationId xmlns:p14="http://schemas.microsoft.com/office/powerpoint/2010/main" val="308481157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1D59A6D-54E1-4A01-AE77-1D6F72C6127B}" type="slidenum">
              <a:rPr lang="en-US" smtClean="0"/>
              <a:t>61</a:t>
            </a:fld>
            <a:endParaRPr lang="en-US" dirty="0"/>
          </a:p>
        </p:txBody>
      </p:sp>
    </p:spTree>
    <p:extLst>
      <p:ext uri="{BB962C8B-B14F-4D97-AF65-F5344CB8AC3E}">
        <p14:creationId xmlns:p14="http://schemas.microsoft.com/office/powerpoint/2010/main" val="25083873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21D59A6D-54E1-4A01-AE77-1D6F72C6127B}" type="slidenum">
              <a:rPr lang="pt-PT" smtClean="0"/>
              <a:t>62</a:t>
            </a:fld>
            <a:endParaRPr lang="pt-PT"/>
          </a:p>
        </p:txBody>
      </p:sp>
    </p:spTree>
    <p:extLst>
      <p:ext uri="{BB962C8B-B14F-4D97-AF65-F5344CB8AC3E}">
        <p14:creationId xmlns:p14="http://schemas.microsoft.com/office/powerpoint/2010/main" val="8715737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1D59A6D-54E1-4A01-AE77-1D6F72C6127B}" type="slidenum">
              <a:rPr lang="en-US" smtClean="0"/>
              <a:t>63</a:t>
            </a:fld>
            <a:endParaRPr lang="en-US" dirty="0"/>
          </a:p>
        </p:txBody>
      </p:sp>
    </p:spTree>
    <p:extLst>
      <p:ext uri="{BB962C8B-B14F-4D97-AF65-F5344CB8AC3E}">
        <p14:creationId xmlns:p14="http://schemas.microsoft.com/office/powerpoint/2010/main" val="354246202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1D59A6D-54E1-4A01-AE77-1D6F72C6127B}" type="slidenum">
              <a:rPr lang="en-US" smtClean="0"/>
              <a:t>64</a:t>
            </a:fld>
            <a:endParaRPr lang="en-US" dirty="0"/>
          </a:p>
        </p:txBody>
      </p:sp>
    </p:spTree>
    <p:extLst>
      <p:ext uri="{BB962C8B-B14F-4D97-AF65-F5344CB8AC3E}">
        <p14:creationId xmlns:p14="http://schemas.microsoft.com/office/powerpoint/2010/main" val="84449436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1D59A6D-54E1-4A01-AE77-1D6F72C6127B}" type="slidenum">
              <a:rPr lang="en-US" smtClean="0"/>
              <a:t>65</a:t>
            </a:fld>
            <a:endParaRPr lang="en-US" dirty="0"/>
          </a:p>
        </p:txBody>
      </p:sp>
    </p:spTree>
    <p:extLst>
      <p:ext uri="{BB962C8B-B14F-4D97-AF65-F5344CB8AC3E}">
        <p14:creationId xmlns:p14="http://schemas.microsoft.com/office/powerpoint/2010/main" val="237742406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1D59A6D-54E1-4A01-AE77-1D6F72C6127B}" type="slidenum">
              <a:rPr lang="en-US" smtClean="0"/>
              <a:t>66</a:t>
            </a:fld>
            <a:endParaRPr lang="en-US" dirty="0"/>
          </a:p>
        </p:txBody>
      </p:sp>
    </p:spTree>
    <p:extLst>
      <p:ext uri="{BB962C8B-B14F-4D97-AF65-F5344CB8AC3E}">
        <p14:creationId xmlns:p14="http://schemas.microsoft.com/office/powerpoint/2010/main" val="379176548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1D59A6D-54E1-4A01-AE77-1D6F72C6127B}" type="slidenum">
              <a:rPr lang="en-US" smtClean="0"/>
              <a:t>67</a:t>
            </a:fld>
            <a:endParaRPr lang="en-US" dirty="0"/>
          </a:p>
        </p:txBody>
      </p:sp>
    </p:spTree>
    <p:extLst>
      <p:ext uri="{BB962C8B-B14F-4D97-AF65-F5344CB8AC3E}">
        <p14:creationId xmlns:p14="http://schemas.microsoft.com/office/powerpoint/2010/main" val="244449523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1D59A6D-54E1-4A01-AE77-1D6F72C6127B}" type="slidenum">
              <a:rPr lang="en-US" smtClean="0"/>
              <a:t>69</a:t>
            </a:fld>
            <a:endParaRPr lang="en-US" dirty="0"/>
          </a:p>
        </p:txBody>
      </p:sp>
    </p:spTree>
    <p:extLst>
      <p:ext uri="{BB962C8B-B14F-4D97-AF65-F5344CB8AC3E}">
        <p14:creationId xmlns:p14="http://schemas.microsoft.com/office/powerpoint/2010/main" val="324226682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1D59A6D-54E1-4A01-AE77-1D6F72C6127B}" type="slidenum">
              <a:rPr lang="en-US" smtClean="0"/>
              <a:t>70</a:t>
            </a:fld>
            <a:endParaRPr lang="en-US" dirty="0"/>
          </a:p>
        </p:txBody>
      </p:sp>
    </p:spTree>
    <p:extLst>
      <p:ext uri="{BB962C8B-B14F-4D97-AF65-F5344CB8AC3E}">
        <p14:creationId xmlns:p14="http://schemas.microsoft.com/office/powerpoint/2010/main" val="47322053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1D59A6D-54E1-4A01-AE77-1D6F72C6127B}" type="slidenum">
              <a:rPr lang="en-US" smtClean="0"/>
              <a:t>71</a:t>
            </a:fld>
            <a:endParaRPr lang="en-US" dirty="0"/>
          </a:p>
        </p:txBody>
      </p:sp>
    </p:spTree>
    <p:extLst>
      <p:ext uri="{BB962C8B-B14F-4D97-AF65-F5344CB8AC3E}">
        <p14:creationId xmlns:p14="http://schemas.microsoft.com/office/powerpoint/2010/main" val="6493552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1D59A6D-54E1-4A01-AE77-1D6F72C6127B}" type="slidenum">
              <a:rPr lang="en-US" smtClean="0"/>
              <a:t>8</a:t>
            </a:fld>
            <a:endParaRPr lang="en-US" dirty="0"/>
          </a:p>
        </p:txBody>
      </p:sp>
    </p:spTree>
    <p:extLst>
      <p:ext uri="{BB962C8B-B14F-4D97-AF65-F5344CB8AC3E}">
        <p14:creationId xmlns:p14="http://schemas.microsoft.com/office/powerpoint/2010/main" val="428232248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1D59A6D-54E1-4A01-AE77-1D6F72C6127B}" type="slidenum">
              <a:rPr lang="en-US" smtClean="0"/>
              <a:t>77</a:t>
            </a:fld>
            <a:endParaRPr lang="en-US" dirty="0"/>
          </a:p>
        </p:txBody>
      </p:sp>
    </p:spTree>
    <p:extLst>
      <p:ext uri="{BB962C8B-B14F-4D97-AF65-F5344CB8AC3E}">
        <p14:creationId xmlns:p14="http://schemas.microsoft.com/office/powerpoint/2010/main" val="140736029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1D59A6D-54E1-4A01-AE77-1D6F72C6127B}" type="slidenum">
              <a:rPr lang="pt-PT" smtClean="0"/>
              <a:t>78</a:t>
            </a:fld>
            <a:endParaRPr lang="pt-PT"/>
          </a:p>
        </p:txBody>
      </p:sp>
    </p:spTree>
    <p:extLst>
      <p:ext uri="{BB962C8B-B14F-4D97-AF65-F5344CB8AC3E}">
        <p14:creationId xmlns:p14="http://schemas.microsoft.com/office/powerpoint/2010/main" val="41792351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1D59A6D-54E1-4A01-AE77-1D6F72C6127B}" type="slidenum">
              <a:rPr lang="en-US" smtClean="0"/>
              <a:t>9</a:t>
            </a:fld>
            <a:endParaRPr lang="en-US" dirty="0"/>
          </a:p>
        </p:txBody>
      </p:sp>
    </p:spTree>
    <p:extLst>
      <p:ext uri="{BB962C8B-B14F-4D97-AF65-F5344CB8AC3E}">
        <p14:creationId xmlns:p14="http://schemas.microsoft.com/office/powerpoint/2010/main" val="16792962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1D59A6D-54E1-4A01-AE77-1D6F72C6127B}" type="slidenum">
              <a:rPr lang="en-US" smtClean="0"/>
              <a:t>10</a:t>
            </a:fld>
            <a:endParaRPr lang="en-US" dirty="0"/>
          </a:p>
        </p:txBody>
      </p:sp>
    </p:spTree>
    <p:extLst>
      <p:ext uri="{BB962C8B-B14F-4D97-AF65-F5344CB8AC3E}">
        <p14:creationId xmlns:p14="http://schemas.microsoft.com/office/powerpoint/2010/main" val="42103218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1D59A6D-54E1-4A01-AE77-1D6F72C6127B}" type="slidenum">
              <a:rPr lang="en-US" smtClean="0"/>
              <a:t>11</a:t>
            </a:fld>
            <a:endParaRPr lang="en-US" dirty="0"/>
          </a:p>
        </p:txBody>
      </p:sp>
    </p:spTree>
    <p:extLst>
      <p:ext uri="{BB962C8B-B14F-4D97-AF65-F5344CB8AC3E}">
        <p14:creationId xmlns:p14="http://schemas.microsoft.com/office/powerpoint/2010/main" val="18197818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1D59A6D-54E1-4A01-AE77-1D6F72C6127B}" type="slidenum">
              <a:rPr lang="en-US" smtClean="0"/>
              <a:t>12</a:t>
            </a:fld>
            <a:endParaRPr lang="en-US" dirty="0"/>
          </a:p>
        </p:txBody>
      </p:sp>
    </p:spTree>
    <p:extLst>
      <p:ext uri="{BB962C8B-B14F-4D97-AF65-F5344CB8AC3E}">
        <p14:creationId xmlns:p14="http://schemas.microsoft.com/office/powerpoint/2010/main" val="4156440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Cover">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6211"/>
          </a:xfrm>
          <a:prstGeom prst="rect">
            <a:avLst/>
          </a:prstGeom>
        </p:spPr>
      </p:pic>
    </p:spTree>
    <p:extLst>
      <p:ext uri="{BB962C8B-B14F-4D97-AF65-F5344CB8AC3E}">
        <p14:creationId xmlns:p14="http://schemas.microsoft.com/office/powerpoint/2010/main" val="4015903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lumn bullets + 2 Pictures">
    <p:spTree>
      <p:nvGrpSpPr>
        <p:cNvPr id="1" name=""/>
        <p:cNvGrpSpPr/>
        <p:nvPr/>
      </p:nvGrpSpPr>
      <p:grpSpPr>
        <a:xfrm>
          <a:off x="0" y="0"/>
          <a:ext cx="0" cy="0"/>
          <a:chOff x="0" y="0"/>
          <a:chExt cx="0" cy="0"/>
        </a:xfrm>
      </p:grpSpPr>
      <p:sp>
        <p:nvSpPr>
          <p:cNvPr id="13" name="Text Placeholder 15"/>
          <p:cNvSpPr>
            <a:spLocks noGrp="1"/>
          </p:cNvSpPr>
          <p:nvPr>
            <p:ph type="body" sz="quarter" idx="11" hasCustomPrompt="1"/>
          </p:nvPr>
        </p:nvSpPr>
        <p:spPr>
          <a:xfrm>
            <a:off x="986457" y="362663"/>
            <a:ext cx="9123324" cy="826313"/>
          </a:xfrm>
          <a:prstGeom prst="rect">
            <a:avLst/>
          </a:prstGeom>
        </p:spPr>
        <p:txBody>
          <a:bodyPr/>
          <a:lstStyle>
            <a:lvl1pPr marL="0" indent="0">
              <a:lnSpc>
                <a:spcPct val="100000"/>
              </a:lnSpc>
              <a:spcBef>
                <a:spcPts val="0"/>
              </a:spcBef>
              <a:buFontTx/>
              <a:buNone/>
              <a:defRPr b="1" baseline="0">
                <a:solidFill>
                  <a:srgbClr val="EDAE00"/>
                </a:solidFill>
              </a:defRPr>
            </a:lvl1pPr>
          </a:lstStyle>
          <a:p>
            <a:pPr lvl="0"/>
            <a:r>
              <a:rPr lang="en-US" dirty="0"/>
              <a:t>Click to add title</a:t>
            </a:r>
          </a:p>
        </p:txBody>
      </p:sp>
      <p:sp>
        <p:nvSpPr>
          <p:cNvPr id="11" name="Picture Placeholder 13"/>
          <p:cNvSpPr>
            <a:spLocks noGrp="1"/>
          </p:cNvSpPr>
          <p:nvPr>
            <p:ph type="pic" sz="quarter" idx="16"/>
          </p:nvPr>
        </p:nvSpPr>
        <p:spPr>
          <a:xfrm>
            <a:off x="5762041" y="1875939"/>
            <a:ext cx="4347740" cy="2059127"/>
          </a:xfrm>
          <a:prstGeom prst="rect">
            <a:avLst/>
          </a:prstGeom>
        </p:spPr>
        <p:txBody>
          <a:bodyPr>
            <a:normAutofit/>
          </a:bodyPr>
          <a:lstStyle>
            <a:lvl1pPr marL="0" indent="0">
              <a:buFontTx/>
              <a:buNone/>
              <a:defRPr sz="2000">
                <a:solidFill>
                  <a:schemeClr val="tx1"/>
                </a:solidFill>
                <a:latin typeface="Arial" charset="0"/>
                <a:ea typeface="Arial" charset="0"/>
                <a:cs typeface="Arial" charset="0"/>
              </a:defRPr>
            </a:lvl1pPr>
          </a:lstStyle>
          <a:p>
            <a:r>
              <a:rPr lang="en-US" dirty="0"/>
              <a:t>Drag picture to placeholder or click icon to add</a:t>
            </a:r>
            <a:endParaRPr lang="pt-PT" dirty="0"/>
          </a:p>
        </p:txBody>
      </p:sp>
      <p:sp>
        <p:nvSpPr>
          <p:cNvPr id="12" name="Picture Placeholder 13"/>
          <p:cNvSpPr>
            <a:spLocks noGrp="1"/>
          </p:cNvSpPr>
          <p:nvPr>
            <p:ph type="pic" sz="quarter" idx="17"/>
          </p:nvPr>
        </p:nvSpPr>
        <p:spPr>
          <a:xfrm>
            <a:off x="5762041" y="4083775"/>
            <a:ext cx="4347740" cy="2048772"/>
          </a:xfrm>
          <a:prstGeom prst="rect">
            <a:avLst/>
          </a:prstGeom>
        </p:spPr>
        <p:txBody>
          <a:bodyPr>
            <a:normAutofit/>
          </a:bodyPr>
          <a:lstStyle>
            <a:lvl1pPr marL="0" indent="0">
              <a:buFontTx/>
              <a:buNone/>
              <a:defRPr sz="2000">
                <a:solidFill>
                  <a:schemeClr val="tx1"/>
                </a:solidFill>
                <a:latin typeface="Arial" charset="0"/>
                <a:ea typeface="Arial" charset="0"/>
                <a:cs typeface="Arial" charset="0"/>
              </a:defRPr>
            </a:lvl1pPr>
          </a:lstStyle>
          <a:p>
            <a:r>
              <a:rPr lang="en-US" dirty="0"/>
              <a:t>Drag picture to placeholder or click icon to add</a:t>
            </a:r>
            <a:endParaRPr lang="pt-PT" dirty="0"/>
          </a:p>
        </p:txBody>
      </p:sp>
      <p:sp>
        <p:nvSpPr>
          <p:cNvPr id="8" name="Text Placeholder 24"/>
          <p:cNvSpPr>
            <a:spLocks noGrp="1"/>
          </p:cNvSpPr>
          <p:nvPr>
            <p:ph type="body" sz="quarter" idx="18" hasCustomPrompt="1"/>
          </p:nvPr>
        </p:nvSpPr>
        <p:spPr>
          <a:xfrm>
            <a:off x="985764" y="1884743"/>
            <a:ext cx="4464676" cy="4247804"/>
          </a:xfrm>
          <a:prstGeom prst="rect">
            <a:avLst/>
          </a:prstGeom>
        </p:spPr>
        <p:txBody>
          <a:bodyPr/>
          <a:lstStyle>
            <a:lvl1pPr marL="342900" indent="-342900">
              <a:lnSpc>
                <a:spcPct val="100000"/>
              </a:lnSpc>
              <a:spcBef>
                <a:spcPts val="2200"/>
              </a:spcBef>
              <a:buClr>
                <a:srgbClr val="EDAE00"/>
              </a:buClr>
              <a:buFont typeface="Arial" charset="0"/>
              <a:buChar char="•"/>
              <a:defRPr sz="2000" baseline="0">
                <a:solidFill>
                  <a:schemeClr val="tx1"/>
                </a:solidFill>
              </a:defRPr>
            </a:lvl1pPr>
          </a:lstStyle>
          <a:p>
            <a:pPr lvl="0"/>
            <a:r>
              <a:rPr lang="en-US" dirty="0"/>
              <a:t>Click to add text – Column bullets  +  2 Pictu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55059" y="376732"/>
            <a:ext cx="639240" cy="647997"/>
          </a:xfrm>
          <a:prstGeom prst="rect">
            <a:avLst/>
          </a:prstGeom>
        </p:spPr>
      </p:pic>
      <p:sp>
        <p:nvSpPr>
          <p:cNvPr id="14" name="Slide Number Placeholder 5"/>
          <p:cNvSpPr>
            <a:spLocks noGrp="1"/>
          </p:cNvSpPr>
          <p:nvPr>
            <p:ph type="sldNum" sz="quarter" idx="4"/>
          </p:nvPr>
        </p:nvSpPr>
        <p:spPr>
          <a:xfrm>
            <a:off x="-3" y="6132547"/>
            <a:ext cx="985767" cy="725453"/>
          </a:xfrm>
          <a:prstGeom prst="rect">
            <a:avLst/>
          </a:prstGeom>
        </p:spPr>
        <p:txBody>
          <a:bodyPr vert="horz" lIns="91440" tIns="45720" rIns="91440" bIns="45720" rtlCol="0" anchor="ctr"/>
          <a:lstStyle>
            <a:lvl1pPr algn="ctr">
              <a:defRPr sz="1200">
                <a:solidFill>
                  <a:srgbClr val="FFB944"/>
                </a:solidFill>
                <a:latin typeface=""/>
              </a:defRPr>
            </a:lvl1pPr>
          </a:lstStyle>
          <a:p>
            <a:fld id="{EBC262BB-4310-134F-8D24-58475080D942}" type="slidenum">
              <a:rPr lang="en-US" smtClean="0"/>
              <a:pPr/>
              <a:t>‹#›</a:t>
            </a:fld>
            <a:endParaRPr lang="en-US" dirty="0"/>
          </a:p>
        </p:txBody>
      </p:sp>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072" y="6390290"/>
            <a:ext cx="1326826" cy="177822"/>
          </a:xfrm>
          <a:prstGeom prst="rect">
            <a:avLst/>
          </a:prstGeom>
        </p:spPr>
      </p:pic>
    </p:spTree>
    <p:extLst>
      <p:ext uri="{BB962C8B-B14F-4D97-AF65-F5344CB8AC3E}">
        <p14:creationId xmlns:p14="http://schemas.microsoft.com/office/powerpoint/2010/main" val="20053841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 Picture">
    <p:spTree>
      <p:nvGrpSpPr>
        <p:cNvPr id="1" name=""/>
        <p:cNvGrpSpPr/>
        <p:nvPr/>
      </p:nvGrpSpPr>
      <p:grpSpPr>
        <a:xfrm>
          <a:off x="0" y="0"/>
          <a:ext cx="0" cy="0"/>
          <a:chOff x="0" y="0"/>
          <a:chExt cx="0" cy="0"/>
        </a:xfrm>
      </p:grpSpPr>
      <p:sp>
        <p:nvSpPr>
          <p:cNvPr id="10" name="Picture Placeholder 2"/>
          <p:cNvSpPr>
            <a:spLocks noGrp="1"/>
          </p:cNvSpPr>
          <p:nvPr>
            <p:ph type="pic" sz="quarter" idx="17"/>
          </p:nvPr>
        </p:nvSpPr>
        <p:spPr>
          <a:xfrm>
            <a:off x="985764" y="1927444"/>
            <a:ext cx="9251436" cy="4255252"/>
          </a:xfrm>
          <a:prstGeom prst="rect">
            <a:avLst/>
          </a:prstGeom>
        </p:spPr>
        <p:txBody>
          <a:bodyPr>
            <a:normAutofit/>
          </a:bodyPr>
          <a:lstStyle>
            <a:lvl1pPr marL="0" indent="0">
              <a:buFontTx/>
              <a:buNone/>
              <a:defRPr sz="2000">
                <a:solidFill>
                  <a:schemeClr val="tx1"/>
                </a:solidFill>
              </a:defRPr>
            </a:lvl1pPr>
          </a:lstStyle>
          <a:p>
            <a:r>
              <a:rPr lang="en-US" dirty="0"/>
              <a:t>Drag picture to placeholder or click icon to add</a:t>
            </a:r>
          </a:p>
        </p:txBody>
      </p:sp>
      <p:sp>
        <p:nvSpPr>
          <p:cNvPr id="7" name="Text Placeholder 15"/>
          <p:cNvSpPr>
            <a:spLocks noGrp="1"/>
          </p:cNvSpPr>
          <p:nvPr>
            <p:ph type="body" sz="quarter" idx="18" hasCustomPrompt="1"/>
          </p:nvPr>
        </p:nvSpPr>
        <p:spPr>
          <a:xfrm>
            <a:off x="986456" y="362663"/>
            <a:ext cx="9250743" cy="826313"/>
          </a:xfrm>
          <a:prstGeom prst="rect">
            <a:avLst/>
          </a:prstGeom>
        </p:spPr>
        <p:txBody>
          <a:bodyPr/>
          <a:lstStyle>
            <a:lvl1pPr marL="0" indent="0">
              <a:lnSpc>
                <a:spcPct val="100000"/>
              </a:lnSpc>
              <a:spcBef>
                <a:spcPts val="0"/>
              </a:spcBef>
              <a:buFontTx/>
              <a:buNone/>
              <a:defRPr b="1" baseline="0">
                <a:solidFill>
                  <a:srgbClr val="EDAE00"/>
                </a:solidFill>
              </a:defRPr>
            </a:lvl1pPr>
          </a:lstStyle>
          <a:p>
            <a:pPr lvl="0"/>
            <a:r>
              <a:rPr lang="en-US" dirty="0"/>
              <a:t>Click to add titl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55059" y="376732"/>
            <a:ext cx="639240" cy="647997"/>
          </a:xfrm>
          <a:prstGeom prst="rect">
            <a:avLst/>
          </a:prstGeom>
        </p:spPr>
      </p:pic>
      <p:sp>
        <p:nvSpPr>
          <p:cNvPr id="12" name="Slide Number Placeholder 5"/>
          <p:cNvSpPr>
            <a:spLocks noGrp="1"/>
          </p:cNvSpPr>
          <p:nvPr>
            <p:ph type="sldNum" sz="quarter" idx="4"/>
          </p:nvPr>
        </p:nvSpPr>
        <p:spPr>
          <a:xfrm>
            <a:off x="-3" y="6132547"/>
            <a:ext cx="985767" cy="725453"/>
          </a:xfrm>
          <a:prstGeom prst="rect">
            <a:avLst/>
          </a:prstGeom>
        </p:spPr>
        <p:txBody>
          <a:bodyPr vert="horz" lIns="91440" tIns="45720" rIns="91440" bIns="45720" rtlCol="0" anchor="ctr"/>
          <a:lstStyle>
            <a:lvl1pPr algn="ctr">
              <a:defRPr sz="1200">
                <a:solidFill>
                  <a:srgbClr val="FFB944"/>
                </a:solidFill>
                <a:latin typeface=""/>
              </a:defRPr>
            </a:lvl1pPr>
          </a:lstStyle>
          <a:p>
            <a:fld id="{EBC262BB-4310-134F-8D24-58475080D942}" type="slidenum">
              <a:rPr lang="en-US" smtClean="0"/>
              <a:pPr/>
              <a:t>‹#›</a:t>
            </a:fld>
            <a:endParaRPr lang="en-US" dirty="0"/>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072" y="6390290"/>
            <a:ext cx="1326826" cy="177822"/>
          </a:xfrm>
          <a:prstGeom prst="rect">
            <a:avLst/>
          </a:prstGeom>
        </p:spPr>
      </p:pic>
    </p:spTree>
    <p:extLst>
      <p:ext uri="{BB962C8B-B14F-4D97-AF65-F5344CB8AC3E}">
        <p14:creationId xmlns:p14="http://schemas.microsoft.com/office/powerpoint/2010/main" val="21957845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 Pictures">
    <p:spTree>
      <p:nvGrpSpPr>
        <p:cNvPr id="1" name=""/>
        <p:cNvGrpSpPr/>
        <p:nvPr/>
      </p:nvGrpSpPr>
      <p:grpSpPr>
        <a:xfrm>
          <a:off x="0" y="0"/>
          <a:ext cx="0" cy="0"/>
          <a:chOff x="0" y="0"/>
          <a:chExt cx="0" cy="0"/>
        </a:xfrm>
      </p:grpSpPr>
      <p:sp>
        <p:nvSpPr>
          <p:cNvPr id="4" name="Picture Placeholder 13"/>
          <p:cNvSpPr>
            <a:spLocks noGrp="1"/>
          </p:cNvSpPr>
          <p:nvPr>
            <p:ph type="pic" sz="quarter" idx="16"/>
          </p:nvPr>
        </p:nvSpPr>
        <p:spPr>
          <a:xfrm>
            <a:off x="5761348" y="1928034"/>
            <a:ext cx="4347740" cy="2007032"/>
          </a:xfrm>
          <a:prstGeom prst="rect">
            <a:avLst/>
          </a:prstGeom>
        </p:spPr>
        <p:txBody>
          <a:bodyPr>
            <a:normAutofit/>
          </a:bodyPr>
          <a:lstStyle>
            <a:lvl1pPr marL="0" indent="0">
              <a:buFontTx/>
              <a:buNone/>
              <a:defRPr sz="2000">
                <a:solidFill>
                  <a:schemeClr val="tx1"/>
                </a:solidFill>
                <a:latin typeface="Arial" charset="0"/>
                <a:ea typeface="Arial" charset="0"/>
                <a:cs typeface="Arial" charset="0"/>
              </a:defRPr>
            </a:lvl1pPr>
          </a:lstStyle>
          <a:p>
            <a:r>
              <a:rPr lang="en-US" dirty="0"/>
              <a:t>Drag picture to placeholder or click icon to add</a:t>
            </a:r>
            <a:endParaRPr lang="pt-PT" dirty="0"/>
          </a:p>
        </p:txBody>
      </p:sp>
      <p:sp>
        <p:nvSpPr>
          <p:cNvPr id="5" name="Picture Placeholder 13"/>
          <p:cNvSpPr>
            <a:spLocks noGrp="1"/>
          </p:cNvSpPr>
          <p:nvPr>
            <p:ph type="pic" sz="quarter" idx="17"/>
          </p:nvPr>
        </p:nvSpPr>
        <p:spPr>
          <a:xfrm>
            <a:off x="5761348" y="4125515"/>
            <a:ext cx="4347740" cy="2007032"/>
          </a:xfrm>
          <a:prstGeom prst="rect">
            <a:avLst/>
          </a:prstGeom>
        </p:spPr>
        <p:txBody>
          <a:bodyPr>
            <a:normAutofit/>
          </a:bodyPr>
          <a:lstStyle>
            <a:lvl1pPr marL="0" indent="0">
              <a:buFontTx/>
              <a:buNone/>
              <a:defRPr sz="2000">
                <a:solidFill>
                  <a:schemeClr val="tx1"/>
                </a:solidFill>
                <a:latin typeface="Arial" charset="0"/>
                <a:ea typeface="Arial" charset="0"/>
                <a:cs typeface="Arial" charset="0"/>
              </a:defRPr>
            </a:lvl1pPr>
          </a:lstStyle>
          <a:p>
            <a:r>
              <a:rPr lang="en-US" dirty="0"/>
              <a:t>Drag picture to placeholder or click icon to add</a:t>
            </a:r>
            <a:endParaRPr lang="pt-PT" dirty="0"/>
          </a:p>
        </p:txBody>
      </p:sp>
      <p:sp>
        <p:nvSpPr>
          <p:cNvPr id="6" name="Picture Placeholder 13"/>
          <p:cNvSpPr>
            <a:spLocks noGrp="1"/>
          </p:cNvSpPr>
          <p:nvPr>
            <p:ph type="pic" sz="quarter" idx="18"/>
          </p:nvPr>
        </p:nvSpPr>
        <p:spPr>
          <a:xfrm>
            <a:off x="985764" y="1928034"/>
            <a:ext cx="4347740" cy="2007032"/>
          </a:xfrm>
          <a:prstGeom prst="rect">
            <a:avLst/>
          </a:prstGeom>
        </p:spPr>
        <p:txBody>
          <a:bodyPr>
            <a:normAutofit/>
          </a:bodyPr>
          <a:lstStyle>
            <a:lvl1pPr marL="0" indent="0">
              <a:buFontTx/>
              <a:buNone/>
              <a:defRPr sz="2000">
                <a:solidFill>
                  <a:schemeClr val="tx1"/>
                </a:solidFill>
                <a:latin typeface="Arial" charset="0"/>
                <a:ea typeface="Arial" charset="0"/>
                <a:cs typeface="Arial" charset="0"/>
              </a:defRPr>
            </a:lvl1pPr>
          </a:lstStyle>
          <a:p>
            <a:r>
              <a:rPr lang="en-US" dirty="0"/>
              <a:t>Drag picture to placeholder or click icon to add</a:t>
            </a:r>
            <a:endParaRPr lang="pt-PT" dirty="0"/>
          </a:p>
        </p:txBody>
      </p:sp>
      <p:sp>
        <p:nvSpPr>
          <p:cNvPr id="7" name="Picture Placeholder 13"/>
          <p:cNvSpPr>
            <a:spLocks noGrp="1"/>
          </p:cNvSpPr>
          <p:nvPr>
            <p:ph type="pic" sz="quarter" idx="19"/>
          </p:nvPr>
        </p:nvSpPr>
        <p:spPr>
          <a:xfrm>
            <a:off x="985764" y="4168805"/>
            <a:ext cx="4347740" cy="2007032"/>
          </a:xfrm>
          <a:prstGeom prst="rect">
            <a:avLst/>
          </a:prstGeom>
        </p:spPr>
        <p:txBody>
          <a:bodyPr>
            <a:normAutofit/>
          </a:bodyPr>
          <a:lstStyle>
            <a:lvl1pPr marL="0" indent="0">
              <a:buFontTx/>
              <a:buNone/>
              <a:defRPr sz="2000">
                <a:solidFill>
                  <a:schemeClr val="tx1"/>
                </a:solidFill>
                <a:latin typeface="Arial" charset="0"/>
                <a:ea typeface="Arial" charset="0"/>
                <a:cs typeface="Arial" charset="0"/>
              </a:defRPr>
            </a:lvl1pPr>
          </a:lstStyle>
          <a:p>
            <a:r>
              <a:rPr lang="en-US" dirty="0"/>
              <a:t>Drag picture to placeholder or click icon to add</a:t>
            </a:r>
            <a:endParaRPr lang="pt-PT" dirty="0"/>
          </a:p>
        </p:txBody>
      </p:sp>
      <p:sp>
        <p:nvSpPr>
          <p:cNvPr id="9" name="Text Placeholder 15"/>
          <p:cNvSpPr>
            <a:spLocks noGrp="1"/>
          </p:cNvSpPr>
          <p:nvPr>
            <p:ph type="body" sz="quarter" idx="11" hasCustomPrompt="1"/>
          </p:nvPr>
        </p:nvSpPr>
        <p:spPr>
          <a:xfrm>
            <a:off x="985764" y="362663"/>
            <a:ext cx="9123324" cy="826313"/>
          </a:xfrm>
          <a:prstGeom prst="rect">
            <a:avLst/>
          </a:prstGeom>
        </p:spPr>
        <p:txBody>
          <a:bodyPr/>
          <a:lstStyle>
            <a:lvl1pPr marL="0" indent="0">
              <a:lnSpc>
                <a:spcPct val="100000"/>
              </a:lnSpc>
              <a:spcBef>
                <a:spcPts val="0"/>
              </a:spcBef>
              <a:buFontTx/>
              <a:buNone/>
              <a:defRPr b="1" baseline="0">
                <a:solidFill>
                  <a:srgbClr val="EDAE00"/>
                </a:solidFill>
              </a:defRPr>
            </a:lvl1pPr>
          </a:lstStyle>
          <a:p>
            <a:pPr lvl="0"/>
            <a:r>
              <a:rPr lang="en-US" dirty="0"/>
              <a:t>Click to add titl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55059" y="376732"/>
            <a:ext cx="639240" cy="647997"/>
          </a:xfrm>
          <a:prstGeom prst="rect">
            <a:avLst/>
          </a:prstGeom>
        </p:spPr>
      </p:pic>
      <p:sp>
        <p:nvSpPr>
          <p:cNvPr id="13" name="Slide Number Placeholder 5"/>
          <p:cNvSpPr>
            <a:spLocks noGrp="1"/>
          </p:cNvSpPr>
          <p:nvPr>
            <p:ph type="sldNum" sz="quarter" idx="4"/>
          </p:nvPr>
        </p:nvSpPr>
        <p:spPr>
          <a:xfrm>
            <a:off x="-3" y="6132547"/>
            <a:ext cx="985767" cy="725453"/>
          </a:xfrm>
          <a:prstGeom prst="rect">
            <a:avLst/>
          </a:prstGeom>
        </p:spPr>
        <p:txBody>
          <a:bodyPr vert="horz" lIns="91440" tIns="45720" rIns="91440" bIns="45720" rtlCol="0" anchor="ctr"/>
          <a:lstStyle>
            <a:lvl1pPr algn="ctr">
              <a:defRPr sz="1200">
                <a:solidFill>
                  <a:srgbClr val="FFB944"/>
                </a:solidFill>
                <a:latin typeface=""/>
              </a:defRPr>
            </a:lvl1pPr>
          </a:lstStyle>
          <a:p>
            <a:fld id="{EBC262BB-4310-134F-8D24-58475080D942}" type="slidenum">
              <a:rPr lang="en-US" smtClean="0"/>
              <a:pPr/>
              <a:t>‹#›</a:t>
            </a:fld>
            <a:endParaRPr lang="en-US" dirty="0"/>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072" y="6390290"/>
            <a:ext cx="1326826" cy="177822"/>
          </a:xfrm>
          <a:prstGeom prst="rect">
            <a:avLst/>
          </a:prstGeom>
        </p:spPr>
      </p:pic>
    </p:spTree>
    <p:extLst>
      <p:ext uri="{BB962C8B-B14F-4D97-AF65-F5344CB8AC3E}">
        <p14:creationId xmlns:p14="http://schemas.microsoft.com/office/powerpoint/2010/main" val="34567823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4 Pictures">
    <p:spTree>
      <p:nvGrpSpPr>
        <p:cNvPr id="1" name=""/>
        <p:cNvGrpSpPr/>
        <p:nvPr/>
      </p:nvGrpSpPr>
      <p:grpSpPr>
        <a:xfrm>
          <a:off x="0" y="0"/>
          <a:ext cx="0" cy="0"/>
          <a:chOff x="0" y="0"/>
          <a:chExt cx="0" cy="0"/>
        </a:xfrm>
      </p:grpSpPr>
      <p:sp>
        <p:nvSpPr>
          <p:cNvPr id="9" name="Text Placeholder 15"/>
          <p:cNvSpPr>
            <a:spLocks noGrp="1"/>
          </p:cNvSpPr>
          <p:nvPr>
            <p:ph type="body" sz="quarter" idx="11" hasCustomPrompt="1"/>
          </p:nvPr>
        </p:nvSpPr>
        <p:spPr>
          <a:xfrm>
            <a:off x="985764" y="362663"/>
            <a:ext cx="9123324" cy="826313"/>
          </a:xfrm>
          <a:prstGeom prst="rect">
            <a:avLst/>
          </a:prstGeom>
        </p:spPr>
        <p:txBody>
          <a:bodyPr/>
          <a:lstStyle>
            <a:lvl1pPr marL="0" indent="0">
              <a:lnSpc>
                <a:spcPct val="100000"/>
              </a:lnSpc>
              <a:spcBef>
                <a:spcPts val="0"/>
              </a:spcBef>
              <a:buFontTx/>
              <a:buNone/>
              <a:defRPr b="1" baseline="0">
                <a:solidFill>
                  <a:srgbClr val="EDAE00"/>
                </a:solidFill>
              </a:defRPr>
            </a:lvl1pPr>
          </a:lstStyle>
          <a:p>
            <a:pPr lvl="0"/>
            <a:r>
              <a:rPr lang="en-US" dirty="0"/>
              <a:t>Click to add titl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55059" y="376732"/>
            <a:ext cx="639240" cy="647997"/>
          </a:xfrm>
          <a:prstGeom prst="rect">
            <a:avLst/>
          </a:prstGeom>
        </p:spPr>
      </p:pic>
      <p:sp>
        <p:nvSpPr>
          <p:cNvPr id="13" name="Slide Number Placeholder 5"/>
          <p:cNvSpPr>
            <a:spLocks noGrp="1"/>
          </p:cNvSpPr>
          <p:nvPr>
            <p:ph type="sldNum" sz="quarter" idx="4"/>
          </p:nvPr>
        </p:nvSpPr>
        <p:spPr>
          <a:xfrm>
            <a:off x="-3" y="6132547"/>
            <a:ext cx="985767" cy="725453"/>
          </a:xfrm>
          <a:prstGeom prst="rect">
            <a:avLst/>
          </a:prstGeom>
        </p:spPr>
        <p:txBody>
          <a:bodyPr vert="horz" lIns="91440" tIns="45720" rIns="91440" bIns="45720" rtlCol="0" anchor="ctr"/>
          <a:lstStyle>
            <a:lvl1pPr algn="ctr">
              <a:defRPr sz="1200">
                <a:solidFill>
                  <a:srgbClr val="FFB944"/>
                </a:solidFill>
                <a:latin typeface=""/>
              </a:defRPr>
            </a:lvl1pPr>
          </a:lstStyle>
          <a:p>
            <a:fld id="{EBC262BB-4310-134F-8D24-58475080D942}" type="slidenum">
              <a:rPr lang="en-US" smtClean="0"/>
              <a:pPr/>
              <a:t>‹#›</a:t>
            </a:fld>
            <a:endParaRPr lang="en-US" dirty="0"/>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072" y="6390290"/>
            <a:ext cx="1326826" cy="177822"/>
          </a:xfrm>
          <a:prstGeom prst="rect">
            <a:avLst/>
          </a:prstGeom>
        </p:spPr>
      </p:pic>
    </p:spTree>
    <p:extLst>
      <p:ext uri="{BB962C8B-B14F-4D97-AF65-F5344CB8AC3E}">
        <p14:creationId xmlns:p14="http://schemas.microsoft.com/office/powerpoint/2010/main" val="18018483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8686119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over">
    <p:bg>
      <p:bgPr>
        <a:solidFill>
          <a:srgbClr val="FFC944"/>
        </a:solidFill>
        <a:effectLst/>
      </p:bgPr>
    </p:bg>
    <p:spTree>
      <p:nvGrpSpPr>
        <p:cNvPr id="1" name=""/>
        <p:cNvGrpSpPr/>
        <p:nvPr/>
      </p:nvGrpSpPr>
      <p:grpSpPr>
        <a:xfrm>
          <a:off x="0" y="0"/>
          <a:ext cx="0" cy="0"/>
          <a:chOff x="0" y="0"/>
          <a:chExt cx="0" cy="0"/>
        </a:xfrm>
      </p:grpSpPr>
      <p:sp>
        <p:nvSpPr>
          <p:cNvPr id="3" name="Text Placeholder 14"/>
          <p:cNvSpPr>
            <a:spLocks noGrp="1"/>
          </p:cNvSpPr>
          <p:nvPr>
            <p:ph type="body" sz="quarter" idx="13" hasCustomPrompt="1"/>
          </p:nvPr>
        </p:nvSpPr>
        <p:spPr>
          <a:xfrm>
            <a:off x="985764" y="1884743"/>
            <a:ext cx="5561168" cy="1821600"/>
          </a:xfrm>
          <a:prstGeom prst="rect">
            <a:avLst/>
          </a:prstGeom>
        </p:spPr>
        <p:txBody>
          <a:bodyPr/>
          <a:lstStyle>
            <a:lvl1pPr marL="0" marR="0" indent="0" algn="l" defTabSz="457200" rtl="0" eaLnBrk="1" fontAlgn="auto" latinLnBrk="0" hangingPunct="1">
              <a:lnSpc>
                <a:spcPct val="100000"/>
              </a:lnSpc>
              <a:spcBef>
                <a:spcPts val="1800"/>
              </a:spcBef>
              <a:spcAft>
                <a:spcPts val="600"/>
              </a:spcAft>
              <a:buClrTx/>
              <a:buSzTx/>
              <a:buFont typeface="Arial"/>
              <a:buNone/>
              <a:tabLst/>
              <a:defRPr sz="2800" b="1" baseline="0">
                <a:solidFill>
                  <a:schemeClr val="tx1"/>
                </a:solidFill>
                <a:latin typeface="+mj-lt"/>
                <a:ea typeface="Arial" charset="0"/>
                <a:cs typeface="Arial" charset="0"/>
              </a:defRPr>
            </a:lvl1pPr>
            <a:lvl2pPr>
              <a:lnSpc>
                <a:spcPts val="3160"/>
              </a:lnSpc>
              <a:spcBef>
                <a:spcPts val="1800"/>
              </a:spcBef>
              <a:spcAft>
                <a:spcPts val="1200"/>
              </a:spcAft>
              <a:defRPr sz="2800" b="1">
                <a:solidFill>
                  <a:srgbClr val="FFFFFF"/>
                </a:solidFill>
              </a:defRPr>
            </a:lvl2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pt-PT" dirty="0" err="1"/>
              <a:t>Click</a:t>
            </a:r>
            <a:r>
              <a:rPr lang="pt-PT" dirty="0"/>
              <a:t> to </a:t>
            </a:r>
            <a:r>
              <a:rPr lang="pt-PT" dirty="0" err="1"/>
              <a:t>add</a:t>
            </a:r>
            <a:r>
              <a:rPr lang="pt-PT" dirty="0"/>
              <a:t> </a:t>
            </a:r>
            <a:r>
              <a:rPr lang="pt-PT" dirty="0" err="1"/>
              <a:t>text</a:t>
            </a:r>
            <a:r>
              <a:rPr lang="pt-PT" dirty="0"/>
              <a:t> – Nome </a:t>
            </a:r>
            <a:br>
              <a:rPr lang="pt-PT" dirty="0"/>
            </a:br>
            <a:r>
              <a:rPr lang="pt-PT" dirty="0"/>
              <a:t>da apresentação</a:t>
            </a:r>
          </a:p>
        </p:txBody>
      </p:sp>
      <p:sp>
        <p:nvSpPr>
          <p:cNvPr id="5" name="Text Placeholder 14"/>
          <p:cNvSpPr>
            <a:spLocks noGrp="1"/>
          </p:cNvSpPr>
          <p:nvPr>
            <p:ph type="body" sz="quarter" idx="14" hasCustomPrompt="1"/>
          </p:nvPr>
        </p:nvSpPr>
        <p:spPr>
          <a:xfrm>
            <a:off x="985764" y="4718689"/>
            <a:ext cx="5561168" cy="347690"/>
          </a:xfrm>
          <a:prstGeom prst="rect">
            <a:avLst/>
          </a:prstGeom>
        </p:spPr>
        <p:txBody>
          <a:bodyPr/>
          <a:lstStyle>
            <a:lvl1pPr marL="0" marR="0" indent="0" algn="l" defTabSz="457200" rtl="0" eaLnBrk="1" fontAlgn="auto" latinLnBrk="0" hangingPunct="1">
              <a:lnSpc>
                <a:spcPct val="100000"/>
              </a:lnSpc>
              <a:spcBef>
                <a:spcPts val="0"/>
              </a:spcBef>
              <a:spcAft>
                <a:spcPts val="0"/>
              </a:spcAft>
              <a:buClrTx/>
              <a:buSzTx/>
              <a:buFont typeface="Arial"/>
              <a:buNone/>
              <a:tabLst/>
              <a:defRPr sz="1600" b="0" baseline="0">
                <a:solidFill>
                  <a:schemeClr val="tx1"/>
                </a:solidFill>
                <a:latin typeface="+mn-lt"/>
                <a:ea typeface="Arial" charset="0"/>
                <a:cs typeface="Arial" charset="0"/>
              </a:defRPr>
            </a:lvl1pPr>
            <a:lvl2pPr>
              <a:lnSpc>
                <a:spcPts val="3160"/>
              </a:lnSpc>
              <a:spcBef>
                <a:spcPts val="1800"/>
              </a:spcBef>
              <a:spcAft>
                <a:spcPts val="1200"/>
              </a:spcAft>
              <a:defRPr sz="2800" b="1">
                <a:solidFill>
                  <a:srgbClr val="FFFFFF"/>
                </a:solidFill>
              </a:defRPr>
            </a:lvl2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pt-PT" dirty="0" err="1"/>
              <a:t>Click</a:t>
            </a:r>
            <a:r>
              <a:rPr lang="pt-PT" dirty="0"/>
              <a:t> to </a:t>
            </a:r>
            <a:r>
              <a:rPr lang="pt-PT" dirty="0" err="1"/>
              <a:t>add</a:t>
            </a:r>
            <a:r>
              <a:rPr lang="pt-PT" dirty="0"/>
              <a:t> </a:t>
            </a:r>
            <a:r>
              <a:rPr lang="pt-PT" dirty="0" err="1"/>
              <a:t>text</a:t>
            </a:r>
            <a:r>
              <a:rPr lang="pt-PT" dirty="0"/>
              <a:t> – local </a:t>
            </a:r>
          </a:p>
        </p:txBody>
      </p:sp>
      <p:sp>
        <p:nvSpPr>
          <p:cNvPr id="6" name="Text Placeholder 14"/>
          <p:cNvSpPr>
            <a:spLocks noGrp="1"/>
          </p:cNvSpPr>
          <p:nvPr>
            <p:ph type="body" sz="quarter" idx="15" hasCustomPrompt="1"/>
          </p:nvPr>
        </p:nvSpPr>
        <p:spPr>
          <a:xfrm>
            <a:off x="985764" y="4336963"/>
            <a:ext cx="5561168" cy="347690"/>
          </a:xfrm>
          <a:prstGeom prst="rect">
            <a:avLst/>
          </a:prstGeom>
        </p:spPr>
        <p:txBody>
          <a:bodyPr/>
          <a:lstStyle>
            <a:lvl1pPr marL="0" marR="0" indent="0" algn="l" defTabSz="457200" rtl="0" eaLnBrk="1" fontAlgn="auto" latinLnBrk="0" hangingPunct="1">
              <a:lnSpc>
                <a:spcPct val="100000"/>
              </a:lnSpc>
              <a:spcBef>
                <a:spcPts val="0"/>
              </a:spcBef>
              <a:spcAft>
                <a:spcPts val="0"/>
              </a:spcAft>
              <a:buClrTx/>
              <a:buSzTx/>
              <a:buFont typeface="Arial"/>
              <a:buNone/>
              <a:tabLst/>
              <a:defRPr sz="1600" b="1" baseline="0">
                <a:solidFill>
                  <a:schemeClr val="tx1"/>
                </a:solidFill>
                <a:latin typeface="+mn-lt"/>
                <a:ea typeface="Arial" charset="0"/>
                <a:cs typeface="Arial" charset="0"/>
              </a:defRPr>
            </a:lvl1pPr>
            <a:lvl2pPr>
              <a:lnSpc>
                <a:spcPts val="3160"/>
              </a:lnSpc>
              <a:spcBef>
                <a:spcPts val="1800"/>
              </a:spcBef>
              <a:spcAft>
                <a:spcPts val="1200"/>
              </a:spcAft>
              <a:defRPr sz="2800" b="1">
                <a:solidFill>
                  <a:srgbClr val="FFFFFF"/>
                </a:solidFill>
              </a:defRPr>
            </a:lvl2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pt-PT" dirty="0" err="1"/>
              <a:t>Click</a:t>
            </a:r>
            <a:r>
              <a:rPr lang="pt-PT" dirty="0"/>
              <a:t> to </a:t>
            </a:r>
            <a:r>
              <a:rPr lang="pt-PT" dirty="0" err="1"/>
              <a:t>add</a:t>
            </a:r>
            <a:r>
              <a:rPr lang="pt-PT" dirty="0"/>
              <a:t> </a:t>
            </a:r>
            <a:r>
              <a:rPr lang="pt-PT" dirty="0" err="1"/>
              <a:t>text</a:t>
            </a:r>
            <a:r>
              <a:rPr lang="pt-PT" dirty="0"/>
              <a:t> – Nome</a:t>
            </a:r>
          </a:p>
        </p:txBody>
      </p:sp>
      <p:sp>
        <p:nvSpPr>
          <p:cNvPr id="8" name="Text Placeholder 14"/>
          <p:cNvSpPr>
            <a:spLocks noGrp="1"/>
          </p:cNvSpPr>
          <p:nvPr>
            <p:ph type="body" sz="quarter" idx="16" hasCustomPrompt="1"/>
          </p:nvPr>
        </p:nvSpPr>
        <p:spPr>
          <a:xfrm>
            <a:off x="985764" y="5100415"/>
            <a:ext cx="5561168" cy="347690"/>
          </a:xfrm>
          <a:prstGeom prst="rect">
            <a:avLst/>
          </a:prstGeom>
        </p:spPr>
        <p:txBody>
          <a:bodyPr/>
          <a:lstStyle>
            <a:lvl1pPr marL="0" marR="0" indent="0" algn="l" defTabSz="457200" rtl="0" eaLnBrk="1" fontAlgn="auto" latinLnBrk="0" hangingPunct="1">
              <a:lnSpc>
                <a:spcPct val="100000"/>
              </a:lnSpc>
              <a:spcBef>
                <a:spcPts val="0"/>
              </a:spcBef>
              <a:spcAft>
                <a:spcPts val="0"/>
              </a:spcAft>
              <a:buClrTx/>
              <a:buSzTx/>
              <a:buFont typeface="Arial"/>
              <a:buNone/>
              <a:tabLst/>
              <a:defRPr sz="1600" b="0" baseline="0">
                <a:solidFill>
                  <a:schemeClr val="tx1"/>
                </a:solidFill>
                <a:latin typeface="+mn-lt"/>
                <a:ea typeface="Arial" charset="0"/>
                <a:cs typeface="Arial" charset="0"/>
              </a:defRPr>
            </a:lvl1pPr>
            <a:lvl2pPr>
              <a:lnSpc>
                <a:spcPts val="3160"/>
              </a:lnSpc>
              <a:spcBef>
                <a:spcPts val="1800"/>
              </a:spcBef>
              <a:spcAft>
                <a:spcPts val="1200"/>
              </a:spcAft>
              <a:defRPr sz="2800" b="1">
                <a:solidFill>
                  <a:srgbClr val="FFFFFF"/>
                </a:solidFill>
              </a:defRPr>
            </a:lvl2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pt-PT" dirty="0" err="1"/>
              <a:t>Click</a:t>
            </a:r>
            <a:r>
              <a:rPr lang="pt-PT" dirty="0"/>
              <a:t> to </a:t>
            </a:r>
            <a:r>
              <a:rPr lang="pt-PT" dirty="0" err="1"/>
              <a:t>add</a:t>
            </a:r>
            <a:r>
              <a:rPr lang="pt-PT" dirty="0"/>
              <a:t> </a:t>
            </a:r>
            <a:r>
              <a:rPr lang="pt-PT" dirty="0" err="1"/>
              <a:t>text</a:t>
            </a:r>
            <a:r>
              <a:rPr lang="pt-PT" dirty="0"/>
              <a:t> – Data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55059" y="376732"/>
            <a:ext cx="639241" cy="647997"/>
          </a:xfrm>
          <a:prstGeom prst="rect">
            <a:avLst/>
          </a:prstGeom>
        </p:spPr>
      </p:pic>
      <p:sp>
        <p:nvSpPr>
          <p:cNvPr id="9" name="Slide Number Placeholder 5"/>
          <p:cNvSpPr>
            <a:spLocks noGrp="1"/>
          </p:cNvSpPr>
          <p:nvPr>
            <p:ph type="sldNum" sz="quarter" idx="4"/>
          </p:nvPr>
        </p:nvSpPr>
        <p:spPr>
          <a:xfrm>
            <a:off x="-3" y="6132547"/>
            <a:ext cx="985767" cy="725453"/>
          </a:xfrm>
          <a:prstGeom prst="rect">
            <a:avLst/>
          </a:prstGeom>
        </p:spPr>
        <p:txBody>
          <a:bodyPr vert="horz" lIns="91440" tIns="45720" rIns="91440" bIns="45720" rtlCol="0" anchor="ctr"/>
          <a:lstStyle>
            <a:lvl1pPr algn="ctr">
              <a:defRPr sz="1200">
                <a:solidFill>
                  <a:schemeClr val="tx1"/>
                </a:solidFill>
                <a:latin typeface=""/>
              </a:defRPr>
            </a:lvl1pPr>
          </a:lstStyle>
          <a:p>
            <a:fld id="{EBC262BB-4310-134F-8D24-58475080D942}" type="slidenum">
              <a:rPr lang="en-US" smtClean="0"/>
              <a:pPr/>
              <a:t>‹#›</a:t>
            </a:fld>
            <a:endParaRPr lang="en-US" dirty="0"/>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072" y="6390290"/>
            <a:ext cx="1326825" cy="177822"/>
          </a:xfrm>
          <a:prstGeom prst="rect">
            <a:avLst/>
          </a:prstGeom>
        </p:spPr>
      </p:pic>
    </p:spTree>
    <p:extLst>
      <p:ext uri="{BB962C8B-B14F-4D97-AF65-F5344CB8AC3E}">
        <p14:creationId xmlns:p14="http://schemas.microsoft.com/office/powerpoint/2010/main" val="17151646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dex">
    <p:bg>
      <p:bgPr>
        <a:solidFill>
          <a:srgbClr val="000000"/>
        </a:solidFill>
        <a:effectLst/>
      </p:bgPr>
    </p:bg>
    <p:spTree>
      <p:nvGrpSpPr>
        <p:cNvPr id="1" name=""/>
        <p:cNvGrpSpPr/>
        <p:nvPr/>
      </p:nvGrpSpPr>
      <p:grpSpPr>
        <a:xfrm>
          <a:off x="0" y="0"/>
          <a:ext cx="0" cy="0"/>
          <a:chOff x="0" y="0"/>
          <a:chExt cx="0" cy="0"/>
        </a:xfrm>
      </p:grpSpPr>
      <p:sp>
        <p:nvSpPr>
          <p:cNvPr id="11" name="Text Placeholder 14"/>
          <p:cNvSpPr>
            <a:spLocks noGrp="1"/>
          </p:cNvSpPr>
          <p:nvPr>
            <p:ph type="body" sz="quarter" idx="13" hasCustomPrompt="1"/>
          </p:nvPr>
        </p:nvSpPr>
        <p:spPr>
          <a:xfrm>
            <a:off x="985764" y="1884742"/>
            <a:ext cx="10350126" cy="4247805"/>
          </a:xfrm>
          <a:prstGeom prst="rect">
            <a:avLst/>
          </a:prstGeom>
        </p:spPr>
        <p:txBody>
          <a:bodyPr/>
          <a:lstStyle>
            <a:lvl1pPr marL="0" marR="0" indent="0" algn="l" defTabSz="457200" rtl="0" eaLnBrk="1" fontAlgn="auto" latinLnBrk="0" hangingPunct="1">
              <a:lnSpc>
                <a:spcPct val="100000"/>
              </a:lnSpc>
              <a:spcBef>
                <a:spcPts val="1800"/>
              </a:spcBef>
              <a:spcAft>
                <a:spcPts val="600"/>
              </a:spcAft>
              <a:buClrTx/>
              <a:buSzTx/>
              <a:buFont typeface="Arial"/>
              <a:buNone/>
              <a:tabLst/>
              <a:defRPr sz="2800" b="1" baseline="0">
                <a:solidFill>
                  <a:srgbClr val="FFFFFF"/>
                </a:solidFill>
                <a:latin typeface="+mn-lt"/>
                <a:ea typeface="Arial" charset="0"/>
                <a:cs typeface="Arial" charset="0"/>
              </a:defRPr>
            </a:lvl1pPr>
            <a:lvl2pPr>
              <a:lnSpc>
                <a:spcPts val="3160"/>
              </a:lnSpc>
              <a:spcBef>
                <a:spcPts val="1800"/>
              </a:spcBef>
              <a:spcAft>
                <a:spcPts val="1200"/>
              </a:spcAft>
              <a:defRPr sz="2800" b="1">
                <a:solidFill>
                  <a:srgbClr val="FFFFFF"/>
                </a:solidFill>
              </a:defRPr>
            </a:lvl2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pt-PT" dirty="0" err="1"/>
              <a:t>Click</a:t>
            </a:r>
            <a:r>
              <a:rPr lang="pt-PT" dirty="0"/>
              <a:t> to </a:t>
            </a:r>
            <a:r>
              <a:rPr lang="pt-PT" dirty="0" err="1"/>
              <a:t>add</a:t>
            </a:r>
            <a:r>
              <a:rPr lang="pt-PT" dirty="0"/>
              <a:t> </a:t>
            </a:r>
            <a:r>
              <a:rPr lang="pt-PT" dirty="0" err="1"/>
              <a:t>text</a:t>
            </a:r>
            <a:r>
              <a:rPr lang="pt-PT" dirty="0"/>
              <a:t> – </a:t>
            </a:r>
            <a:r>
              <a:rPr lang="pt-PT" dirty="0" err="1"/>
              <a:t>Index</a:t>
            </a:r>
            <a:endParaRPr lang="pt-PT"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55059" y="376732"/>
            <a:ext cx="639240" cy="647997"/>
          </a:xfrm>
          <a:prstGeom prst="rect">
            <a:avLst/>
          </a:prstGeom>
        </p:spPr>
      </p:pic>
      <p:sp>
        <p:nvSpPr>
          <p:cNvPr id="7" name="Slide Number Placeholder 5"/>
          <p:cNvSpPr>
            <a:spLocks noGrp="1"/>
          </p:cNvSpPr>
          <p:nvPr>
            <p:ph type="sldNum" sz="quarter" idx="4"/>
          </p:nvPr>
        </p:nvSpPr>
        <p:spPr>
          <a:xfrm>
            <a:off x="-3" y="6132547"/>
            <a:ext cx="985767" cy="725453"/>
          </a:xfrm>
          <a:prstGeom prst="rect">
            <a:avLst/>
          </a:prstGeom>
        </p:spPr>
        <p:txBody>
          <a:bodyPr vert="horz" lIns="91440" tIns="45720" rIns="91440" bIns="45720" rtlCol="0" anchor="ctr"/>
          <a:lstStyle>
            <a:lvl1pPr algn="ctr">
              <a:defRPr sz="1200">
                <a:solidFill>
                  <a:srgbClr val="FFB944"/>
                </a:solidFill>
                <a:latin typeface=""/>
              </a:defRPr>
            </a:lvl1pPr>
          </a:lstStyle>
          <a:p>
            <a:fld id="{EBC262BB-4310-134F-8D24-58475080D942}" type="slidenum">
              <a:rPr lang="en-US" smtClean="0"/>
              <a:pPr/>
              <a:t>‹#›</a:t>
            </a:fld>
            <a:endParaRPr lang="en-US"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072" y="6390290"/>
            <a:ext cx="1326825" cy="177822"/>
          </a:xfrm>
          <a:prstGeom prst="rect">
            <a:avLst/>
          </a:prstGeom>
        </p:spPr>
      </p:pic>
    </p:spTree>
    <p:extLst>
      <p:ext uri="{BB962C8B-B14F-4D97-AF65-F5344CB8AC3E}">
        <p14:creationId xmlns:p14="http://schemas.microsoft.com/office/powerpoint/2010/main" val="19991327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parator">
    <p:bg>
      <p:bgPr>
        <a:solidFill>
          <a:srgbClr val="FFC944"/>
        </a:solidFill>
        <a:effectLst/>
      </p:bgPr>
    </p:bg>
    <p:spTree>
      <p:nvGrpSpPr>
        <p:cNvPr id="1" name=""/>
        <p:cNvGrpSpPr/>
        <p:nvPr/>
      </p:nvGrpSpPr>
      <p:grpSpPr>
        <a:xfrm>
          <a:off x="0" y="0"/>
          <a:ext cx="0" cy="0"/>
          <a:chOff x="0" y="0"/>
          <a:chExt cx="0" cy="0"/>
        </a:xfrm>
      </p:grpSpPr>
      <p:sp>
        <p:nvSpPr>
          <p:cNvPr id="12" name="Text Placeholder 14"/>
          <p:cNvSpPr>
            <a:spLocks noGrp="1"/>
          </p:cNvSpPr>
          <p:nvPr>
            <p:ph type="body" sz="quarter" idx="13" hasCustomPrompt="1"/>
          </p:nvPr>
        </p:nvSpPr>
        <p:spPr>
          <a:xfrm>
            <a:off x="985764" y="1884743"/>
            <a:ext cx="10350126" cy="4247804"/>
          </a:xfrm>
          <a:prstGeom prst="rect">
            <a:avLst/>
          </a:prstGeom>
        </p:spPr>
        <p:txBody>
          <a:bodyPr>
            <a:normAutofit/>
          </a:bodyPr>
          <a:lstStyle>
            <a:lvl1pPr marL="0" marR="0" indent="0" algn="l" defTabSz="457200" rtl="0" eaLnBrk="1" fontAlgn="auto" latinLnBrk="0" hangingPunct="1">
              <a:lnSpc>
                <a:spcPct val="100000"/>
              </a:lnSpc>
              <a:spcBef>
                <a:spcPts val="0"/>
              </a:spcBef>
              <a:spcAft>
                <a:spcPts val="0"/>
              </a:spcAft>
              <a:buClrTx/>
              <a:buSzTx/>
              <a:buFont typeface="Arial"/>
              <a:buNone/>
              <a:tabLst/>
              <a:defRPr sz="6000" b="1" baseline="0">
                <a:solidFill>
                  <a:schemeClr val="tx1"/>
                </a:solidFill>
                <a:latin typeface="+mj-lt"/>
                <a:ea typeface="Arial" charset="0"/>
                <a:cs typeface="Arial" charset="0"/>
              </a:defRPr>
            </a:lvl1pPr>
            <a:lvl2pPr>
              <a:lnSpc>
                <a:spcPct val="100000"/>
              </a:lnSpc>
              <a:spcBef>
                <a:spcPts val="0"/>
              </a:spcBef>
              <a:defRPr sz="2800">
                <a:solidFill>
                  <a:srgbClr val="FFFFFF"/>
                </a:solidFill>
              </a:defRPr>
            </a:lvl2pPr>
          </a:lstStyle>
          <a:p>
            <a:pPr lvl="0"/>
            <a:r>
              <a:rPr lang="pt-PT" dirty="0" err="1"/>
              <a:t>Click</a:t>
            </a:r>
            <a:r>
              <a:rPr lang="pt-PT" dirty="0"/>
              <a:t> to </a:t>
            </a:r>
            <a:r>
              <a:rPr lang="pt-PT" dirty="0" err="1"/>
              <a:t>add</a:t>
            </a:r>
            <a:r>
              <a:rPr lang="pt-PT" dirty="0"/>
              <a:t> </a:t>
            </a:r>
            <a:r>
              <a:rPr lang="pt-PT" dirty="0" err="1"/>
              <a:t>text</a:t>
            </a:r>
            <a:r>
              <a:rPr lang="pt-PT" dirty="0"/>
              <a:t> – </a:t>
            </a:r>
            <a:r>
              <a:rPr lang="pt-PT" dirty="0" err="1"/>
              <a:t>separator</a:t>
            </a:r>
            <a:endParaRPr lang="pt-PT"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55059" y="376732"/>
            <a:ext cx="639241" cy="647997"/>
          </a:xfrm>
          <a:prstGeom prst="rect">
            <a:avLst/>
          </a:prstGeom>
        </p:spPr>
      </p:pic>
      <p:sp>
        <p:nvSpPr>
          <p:cNvPr id="7" name="Slide Number Placeholder 5"/>
          <p:cNvSpPr>
            <a:spLocks noGrp="1"/>
          </p:cNvSpPr>
          <p:nvPr>
            <p:ph type="sldNum" sz="quarter" idx="4"/>
          </p:nvPr>
        </p:nvSpPr>
        <p:spPr>
          <a:xfrm>
            <a:off x="-3" y="6132547"/>
            <a:ext cx="985767" cy="725453"/>
          </a:xfrm>
          <a:prstGeom prst="rect">
            <a:avLst/>
          </a:prstGeom>
        </p:spPr>
        <p:txBody>
          <a:bodyPr vert="horz" lIns="91440" tIns="45720" rIns="91440" bIns="45720" rtlCol="0" anchor="ctr"/>
          <a:lstStyle>
            <a:lvl1pPr algn="ctr">
              <a:defRPr sz="1200">
                <a:solidFill>
                  <a:schemeClr val="tx1"/>
                </a:solidFill>
                <a:latin typeface=""/>
              </a:defRPr>
            </a:lvl1pPr>
          </a:lstStyle>
          <a:p>
            <a:fld id="{EBC262BB-4310-134F-8D24-58475080D942}" type="slidenum">
              <a:rPr lang="en-US" smtClean="0"/>
              <a:pPr/>
              <a:t>‹#›</a:t>
            </a:fld>
            <a:endParaRPr lang="en-US"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072" y="6390290"/>
            <a:ext cx="1326825" cy="177822"/>
          </a:xfrm>
          <a:prstGeom prst="rect">
            <a:avLst/>
          </a:prstGeom>
        </p:spPr>
      </p:pic>
    </p:spTree>
    <p:extLst>
      <p:ext uri="{BB962C8B-B14F-4D97-AF65-F5344CB8AC3E}">
        <p14:creationId xmlns:p14="http://schemas.microsoft.com/office/powerpoint/2010/main" val="6196028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1 column">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3" y="6132547"/>
            <a:ext cx="985767" cy="725453"/>
          </a:xfrm>
          <a:prstGeom prst="rect">
            <a:avLst/>
          </a:prstGeom>
        </p:spPr>
        <p:txBody>
          <a:bodyPr vert="horz" lIns="91440" tIns="45720" rIns="91440" bIns="45720" rtlCol="0" anchor="ctr"/>
          <a:lstStyle>
            <a:lvl1pPr algn="ctr">
              <a:defRPr sz="1200">
                <a:solidFill>
                  <a:srgbClr val="FFB944"/>
                </a:solidFill>
                <a:latin typeface=""/>
              </a:defRPr>
            </a:lvl1pPr>
          </a:lstStyle>
          <a:p>
            <a:fld id="{EBC262BB-4310-134F-8D24-58475080D942}" type="slidenum">
              <a:rPr lang="en-US" smtClean="0"/>
              <a:pPr/>
              <a:t>‹#›</a:t>
            </a:fld>
            <a:endParaRPr lang="en-US" dirty="0"/>
          </a:p>
        </p:txBody>
      </p:sp>
      <p:sp>
        <p:nvSpPr>
          <p:cNvPr id="17" name="Text Placeholder 15"/>
          <p:cNvSpPr>
            <a:spLocks noGrp="1"/>
          </p:cNvSpPr>
          <p:nvPr>
            <p:ph type="body" sz="quarter" idx="10" hasCustomPrompt="1"/>
          </p:nvPr>
        </p:nvSpPr>
        <p:spPr>
          <a:xfrm>
            <a:off x="985763" y="362663"/>
            <a:ext cx="9289894" cy="826313"/>
          </a:xfrm>
          <a:prstGeom prst="rect">
            <a:avLst/>
          </a:prstGeom>
        </p:spPr>
        <p:txBody>
          <a:bodyPr/>
          <a:lstStyle>
            <a:lvl1pPr marL="0" indent="0">
              <a:lnSpc>
                <a:spcPct val="100000"/>
              </a:lnSpc>
              <a:spcBef>
                <a:spcPts val="0"/>
              </a:spcBef>
              <a:buFontTx/>
              <a:buNone/>
              <a:defRPr b="1" baseline="0">
                <a:solidFill>
                  <a:srgbClr val="EDAE00"/>
                </a:solidFill>
              </a:defRPr>
            </a:lvl1pPr>
          </a:lstStyle>
          <a:p>
            <a:pPr lvl="0"/>
            <a:r>
              <a:rPr lang="en-US" dirty="0"/>
              <a:t>Click to add title</a:t>
            </a:r>
          </a:p>
        </p:txBody>
      </p:sp>
      <p:sp>
        <p:nvSpPr>
          <p:cNvPr id="26" name="Text Placeholder 24"/>
          <p:cNvSpPr>
            <a:spLocks noGrp="1"/>
          </p:cNvSpPr>
          <p:nvPr>
            <p:ph type="body" sz="quarter" idx="11" hasCustomPrompt="1"/>
          </p:nvPr>
        </p:nvSpPr>
        <p:spPr>
          <a:xfrm>
            <a:off x="985071" y="1884743"/>
            <a:ext cx="9290586" cy="4247804"/>
          </a:xfrm>
          <a:prstGeom prst="rect">
            <a:avLst/>
          </a:prstGeom>
        </p:spPr>
        <p:txBody>
          <a:bodyPr/>
          <a:lstStyle>
            <a:lvl1pPr marL="0" indent="0">
              <a:lnSpc>
                <a:spcPct val="100000"/>
              </a:lnSpc>
              <a:spcBef>
                <a:spcPts val="2200"/>
              </a:spcBef>
              <a:buFontTx/>
              <a:buNone/>
              <a:defRPr sz="2000">
                <a:solidFill>
                  <a:schemeClr val="tx1"/>
                </a:solidFill>
              </a:defRPr>
            </a:lvl1pPr>
          </a:lstStyle>
          <a:p>
            <a:pPr lvl="0"/>
            <a:r>
              <a:rPr lang="en-US" dirty="0"/>
              <a:t>Click to add text – 1 column</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55059" y="376732"/>
            <a:ext cx="639240" cy="647997"/>
          </a:xfrm>
          <a:prstGeom prst="rect">
            <a:avLst/>
          </a:prstGeom>
        </p:spPr>
      </p:pic>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072" y="6390290"/>
            <a:ext cx="1326826" cy="177822"/>
          </a:xfrm>
          <a:prstGeom prst="rect">
            <a:avLst/>
          </a:prstGeom>
        </p:spPr>
      </p:pic>
    </p:spTree>
    <p:extLst>
      <p:ext uri="{BB962C8B-B14F-4D97-AF65-F5344CB8AC3E}">
        <p14:creationId xmlns:p14="http://schemas.microsoft.com/office/powerpoint/2010/main" val="1176048104"/>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1 column bullets">
    <p:spTree>
      <p:nvGrpSpPr>
        <p:cNvPr id="1" name=""/>
        <p:cNvGrpSpPr/>
        <p:nvPr/>
      </p:nvGrpSpPr>
      <p:grpSpPr>
        <a:xfrm>
          <a:off x="0" y="0"/>
          <a:ext cx="0" cy="0"/>
          <a:chOff x="0" y="0"/>
          <a:chExt cx="0" cy="0"/>
        </a:xfrm>
      </p:grpSpPr>
      <p:sp>
        <p:nvSpPr>
          <p:cNvPr id="8" name="Text Placeholder 15"/>
          <p:cNvSpPr>
            <a:spLocks noGrp="1"/>
          </p:cNvSpPr>
          <p:nvPr>
            <p:ph type="body" sz="quarter" idx="10" hasCustomPrompt="1"/>
          </p:nvPr>
        </p:nvSpPr>
        <p:spPr>
          <a:xfrm>
            <a:off x="986457" y="362663"/>
            <a:ext cx="9289200" cy="826313"/>
          </a:xfrm>
          <a:prstGeom prst="rect">
            <a:avLst/>
          </a:prstGeom>
        </p:spPr>
        <p:txBody>
          <a:bodyPr/>
          <a:lstStyle>
            <a:lvl1pPr marL="0" indent="0">
              <a:lnSpc>
                <a:spcPct val="100000"/>
              </a:lnSpc>
              <a:spcBef>
                <a:spcPts val="0"/>
              </a:spcBef>
              <a:buFontTx/>
              <a:buNone/>
              <a:defRPr b="1" baseline="0">
                <a:solidFill>
                  <a:srgbClr val="EDAE00"/>
                </a:solidFill>
              </a:defRPr>
            </a:lvl1pPr>
          </a:lstStyle>
          <a:p>
            <a:pPr lvl="0"/>
            <a:r>
              <a:rPr lang="en-US" dirty="0"/>
              <a:t>Click to add title</a:t>
            </a:r>
          </a:p>
        </p:txBody>
      </p:sp>
      <p:sp>
        <p:nvSpPr>
          <p:cNvPr id="6" name="Text Placeholder 24"/>
          <p:cNvSpPr>
            <a:spLocks noGrp="1"/>
          </p:cNvSpPr>
          <p:nvPr>
            <p:ph type="body" sz="quarter" idx="11" hasCustomPrompt="1"/>
          </p:nvPr>
        </p:nvSpPr>
        <p:spPr>
          <a:xfrm>
            <a:off x="985071" y="1884743"/>
            <a:ext cx="9290586" cy="4247804"/>
          </a:xfrm>
          <a:prstGeom prst="rect">
            <a:avLst/>
          </a:prstGeom>
        </p:spPr>
        <p:txBody>
          <a:bodyPr/>
          <a:lstStyle>
            <a:lvl1pPr marL="342900" marR="0" indent="-342900" algn="l" defTabSz="914400" rtl="0" eaLnBrk="1" fontAlgn="auto" latinLnBrk="0" hangingPunct="1">
              <a:lnSpc>
                <a:spcPct val="100000"/>
              </a:lnSpc>
              <a:spcBef>
                <a:spcPts val="2200"/>
              </a:spcBef>
              <a:spcAft>
                <a:spcPts val="0"/>
              </a:spcAft>
              <a:buClr>
                <a:srgbClr val="EDAE00"/>
              </a:buClr>
              <a:buSzTx/>
              <a:buFont typeface="Arial" charset="0"/>
              <a:buChar char="•"/>
              <a:tabLst/>
              <a:defRPr sz="2000">
                <a:solidFill>
                  <a:schemeClr val="tx1"/>
                </a:solidFill>
              </a:defRPr>
            </a:lvl1pPr>
          </a:lstStyle>
          <a:p>
            <a:pPr marL="342900" marR="0" lvl="0" indent="-342900" algn="l" defTabSz="914400" rtl="0" eaLnBrk="1" fontAlgn="auto" latinLnBrk="0" hangingPunct="1">
              <a:lnSpc>
                <a:spcPct val="100000"/>
              </a:lnSpc>
              <a:spcBef>
                <a:spcPts val="2200"/>
              </a:spcBef>
              <a:spcAft>
                <a:spcPts val="0"/>
              </a:spcAft>
              <a:buClr>
                <a:srgbClr val="EDAE00"/>
              </a:buClr>
              <a:buSzTx/>
              <a:buFont typeface="Arial" charset="0"/>
              <a:buChar char="•"/>
              <a:tabLst/>
              <a:defRPr/>
            </a:pPr>
            <a:r>
              <a:rPr lang="en-US" dirty="0"/>
              <a:t>Click to add text – 1 column bullets </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55059" y="376732"/>
            <a:ext cx="639240" cy="647997"/>
          </a:xfrm>
          <a:prstGeom prst="rect">
            <a:avLst/>
          </a:prstGeom>
        </p:spPr>
      </p:pic>
      <p:sp>
        <p:nvSpPr>
          <p:cNvPr id="11" name="Slide Number Placeholder 5"/>
          <p:cNvSpPr>
            <a:spLocks noGrp="1"/>
          </p:cNvSpPr>
          <p:nvPr>
            <p:ph type="sldNum" sz="quarter" idx="4"/>
          </p:nvPr>
        </p:nvSpPr>
        <p:spPr>
          <a:xfrm>
            <a:off x="-3" y="6132547"/>
            <a:ext cx="985767" cy="725453"/>
          </a:xfrm>
          <a:prstGeom prst="rect">
            <a:avLst/>
          </a:prstGeom>
        </p:spPr>
        <p:txBody>
          <a:bodyPr vert="horz" lIns="91440" tIns="45720" rIns="91440" bIns="45720" rtlCol="0" anchor="ctr"/>
          <a:lstStyle>
            <a:lvl1pPr algn="ctr">
              <a:defRPr sz="1200">
                <a:solidFill>
                  <a:srgbClr val="FFB944"/>
                </a:solidFill>
                <a:latin typeface=""/>
              </a:defRPr>
            </a:lvl1pPr>
          </a:lstStyle>
          <a:p>
            <a:fld id="{EBC262BB-4310-134F-8D24-58475080D942}" type="slidenum">
              <a:rPr lang="en-US" smtClean="0"/>
              <a:pPr/>
              <a:t>‹#›</a:t>
            </a:fld>
            <a:endParaRPr lang="en-US" dirty="0"/>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072" y="6390290"/>
            <a:ext cx="1326826" cy="177822"/>
          </a:xfrm>
          <a:prstGeom prst="rect">
            <a:avLst/>
          </a:prstGeom>
        </p:spPr>
      </p:pic>
    </p:spTree>
    <p:extLst>
      <p:ext uri="{BB962C8B-B14F-4D97-AF65-F5344CB8AC3E}">
        <p14:creationId xmlns:p14="http://schemas.microsoft.com/office/powerpoint/2010/main" val="4930196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2 columns">
    <p:spTree>
      <p:nvGrpSpPr>
        <p:cNvPr id="1" name=""/>
        <p:cNvGrpSpPr/>
        <p:nvPr/>
      </p:nvGrpSpPr>
      <p:grpSpPr>
        <a:xfrm>
          <a:off x="0" y="0"/>
          <a:ext cx="0" cy="0"/>
          <a:chOff x="0" y="0"/>
          <a:chExt cx="0" cy="0"/>
        </a:xfrm>
      </p:grpSpPr>
      <p:sp>
        <p:nvSpPr>
          <p:cNvPr id="10" name="Text Placeholder 15"/>
          <p:cNvSpPr>
            <a:spLocks noGrp="1"/>
          </p:cNvSpPr>
          <p:nvPr>
            <p:ph type="body" sz="quarter" idx="10" hasCustomPrompt="1"/>
          </p:nvPr>
        </p:nvSpPr>
        <p:spPr>
          <a:xfrm>
            <a:off x="986456" y="362663"/>
            <a:ext cx="9289201" cy="826313"/>
          </a:xfrm>
          <a:prstGeom prst="rect">
            <a:avLst/>
          </a:prstGeom>
        </p:spPr>
        <p:txBody>
          <a:bodyPr/>
          <a:lstStyle>
            <a:lvl1pPr marL="0" indent="0">
              <a:lnSpc>
                <a:spcPct val="100000"/>
              </a:lnSpc>
              <a:spcBef>
                <a:spcPts val="0"/>
              </a:spcBef>
              <a:buFontTx/>
              <a:buNone/>
              <a:defRPr b="1" baseline="0">
                <a:solidFill>
                  <a:srgbClr val="EDAE00"/>
                </a:solidFill>
              </a:defRPr>
            </a:lvl1pPr>
          </a:lstStyle>
          <a:p>
            <a:pPr lvl="0"/>
            <a:r>
              <a:rPr lang="en-US" dirty="0"/>
              <a:t>Click to add title</a:t>
            </a:r>
          </a:p>
        </p:txBody>
      </p:sp>
      <p:sp>
        <p:nvSpPr>
          <p:cNvPr id="12" name="Text Placeholder 24"/>
          <p:cNvSpPr>
            <a:spLocks noGrp="1"/>
          </p:cNvSpPr>
          <p:nvPr>
            <p:ph type="body" sz="quarter" idx="11" hasCustomPrompt="1"/>
          </p:nvPr>
        </p:nvSpPr>
        <p:spPr>
          <a:xfrm>
            <a:off x="985764" y="1884743"/>
            <a:ext cx="4464676" cy="4247804"/>
          </a:xfrm>
          <a:prstGeom prst="rect">
            <a:avLst/>
          </a:prstGeom>
        </p:spPr>
        <p:txBody>
          <a:bodyPr/>
          <a:lstStyle>
            <a:lvl1pPr marL="0" indent="0">
              <a:lnSpc>
                <a:spcPct val="100000"/>
              </a:lnSpc>
              <a:spcBef>
                <a:spcPts val="2200"/>
              </a:spcBef>
              <a:buFontTx/>
              <a:buNone/>
              <a:defRPr sz="2000">
                <a:solidFill>
                  <a:schemeClr val="tx1"/>
                </a:solidFill>
              </a:defRPr>
            </a:lvl1pPr>
          </a:lstStyle>
          <a:p>
            <a:pPr lvl="0"/>
            <a:r>
              <a:rPr lang="en-US" dirty="0"/>
              <a:t>Click to add text – 2 columns</a:t>
            </a:r>
          </a:p>
        </p:txBody>
      </p:sp>
      <p:sp>
        <p:nvSpPr>
          <p:cNvPr id="13" name="Text Placeholder 24"/>
          <p:cNvSpPr>
            <a:spLocks noGrp="1"/>
          </p:cNvSpPr>
          <p:nvPr>
            <p:ph type="body" sz="quarter" idx="12" hasCustomPrompt="1"/>
          </p:nvPr>
        </p:nvSpPr>
        <p:spPr>
          <a:xfrm>
            <a:off x="5810982" y="1884743"/>
            <a:ext cx="4464676" cy="4247804"/>
          </a:xfrm>
          <a:prstGeom prst="rect">
            <a:avLst/>
          </a:prstGeom>
        </p:spPr>
        <p:txBody>
          <a:bodyPr/>
          <a:lstStyle>
            <a:lvl1pPr marL="0" indent="0">
              <a:lnSpc>
                <a:spcPct val="100000"/>
              </a:lnSpc>
              <a:spcBef>
                <a:spcPts val="2200"/>
              </a:spcBef>
              <a:buFontTx/>
              <a:buNone/>
              <a:defRPr sz="2000">
                <a:solidFill>
                  <a:schemeClr val="tx1"/>
                </a:solidFill>
              </a:defRPr>
            </a:lvl1pPr>
          </a:lstStyle>
          <a:p>
            <a:pPr lvl="0"/>
            <a:r>
              <a:rPr lang="en-US" dirty="0"/>
              <a:t>Click to add text – 2 columns</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55059" y="376732"/>
            <a:ext cx="639240" cy="647997"/>
          </a:xfrm>
          <a:prstGeom prst="rect">
            <a:avLst/>
          </a:prstGeom>
        </p:spPr>
      </p:pic>
      <p:sp>
        <p:nvSpPr>
          <p:cNvPr id="9" name="Slide Number Placeholder 5"/>
          <p:cNvSpPr>
            <a:spLocks noGrp="1"/>
          </p:cNvSpPr>
          <p:nvPr>
            <p:ph type="sldNum" sz="quarter" idx="4"/>
          </p:nvPr>
        </p:nvSpPr>
        <p:spPr>
          <a:xfrm>
            <a:off x="-3" y="6132547"/>
            <a:ext cx="985767" cy="725453"/>
          </a:xfrm>
          <a:prstGeom prst="rect">
            <a:avLst/>
          </a:prstGeom>
        </p:spPr>
        <p:txBody>
          <a:bodyPr vert="horz" lIns="91440" tIns="45720" rIns="91440" bIns="45720" rtlCol="0" anchor="ctr"/>
          <a:lstStyle>
            <a:lvl1pPr algn="ctr">
              <a:defRPr sz="1200">
                <a:solidFill>
                  <a:srgbClr val="FFB944"/>
                </a:solidFill>
                <a:latin typeface=""/>
              </a:defRPr>
            </a:lvl1pPr>
          </a:lstStyle>
          <a:p>
            <a:fld id="{EBC262BB-4310-134F-8D24-58475080D942}" type="slidenum">
              <a:rPr lang="en-US" smtClean="0"/>
              <a:pPr/>
              <a:t>‹#›</a:t>
            </a:fld>
            <a:endParaRPr lang="en-US" dirty="0"/>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072" y="6390290"/>
            <a:ext cx="1326826" cy="177822"/>
          </a:xfrm>
          <a:prstGeom prst="rect">
            <a:avLst/>
          </a:prstGeom>
        </p:spPr>
      </p:pic>
    </p:spTree>
    <p:extLst>
      <p:ext uri="{BB962C8B-B14F-4D97-AF65-F5344CB8AC3E}">
        <p14:creationId xmlns:p14="http://schemas.microsoft.com/office/powerpoint/2010/main" val="9030663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2 column bullets">
    <p:spTree>
      <p:nvGrpSpPr>
        <p:cNvPr id="1" name=""/>
        <p:cNvGrpSpPr/>
        <p:nvPr/>
      </p:nvGrpSpPr>
      <p:grpSpPr>
        <a:xfrm>
          <a:off x="0" y="0"/>
          <a:ext cx="0" cy="0"/>
          <a:chOff x="0" y="0"/>
          <a:chExt cx="0" cy="0"/>
        </a:xfrm>
      </p:grpSpPr>
      <p:sp>
        <p:nvSpPr>
          <p:cNvPr id="9" name="Text Placeholder 15"/>
          <p:cNvSpPr>
            <a:spLocks noGrp="1"/>
          </p:cNvSpPr>
          <p:nvPr>
            <p:ph type="body" sz="quarter" idx="11" hasCustomPrompt="1"/>
          </p:nvPr>
        </p:nvSpPr>
        <p:spPr>
          <a:xfrm>
            <a:off x="986456" y="362663"/>
            <a:ext cx="9289201" cy="826313"/>
          </a:xfrm>
          <a:prstGeom prst="rect">
            <a:avLst/>
          </a:prstGeom>
        </p:spPr>
        <p:txBody>
          <a:bodyPr/>
          <a:lstStyle>
            <a:lvl1pPr marL="0" indent="0">
              <a:lnSpc>
                <a:spcPct val="100000"/>
              </a:lnSpc>
              <a:spcBef>
                <a:spcPts val="0"/>
              </a:spcBef>
              <a:buFontTx/>
              <a:buNone/>
              <a:defRPr b="1" baseline="0">
                <a:solidFill>
                  <a:srgbClr val="EDAE00"/>
                </a:solidFill>
              </a:defRPr>
            </a:lvl1pPr>
          </a:lstStyle>
          <a:p>
            <a:pPr lvl="0"/>
            <a:r>
              <a:rPr lang="en-US" dirty="0"/>
              <a:t>Click to add title</a:t>
            </a:r>
          </a:p>
        </p:txBody>
      </p:sp>
      <p:sp>
        <p:nvSpPr>
          <p:cNvPr id="7" name="Text Placeholder 24"/>
          <p:cNvSpPr>
            <a:spLocks noGrp="1"/>
          </p:cNvSpPr>
          <p:nvPr>
            <p:ph type="body" sz="quarter" idx="12" hasCustomPrompt="1"/>
          </p:nvPr>
        </p:nvSpPr>
        <p:spPr>
          <a:xfrm>
            <a:off x="985764" y="1884743"/>
            <a:ext cx="4464676" cy="4247804"/>
          </a:xfrm>
          <a:prstGeom prst="rect">
            <a:avLst/>
          </a:prstGeom>
        </p:spPr>
        <p:txBody>
          <a:bodyPr/>
          <a:lstStyle>
            <a:lvl1pPr marL="342900" indent="-342900">
              <a:lnSpc>
                <a:spcPct val="100000"/>
              </a:lnSpc>
              <a:spcBef>
                <a:spcPts val="2200"/>
              </a:spcBef>
              <a:buClr>
                <a:srgbClr val="EDAE00"/>
              </a:buClr>
              <a:buFont typeface="Arial" charset="0"/>
              <a:buChar char="•"/>
              <a:defRPr sz="2000" baseline="0">
                <a:solidFill>
                  <a:schemeClr val="tx1"/>
                </a:solidFill>
              </a:defRPr>
            </a:lvl1pPr>
          </a:lstStyle>
          <a:p>
            <a:pPr lvl="0"/>
            <a:r>
              <a:rPr lang="en-US" dirty="0"/>
              <a:t>Click to add text – 2 columns bullets </a:t>
            </a:r>
          </a:p>
        </p:txBody>
      </p:sp>
      <p:sp>
        <p:nvSpPr>
          <p:cNvPr id="8" name="Text Placeholder 24"/>
          <p:cNvSpPr>
            <a:spLocks noGrp="1"/>
          </p:cNvSpPr>
          <p:nvPr>
            <p:ph type="body" sz="quarter" idx="13" hasCustomPrompt="1"/>
          </p:nvPr>
        </p:nvSpPr>
        <p:spPr>
          <a:xfrm>
            <a:off x="5810982" y="1884743"/>
            <a:ext cx="4464676" cy="4247804"/>
          </a:xfrm>
          <a:prstGeom prst="rect">
            <a:avLst/>
          </a:prstGeom>
        </p:spPr>
        <p:txBody>
          <a:bodyPr/>
          <a:lstStyle>
            <a:lvl1pPr marL="342900" marR="0" indent="-342900" algn="l" defTabSz="914400" rtl="0" eaLnBrk="1" fontAlgn="auto" latinLnBrk="0" hangingPunct="1">
              <a:lnSpc>
                <a:spcPct val="100000"/>
              </a:lnSpc>
              <a:spcBef>
                <a:spcPts val="2200"/>
              </a:spcBef>
              <a:spcAft>
                <a:spcPts val="0"/>
              </a:spcAft>
              <a:buClr>
                <a:srgbClr val="EDAE00"/>
              </a:buClr>
              <a:buSzTx/>
              <a:buFont typeface="Arial" charset="0"/>
              <a:buChar char="•"/>
              <a:tabLst/>
              <a:defRPr sz="2000">
                <a:solidFill>
                  <a:schemeClr val="tx1"/>
                </a:solidFill>
              </a:defRPr>
            </a:lvl1pPr>
          </a:lstStyle>
          <a:p>
            <a:pPr marL="342900" marR="0" lvl="0" indent="-342900" algn="l" defTabSz="914400" rtl="0" eaLnBrk="1" fontAlgn="auto" latinLnBrk="0" hangingPunct="1">
              <a:lnSpc>
                <a:spcPct val="100000"/>
              </a:lnSpc>
              <a:spcBef>
                <a:spcPts val="2200"/>
              </a:spcBef>
              <a:spcAft>
                <a:spcPts val="0"/>
              </a:spcAft>
              <a:buClr>
                <a:srgbClr val="EDAE00"/>
              </a:buClr>
              <a:buSzTx/>
              <a:buFont typeface="Arial" charset="0"/>
              <a:buChar char="•"/>
              <a:tabLst/>
              <a:defRPr/>
            </a:pPr>
            <a:r>
              <a:rPr lang="en-US" dirty="0"/>
              <a:t>Click to add text – 2 columns bullets </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55059" y="376732"/>
            <a:ext cx="639240" cy="647997"/>
          </a:xfrm>
          <a:prstGeom prst="rect">
            <a:avLst/>
          </a:prstGeom>
        </p:spPr>
      </p:pic>
      <p:sp>
        <p:nvSpPr>
          <p:cNvPr id="12" name="Slide Number Placeholder 5"/>
          <p:cNvSpPr>
            <a:spLocks noGrp="1"/>
          </p:cNvSpPr>
          <p:nvPr>
            <p:ph type="sldNum" sz="quarter" idx="4"/>
          </p:nvPr>
        </p:nvSpPr>
        <p:spPr>
          <a:xfrm>
            <a:off x="-3" y="6132547"/>
            <a:ext cx="985767" cy="725453"/>
          </a:xfrm>
          <a:prstGeom prst="rect">
            <a:avLst/>
          </a:prstGeom>
        </p:spPr>
        <p:txBody>
          <a:bodyPr vert="horz" lIns="91440" tIns="45720" rIns="91440" bIns="45720" rtlCol="0" anchor="ctr"/>
          <a:lstStyle>
            <a:lvl1pPr algn="ctr">
              <a:defRPr sz="1200">
                <a:solidFill>
                  <a:srgbClr val="FFB944"/>
                </a:solidFill>
                <a:latin typeface=""/>
              </a:defRPr>
            </a:lvl1pPr>
          </a:lstStyle>
          <a:p>
            <a:fld id="{EBC262BB-4310-134F-8D24-58475080D942}" type="slidenum">
              <a:rPr lang="en-US" smtClean="0"/>
              <a:pPr/>
              <a:t>‹#›</a:t>
            </a:fld>
            <a:endParaRPr lang="en-US" dirty="0"/>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072" y="6390290"/>
            <a:ext cx="1326826" cy="177822"/>
          </a:xfrm>
          <a:prstGeom prst="rect">
            <a:avLst/>
          </a:prstGeom>
        </p:spPr>
      </p:pic>
    </p:spTree>
    <p:extLst>
      <p:ext uri="{BB962C8B-B14F-4D97-AF65-F5344CB8AC3E}">
        <p14:creationId xmlns:p14="http://schemas.microsoft.com/office/powerpoint/2010/main" val="26536010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lumn bullets + 1 Picture">
    <p:spTree>
      <p:nvGrpSpPr>
        <p:cNvPr id="1" name=""/>
        <p:cNvGrpSpPr/>
        <p:nvPr/>
      </p:nvGrpSpPr>
      <p:grpSpPr>
        <a:xfrm>
          <a:off x="0" y="0"/>
          <a:ext cx="0" cy="0"/>
          <a:chOff x="0" y="0"/>
          <a:chExt cx="0" cy="0"/>
        </a:xfrm>
      </p:grpSpPr>
      <p:sp>
        <p:nvSpPr>
          <p:cNvPr id="11" name="Text Placeholder 15"/>
          <p:cNvSpPr>
            <a:spLocks noGrp="1"/>
          </p:cNvSpPr>
          <p:nvPr>
            <p:ph type="body" sz="quarter" idx="11" hasCustomPrompt="1"/>
          </p:nvPr>
        </p:nvSpPr>
        <p:spPr>
          <a:xfrm>
            <a:off x="986457" y="362663"/>
            <a:ext cx="9123324" cy="826313"/>
          </a:xfrm>
          <a:prstGeom prst="rect">
            <a:avLst/>
          </a:prstGeom>
        </p:spPr>
        <p:txBody>
          <a:bodyPr/>
          <a:lstStyle>
            <a:lvl1pPr marL="0" indent="0">
              <a:lnSpc>
                <a:spcPct val="100000"/>
              </a:lnSpc>
              <a:spcBef>
                <a:spcPts val="0"/>
              </a:spcBef>
              <a:buFontTx/>
              <a:buNone/>
              <a:defRPr b="1" baseline="0">
                <a:solidFill>
                  <a:srgbClr val="EDAE00"/>
                </a:solidFill>
              </a:defRPr>
            </a:lvl1pPr>
          </a:lstStyle>
          <a:p>
            <a:pPr lvl="0"/>
            <a:r>
              <a:rPr lang="en-US" dirty="0"/>
              <a:t>Click to add title</a:t>
            </a:r>
          </a:p>
        </p:txBody>
      </p:sp>
      <p:sp>
        <p:nvSpPr>
          <p:cNvPr id="8" name="Picture Placeholder 13"/>
          <p:cNvSpPr>
            <a:spLocks noGrp="1"/>
          </p:cNvSpPr>
          <p:nvPr>
            <p:ph type="pic" sz="quarter" idx="16"/>
          </p:nvPr>
        </p:nvSpPr>
        <p:spPr>
          <a:xfrm>
            <a:off x="5762041" y="1875939"/>
            <a:ext cx="4347740" cy="4256937"/>
          </a:xfrm>
          <a:prstGeom prst="rect">
            <a:avLst/>
          </a:prstGeom>
        </p:spPr>
        <p:txBody>
          <a:bodyPr>
            <a:normAutofit/>
          </a:bodyPr>
          <a:lstStyle>
            <a:lvl1pPr marL="0" indent="0">
              <a:buFontTx/>
              <a:buNone/>
              <a:defRPr sz="2000">
                <a:solidFill>
                  <a:schemeClr val="tx1"/>
                </a:solidFill>
                <a:latin typeface="Arial" charset="0"/>
                <a:ea typeface="Arial" charset="0"/>
                <a:cs typeface="Arial" charset="0"/>
              </a:defRPr>
            </a:lvl1pPr>
          </a:lstStyle>
          <a:p>
            <a:r>
              <a:rPr lang="en-US" dirty="0"/>
              <a:t>Drag picture to placeholder or click icon to add</a:t>
            </a:r>
            <a:endParaRPr lang="pt-PT" dirty="0"/>
          </a:p>
        </p:txBody>
      </p:sp>
      <p:sp>
        <p:nvSpPr>
          <p:cNvPr id="7" name="Text Placeholder 24"/>
          <p:cNvSpPr>
            <a:spLocks noGrp="1"/>
          </p:cNvSpPr>
          <p:nvPr>
            <p:ph type="body" sz="quarter" idx="17" hasCustomPrompt="1"/>
          </p:nvPr>
        </p:nvSpPr>
        <p:spPr>
          <a:xfrm>
            <a:off x="985764" y="1884743"/>
            <a:ext cx="4464676" cy="4247804"/>
          </a:xfrm>
          <a:prstGeom prst="rect">
            <a:avLst/>
          </a:prstGeom>
        </p:spPr>
        <p:txBody>
          <a:bodyPr/>
          <a:lstStyle>
            <a:lvl1pPr marL="342900" indent="-342900">
              <a:lnSpc>
                <a:spcPct val="100000"/>
              </a:lnSpc>
              <a:spcBef>
                <a:spcPts val="2200"/>
              </a:spcBef>
              <a:buClr>
                <a:srgbClr val="EDAE00"/>
              </a:buClr>
              <a:buFont typeface="Arial" charset="0"/>
              <a:buChar char="•"/>
              <a:defRPr sz="2000" baseline="0">
                <a:solidFill>
                  <a:schemeClr val="tx1"/>
                </a:solidFill>
              </a:defRPr>
            </a:lvl1pPr>
          </a:lstStyle>
          <a:p>
            <a:pPr lvl="0"/>
            <a:r>
              <a:rPr lang="en-US" dirty="0"/>
              <a:t>Click to add text – Column bullets  +  1 Pictu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55059" y="376732"/>
            <a:ext cx="639240" cy="647997"/>
          </a:xfrm>
          <a:prstGeom prst="rect">
            <a:avLst/>
          </a:prstGeom>
        </p:spPr>
      </p:pic>
      <p:sp>
        <p:nvSpPr>
          <p:cNvPr id="12" name="Slide Number Placeholder 5"/>
          <p:cNvSpPr>
            <a:spLocks noGrp="1"/>
          </p:cNvSpPr>
          <p:nvPr>
            <p:ph type="sldNum" sz="quarter" idx="4"/>
          </p:nvPr>
        </p:nvSpPr>
        <p:spPr>
          <a:xfrm>
            <a:off x="-3" y="6132547"/>
            <a:ext cx="985767" cy="725453"/>
          </a:xfrm>
          <a:prstGeom prst="rect">
            <a:avLst/>
          </a:prstGeom>
        </p:spPr>
        <p:txBody>
          <a:bodyPr vert="horz" lIns="91440" tIns="45720" rIns="91440" bIns="45720" rtlCol="0" anchor="ctr"/>
          <a:lstStyle>
            <a:lvl1pPr algn="ctr">
              <a:defRPr sz="1200">
                <a:solidFill>
                  <a:srgbClr val="FFB944"/>
                </a:solidFill>
                <a:latin typeface=""/>
              </a:defRPr>
            </a:lvl1pPr>
          </a:lstStyle>
          <a:p>
            <a:fld id="{EBC262BB-4310-134F-8D24-58475080D942}" type="slidenum">
              <a:rPr lang="en-US" smtClean="0"/>
              <a:pPr/>
              <a:t>‹#›</a:t>
            </a:fld>
            <a:endParaRPr lang="en-US" dirty="0"/>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5072" y="6390290"/>
            <a:ext cx="1326826" cy="177822"/>
          </a:xfrm>
          <a:prstGeom prst="rect">
            <a:avLst/>
          </a:prstGeom>
        </p:spPr>
      </p:pic>
    </p:spTree>
    <p:extLst>
      <p:ext uri="{BB962C8B-B14F-4D97-AF65-F5344CB8AC3E}">
        <p14:creationId xmlns:p14="http://schemas.microsoft.com/office/powerpoint/2010/main" val="34322280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8959475"/>
      </p:ext>
    </p:extLst>
  </p:cSld>
  <p:clrMap bg1="lt1" tx1="dk1" bg2="lt2" tx2="dk2" accent1="accent1" accent2="accent2" accent3="accent3" accent4="accent4" accent5="accent5" accent6="accent6" hlink="hlink" folHlink="folHlink"/>
  <p:sldLayoutIdLst>
    <p:sldLayoutId id="2147483684" r:id="rId1"/>
    <p:sldLayoutId id="2147483717" r:id="rId2"/>
    <p:sldLayoutId id="2147483685" r:id="rId3"/>
    <p:sldLayoutId id="2147483687" r:id="rId4"/>
    <p:sldLayoutId id="2147483694" r:id="rId5"/>
    <p:sldLayoutId id="2147483688" r:id="rId6"/>
    <p:sldLayoutId id="2147483696" r:id="rId7"/>
    <p:sldLayoutId id="2147483689" r:id="rId8"/>
    <p:sldLayoutId id="2147483691" r:id="rId9"/>
    <p:sldLayoutId id="2147483712" r:id="rId10"/>
    <p:sldLayoutId id="2147483693" r:id="rId11"/>
    <p:sldLayoutId id="2147483715" r:id="rId12"/>
    <p:sldLayoutId id="2147483719" r:id="rId13"/>
    <p:sldLayoutId id="2147483718" r:id="rId14"/>
  </p:sldLayoutIdLst>
  <p:hf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www.sites.google.com/site/smartappliancesproject" TargetMode="External"/><Relationship Id="rId2" Type="http://schemas.openxmlformats.org/officeDocument/2006/relationships/notesSlide" Target="../notesSlides/notesSlide7.xml"/><Relationship Id="rId1" Type="http://schemas.openxmlformats.org/officeDocument/2006/relationships/slideLayout" Target="../slideLayouts/slideLayout6.xml"/><Relationship Id="rId4" Type="http://schemas.openxmlformats.org/officeDocument/2006/relationships/image" Target="../media/image10.png"/></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openxmlformats.org/officeDocument/2006/relationships/image" Target="../media/image23.png"/><Relationship Id="rId5" Type="http://schemas.openxmlformats.org/officeDocument/2006/relationships/image" Target="../media/image10.png"/><Relationship Id="rId4" Type="http://schemas.openxmlformats.org/officeDocument/2006/relationships/hyperlink" Target="https://saref.etsi.org/" TargetMode="External"/></Relationships>
</file>

<file path=ppt/slides/_rels/slide16.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24.jpg"/><Relationship Id="rId7" Type="http://schemas.openxmlformats.org/officeDocument/2006/relationships/image" Target="../media/image10.png"/><Relationship Id="rId2" Type="http://schemas.openxmlformats.org/officeDocument/2006/relationships/notesSlide" Target="../notesSlides/notesSlide12.xml"/><Relationship Id="rId1" Type="http://schemas.openxmlformats.org/officeDocument/2006/relationships/slideLayout" Target="../slideLayouts/slideLayout13.xml"/><Relationship Id="rId6" Type="http://schemas.openxmlformats.org/officeDocument/2006/relationships/hyperlink" Target="https://www.etsi.org/deliver/etsi_ts/103200_103299/103264/01.01.01_60/ts_103264v010101p.pdf" TargetMode="External"/><Relationship Id="rId5" Type="http://schemas.openxmlformats.org/officeDocument/2006/relationships/hyperlink" Target="http://www.etsi.org/deliver/etsi_ts/103200_103299/103264/02.01.01_60/ts_103264v020101p.pdf" TargetMode="External"/><Relationship Id="rId4" Type="http://schemas.openxmlformats.org/officeDocument/2006/relationships/hyperlink" Target="https://www.etsi.org/deliver/etsi_ts/103200_103299/103264/03.01.01_60/ts_103264v030101p.pdf" TargetMode="External"/></Relationships>
</file>

<file path=ppt/slides/_rels/slide17.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hyperlink" Target="https://saref.etsi.org/core/" TargetMode="External"/><Relationship Id="rId7" Type="http://schemas.openxmlformats.org/officeDocument/2006/relationships/image" Target="../media/image10.png"/><Relationship Id="rId2" Type="http://schemas.openxmlformats.org/officeDocument/2006/relationships/notesSlide" Target="../notesSlides/notesSlide13.xml"/><Relationship Id="rId1" Type="http://schemas.openxmlformats.org/officeDocument/2006/relationships/slideLayout" Target="../slideLayouts/slideLayout13.xml"/><Relationship Id="rId6" Type="http://schemas.openxmlformats.org/officeDocument/2006/relationships/hyperlink" Target="https://saref.etsi.org/core/Device" TargetMode="External"/><Relationship Id="rId5" Type="http://schemas.openxmlformats.org/officeDocument/2006/relationships/image" Target="../media/image26.png"/><Relationship Id="rId4" Type="http://schemas.openxmlformats.org/officeDocument/2006/relationships/image" Target="../media/image25.jpeg"/></Relationships>
</file>

<file path=ppt/slides/_rels/slide18.xml.rels><?xml version="1.0" encoding="UTF-8" standalone="yes"?>
<Relationships xmlns="http://schemas.openxmlformats.org/package/2006/relationships"><Relationship Id="rId3" Type="http://schemas.openxmlformats.org/officeDocument/2006/relationships/image" Target="../media/image27.jpeg"/><Relationship Id="rId7" Type="http://schemas.openxmlformats.org/officeDocument/2006/relationships/image" Target="../media/image23.png"/><Relationship Id="rId2" Type="http://schemas.openxmlformats.org/officeDocument/2006/relationships/notesSlide" Target="../notesSlides/notesSlide14.xml"/><Relationship Id="rId1" Type="http://schemas.openxmlformats.org/officeDocument/2006/relationships/slideLayout" Target="../slideLayouts/slideLayout13.xml"/><Relationship Id="rId6" Type="http://schemas.openxmlformats.org/officeDocument/2006/relationships/image" Target="../media/image10.png"/><Relationship Id="rId5" Type="http://schemas.openxmlformats.org/officeDocument/2006/relationships/hyperlink" Target="https://forge.etsi.org/rep/SAREF" TargetMode="External"/><Relationship Id="rId4" Type="http://schemas.openxmlformats.org/officeDocument/2006/relationships/hyperlink" Target="mailto:maxime.lefrancois@emse.fr" TargetMode="External"/></Relationships>
</file>

<file path=ppt/slides/_rels/slide19.xml.rels><?xml version="1.0" encoding="UTF-8" standalone="yes"?>
<Relationships xmlns="http://schemas.openxmlformats.org/package/2006/relationships"><Relationship Id="rId3" Type="http://schemas.openxmlformats.org/officeDocument/2006/relationships/hyperlink" Target="mailto:maxime.lefrancois@emse.fr" TargetMode="External"/><Relationship Id="rId7" Type="http://schemas.openxmlformats.org/officeDocument/2006/relationships/image" Target="../media/image23.png"/><Relationship Id="rId2" Type="http://schemas.openxmlformats.org/officeDocument/2006/relationships/notesSlide" Target="../notesSlides/notesSlide15.xml"/><Relationship Id="rId1" Type="http://schemas.openxmlformats.org/officeDocument/2006/relationships/slideLayout" Target="../slideLayouts/slideLayout13.xml"/><Relationship Id="rId6" Type="http://schemas.openxmlformats.org/officeDocument/2006/relationships/image" Target="../media/image10.png"/><Relationship Id="rId5" Type="http://schemas.openxmlformats.org/officeDocument/2006/relationships/hyperlink" Target="https://forge.etsi.org/rep/SAREF/saref-pipeline" TargetMode="External"/><Relationship Id="rId4" Type="http://schemas.openxmlformats.org/officeDocument/2006/relationships/image" Target="../media/image28.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hyperlink" Target="https://portal.etsi.org/STF/STFs/STF-HomePages/STF556" TargetMode="External"/><Relationship Id="rId3" Type="http://schemas.openxmlformats.org/officeDocument/2006/relationships/hyperlink" Target="https://saref.etsi.org/" TargetMode="External"/><Relationship Id="rId7" Type="http://schemas.openxmlformats.org/officeDocument/2006/relationships/hyperlink" Target="ETSI%20STF%20578" TargetMode="External"/><Relationship Id="rId12" Type="http://schemas.openxmlformats.org/officeDocument/2006/relationships/image" Target="../media/image23.png"/><Relationship Id="rId2" Type="http://schemas.openxmlformats.org/officeDocument/2006/relationships/notesSlide" Target="../notesSlides/notesSlide16.xml"/><Relationship Id="rId1" Type="http://schemas.openxmlformats.org/officeDocument/2006/relationships/slideLayout" Target="../slideLayouts/slideLayout13.xml"/><Relationship Id="rId6" Type="http://schemas.openxmlformats.org/officeDocument/2006/relationships/hyperlink" Target="https://www.etsi.org/deliver/etsi_ts/103600_103699/103673/01.01.01_60/ts_103673v010101p.pdf" TargetMode="External"/><Relationship Id="rId11" Type="http://schemas.openxmlformats.org/officeDocument/2006/relationships/image" Target="../media/image10.png"/><Relationship Id="rId5" Type="http://schemas.openxmlformats.org/officeDocument/2006/relationships/hyperlink" Target="https://saref.etsi.org/sources/saref-pipeline/" TargetMode="External"/><Relationship Id="rId10" Type="http://schemas.openxmlformats.org/officeDocument/2006/relationships/hyperlink" Target="https://saref.etsi.org/extensions.html" TargetMode="External"/><Relationship Id="rId4" Type="http://schemas.openxmlformats.org/officeDocument/2006/relationships/hyperlink" Target="SAREF%20sources" TargetMode="External"/><Relationship Id="rId9" Type="http://schemas.openxmlformats.org/officeDocument/2006/relationships/image" Target="../media/image29.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8" Type="http://schemas.openxmlformats.org/officeDocument/2006/relationships/hyperlink" Target="ETSI%20TS%20103%20410-3%20V1.1.2%20(2020-05):%20&#8220;SmartM2M;%20Extension%20to%20SAREF;%20Part%203:%20Building%20Domain&#8221;" TargetMode="External"/><Relationship Id="rId3" Type="http://schemas.openxmlformats.org/officeDocument/2006/relationships/hyperlink" Target="https://saref.etsi.org/extensions.html#SAREF4BLDG" TargetMode="External"/><Relationship Id="rId7" Type="http://schemas.openxmlformats.org/officeDocument/2006/relationships/hyperlink" Target="https://saref.etsi.org/saref4bldg/V1.1.2/" TargetMode="External"/><Relationship Id="rId2" Type="http://schemas.openxmlformats.org/officeDocument/2006/relationships/notesSlide" Target="../notesSlides/notesSlide18.xml"/><Relationship Id="rId1" Type="http://schemas.openxmlformats.org/officeDocument/2006/relationships/slideLayout" Target="../slideLayouts/slideLayout13.xml"/><Relationship Id="rId6" Type="http://schemas.openxmlformats.org/officeDocument/2006/relationships/hyperlink" Target="https://saref.etsi.org/sources/saref4bldg" TargetMode="External"/><Relationship Id="rId11" Type="http://schemas.openxmlformats.org/officeDocument/2006/relationships/image" Target="../media/image23.png"/><Relationship Id="rId5" Type="http://schemas.openxmlformats.org/officeDocument/2006/relationships/hyperlink" Target="ETSI%20TS%20103%20410-1%20V1.1.2%20(2020-05):%20&#8220;SmartM2M;%20Extension%20to%20SAREF;%20Part%203:%20Building%20Domain&#8221;" TargetMode="External"/><Relationship Id="rId10" Type="http://schemas.openxmlformats.org/officeDocument/2006/relationships/image" Target="../media/image10.png"/><Relationship Id="rId4" Type="http://schemas.openxmlformats.org/officeDocument/2006/relationships/hyperlink" Target="https://saref.etsi.org/saref4bldg/" TargetMode="External"/><Relationship Id="rId9" Type="http://schemas.openxmlformats.org/officeDocument/2006/relationships/hyperlink" Target="ETSI%20TS%20103%20410-3%20V1.1.1%20(2017-01):%20&#8220;SmartM2M;%20Extension%20to%20SAREF;%20Part%203:%20Building%20Domain&#8221;"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19.xml"/><Relationship Id="rId1" Type="http://schemas.openxmlformats.org/officeDocument/2006/relationships/slideLayout" Target="../slideLayouts/slideLayout11.xml"/><Relationship Id="rId5" Type="http://schemas.openxmlformats.org/officeDocument/2006/relationships/image" Target="../media/image23.png"/><Relationship Id="rId4" Type="http://schemas.openxmlformats.org/officeDocument/2006/relationships/image" Target="../media/image10.png"/></Relationships>
</file>

<file path=ppt/slides/_rels/slide24.xml.rels><?xml version="1.0" encoding="UTF-8" standalone="yes"?>
<Relationships xmlns="http://schemas.openxmlformats.org/package/2006/relationships"><Relationship Id="rId8" Type="http://schemas.openxmlformats.org/officeDocument/2006/relationships/hyperlink" Target="ETSI%20TS%20103%20410-3%20V1.1.2%20(2020-05):%20&#8220;SmartM2M;%20Extension%20to%20SAREF;%20Part%203:%20Building%20Domain&#8221;" TargetMode="External"/><Relationship Id="rId3" Type="http://schemas.openxmlformats.org/officeDocument/2006/relationships/hyperlink" Target="https://saref.etsi.org/extensions.html#SAREF4ENER" TargetMode="External"/><Relationship Id="rId7" Type="http://schemas.openxmlformats.org/officeDocument/2006/relationships/hyperlink" Target="https://saref.etsi.org/saref4bldg/V1.1.2/" TargetMode="External"/><Relationship Id="rId2" Type="http://schemas.openxmlformats.org/officeDocument/2006/relationships/notesSlide" Target="../notesSlides/notesSlide20.xml"/><Relationship Id="rId1" Type="http://schemas.openxmlformats.org/officeDocument/2006/relationships/slideLayout" Target="../slideLayouts/slideLayout13.xml"/><Relationship Id="rId6" Type="http://schemas.openxmlformats.org/officeDocument/2006/relationships/hyperlink" Target="https://saref.etsi.org/sources/saref4ener/" TargetMode="External"/><Relationship Id="rId11" Type="http://schemas.openxmlformats.org/officeDocument/2006/relationships/image" Target="../media/image23.png"/><Relationship Id="rId5" Type="http://schemas.openxmlformats.org/officeDocument/2006/relationships/hyperlink" Target="ETSI%20TS%20103%20410-1%20V1.1.2%20(2020-05):%20&#8220;SmartM2M;%20Extension%20to%20SAREF;%20Part%203:%20Building%20Domain&#8221;" TargetMode="External"/><Relationship Id="rId10" Type="http://schemas.openxmlformats.org/officeDocument/2006/relationships/image" Target="../media/image10.png"/><Relationship Id="rId4" Type="http://schemas.openxmlformats.org/officeDocument/2006/relationships/hyperlink" Target="https://saref.etsi.org/saref4ener/" TargetMode="External"/><Relationship Id="rId9" Type="http://schemas.openxmlformats.org/officeDocument/2006/relationships/hyperlink" Target="ETSI%20TS%20103%20410-3%20V1.1.1%20(2017-01):%20&#8220;SmartM2M;%20Extension%20to%20SAREF;%20Part%203:%20Building%20Domain&#8221;" TargetMode="External"/></Relationships>
</file>

<file path=ppt/slides/_rels/slide2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13.xml"/><Relationship Id="rId7" Type="http://schemas.openxmlformats.org/officeDocument/2006/relationships/image" Target="../media/image32.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1.emf"/><Relationship Id="rId5" Type="http://schemas.openxmlformats.org/officeDocument/2006/relationships/oleObject" Target="../embeddings/oleObject2.bin"/><Relationship Id="rId4" Type="http://schemas.openxmlformats.org/officeDocument/2006/relationships/notesSlide" Target="../notesSlides/notesSlide21.xml"/><Relationship Id="rId9" Type="http://schemas.openxmlformats.org/officeDocument/2006/relationships/image" Target="../media/image23.png"/></Relationships>
</file>

<file path=ppt/slides/_rels/slide26.xml.rels><?xml version="1.0" encoding="UTF-8" standalone="yes"?>
<Relationships xmlns="http://schemas.openxmlformats.org/package/2006/relationships"><Relationship Id="rId8" Type="http://schemas.openxmlformats.org/officeDocument/2006/relationships/hyperlink" Target="ETSI%20TS%20103%20410-3%20V1.1.2%20(2020-05):%20&#8220;SmartM2M;%20Extension%20to%20SAREF;%20Part%203:%20Building%20Domain&#8221;" TargetMode="External"/><Relationship Id="rId3" Type="http://schemas.openxmlformats.org/officeDocument/2006/relationships/hyperlink" Target="https://saref.etsi.org/extensions.html#SAREF4CITY" TargetMode="External"/><Relationship Id="rId7" Type="http://schemas.openxmlformats.org/officeDocument/2006/relationships/hyperlink" Target="https://saref.etsi.org/saref4bldg/V1.1.2/" TargetMode="External"/><Relationship Id="rId2" Type="http://schemas.openxmlformats.org/officeDocument/2006/relationships/notesSlide" Target="../notesSlides/notesSlide22.xml"/><Relationship Id="rId1" Type="http://schemas.openxmlformats.org/officeDocument/2006/relationships/slideLayout" Target="../slideLayouts/slideLayout13.xml"/><Relationship Id="rId6" Type="http://schemas.openxmlformats.org/officeDocument/2006/relationships/hyperlink" Target="https://saref.etsi.org/sources/saref4ener/" TargetMode="External"/><Relationship Id="rId11" Type="http://schemas.openxmlformats.org/officeDocument/2006/relationships/image" Target="../media/image23.png"/><Relationship Id="rId5" Type="http://schemas.openxmlformats.org/officeDocument/2006/relationships/hyperlink" Target="ETSI%20TS%20103%20410-1%20V1.1.2%20(2020-05):%20&#8220;SmartM2M;%20Extension%20to%20SAREF;%20Part%203:%20Building%20Domain&#8221;" TargetMode="External"/><Relationship Id="rId10" Type="http://schemas.openxmlformats.org/officeDocument/2006/relationships/image" Target="../media/image10.png"/><Relationship Id="rId4" Type="http://schemas.openxmlformats.org/officeDocument/2006/relationships/hyperlink" Target="https://saref.etsi.org/saref4city/" TargetMode="External"/><Relationship Id="rId9" Type="http://schemas.openxmlformats.org/officeDocument/2006/relationships/hyperlink" Target="ETSI%20TS%20103%20410-3%20V1.1.1%20(2017-01):%20&#8220;SmartM2M;%20Extension%20to%20SAREF;%20Part%203:%20Building%20Domain&#8221;"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3.png"/><Relationship Id="rId1" Type="http://schemas.openxmlformats.org/officeDocument/2006/relationships/slideLayout" Target="../slideLayouts/slideLayout11.xml"/><Relationship Id="rId4" Type="http://schemas.openxmlformats.org/officeDocument/2006/relationships/image" Target="../media/image23.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3.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34.jpeg"/><Relationship Id="rId7" Type="http://schemas.openxmlformats.org/officeDocument/2006/relationships/image" Target="../media/image10.png"/><Relationship Id="rId2" Type="http://schemas.openxmlformats.org/officeDocument/2006/relationships/notesSlide" Target="../notesSlides/notesSlide24.xml"/><Relationship Id="rId1" Type="http://schemas.openxmlformats.org/officeDocument/2006/relationships/slideLayout" Target="../slideLayouts/slideLayout13.xml"/><Relationship Id="rId6" Type="http://schemas.openxmlformats.org/officeDocument/2006/relationships/image" Target="../media/image37.jpg"/><Relationship Id="rId5" Type="http://schemas.openxmlformats.org/officeDocument/2006/relationships/image" Target="../media/image36.png"/><Relationship Id="rId4" Type="http://schemas.openxmlformats.org/officeDocument/2006/relationships/image" Target="../media/image35.png"/></Relationships>
</file>

<file path=ppt/slides/_rels/slide31.xml.rels><?xml version="1.0" encoding="UTF-8" standalone="yes"?>
<Relationships xmlns="http://schemas.openxmlformats.org/package/2006/relationships"><Relationship Id="rId3" Type="http://schemas.openxmlformats.org/officeDocument/2006/relationships/hyperlink" Target="https://saref.etsi.org/" TargetMode="External"/><Relationship Id="rId2" Type="http://schemas.openxmlformats.org/officeDocument/2006/relationships/notesSlide" Target="../notesSlides/notesSlide25.xml"/><Relationship Id="rId1" Type="http://schemas.openxmlformats.org/officeDocument/2006/relationships/slideLayout" Target="../slideLayouts/slideLayout13.xml"/><Relationship Id="rId4" Type="http://schemas.openxmlformats.org/officeDocument/2006/relationships/image" Target="../media/image10.png"/></Relationships>
</file>

<file path=ppt/slides/_rels/slide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8.jpeg"/><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6.xml"/><Relationship Id="rId7" Type="http://schemas.openxmlformats.org/officeDocument/2006/relationships/image" Target="../media/image39.jpe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1.emf"/><Relationship Id="rId5" Type="http://schemas.openxmlformats.org/officeDocument/2006/relationships/oleObject" Target="../embeddings/oleObject3.bin"/><Relationship Id="rId4" Type="http://schemas.openxmlformats.org/officeDocument/2006/relationships/notesSlide" Target="../notesSlides/notesSlide28.xml"/></Relationships>
</file>

<file path=ppt/slides/_rels/slide3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6.xml"/><Relationship Id="rId7" Type="http://schemas.openxmlformats.org/officeDocument/2006/relationships/hyperlink" Target="https://portal.etsi.org/STF/STFs/STF-HomePages/STF578" TargetMode="Externa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31.emf"/><Relationship Id="rId5" Type="http://schemas.openxmlformats.org/officeDocument/2006/relationships/oleObject" Target="../embeddings/oleObject4.bin"/><Relationship Id="rId4" Type="http://schemas.openxmlformats.org/officeDocument/2006/relationships/notesSlide" Target="../notesSlides/notesSlide29.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10.png"/><Relationship Id="rId5" Type="http://schemas.openxmlformats.org/officeDocument/2006/relationships/hyperlink" Target="https://nl.linkedin.com/in/lauradaniele" TargetMode="External"/><Relationship Id="rId4" Type="http://schemas.openxmlformats.org/officeDocument/2006/relationships/hyperlink" Target="mailto:laura.daniele@tno.nl"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notesSlide" Target="../notesSlides/notesSlide33.xml"/><Relationship Id="rId1" Type="http://schemas.openxmlformats.org/officeDocument/2006/relationships/slideLayout" Target="../slideLayouts/slideLayout5.xml"/><Relationship Id="rId4" Type="http://schemas.openxmlformats.org/officeDocument/2006/relationships/hyperlink" Target="https://interconnectproject.eu/" TargetMode="External"/></Relationships>
</file>

<file path=ppt/slides/_rels/slide4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1.png"/><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7.xml"/><Relationship Id="rId7" Type="http://schemas.openxmlformats.org/officeDocument/2006/relationships/image" Target="../media/image31.emf"/><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34.xml"/><Relationship Id="rId4" Type="http://schemas.openxmlformats.org/officeDocument/2006/relationships/slideLayout" Target="../slideLayouts/slideLayout11.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10.png"/><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31.emf"/><Relationship Id="rId5" Type="http://schemas.openxmlformats.org/officeDocument/2006/relationships/oleObject" Target="../embeddings/oleObject6.bin"/><Relationship Id="rId4" Type="http://schemas.openxmlformats.org/officeDocument/2006/relationships/notesSlide" Target="../notesSlides/notesSlide35.xml"/></Relationships>
</file>

<file path=ppt/slides/_rels/slide46.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5.xml"/><Relationship Id="rId7" Type="http://schemas.openxmlformats.org/officeDocument/2006/relationships/image" Target="../media/image42.png"/><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31.emf"/><Relationship Id="rId5" Type="http://schemas.openxmlformats.org/officeDocument/2006/relationships/oleObject" Target="../embeddings/oleObject7.bin"/><Relationship Id="rId4" Type="http://schemas.openxmlformats.org/officeDocument/2006/relationships/notesSlide" Target="../notesSlides/notesSlide36.xml"/></Relationships>
</file>

<file path=ppt/slides/_rels/slide4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7.xml"/><Relationship Id="rId1" Type="http://schemas.openxmlformats.org/officeDocument/2006/relationships/slideLayout" Target="../slideLayouts/slideLayout5.xml"/><Relationship Id="rId4" Type="http://schemas.openxmlformats.org/officeDocument/2006/relationships/image" Target="../media/image10.png"/></Relationships>
</file>

<file path=ppt/slides/_rels/slide48.xml.rels><?xml version="1.0" encoding="UTF-8" standalone="yes"?>
<Relationships xmlns="http://schemas.openxmlformats.org/package/2006/relationships"><Relationship Id="rId13" Type="http://schemas.openxmlformats.org/officeDocument/2006/relationships/image" Target="../media/image47.png"/><Relationship Id="rId18" Type="http://schemas.openxmlformats.org/officeDocument/2006/relationships/image" Target="../media/image52.png"/><Relationship Id="rId26" Type="http://schemas.openxmlformats.org/officeDocument/2006/relationships/image" Target="../media/image60.png"/><Relationship Id="rId39" Type="http://schemas.openxmlformats.org/officeDocument/2006/relationships/image" Target="../media/image73.png"/><Relationship Id="rId21" Type="http://schemas.openxmlformats.org/officeDocument/2006/relationships/image" Target="../media/image55.png"/><Relationship Id="rId34" Type="http://schemas.openxmlformats.org/officeDocument/2006/relationships/image" Target="../media/image68.png"/><Relationship Id="rId42" Type="http://schemas.openxmlformats.org/officeDocument/2006/relationships/image" Target="../media/image76.png"/><Relationship Id="rId47" Type="http://schemas.openxmlformats.org/officeDocument/2006/relationships/image" Target="../media/image81.png"/><Relationship Id="rId50" Type="http://schemas.openxmlformats.org/officeDocument/2006/relationships/image" Target="../media/image84.png"/><Relationship Id="rId55" Type="http://schemas.openxmlformats.org/officeDocument/2006/relationships/image" Target="../media/image89.png"/><Relationship Id="rId7" Type="http://schemas.openxmlformats.org/officeDocument/2006/relationships/tags" Target="../tags/tag16.xml"/><Relationship Id="rId12" Type="http://schemas.openxmlformats.org/officeDocument/2006/relationships/image" Target="../media/image46.png"/><Relationship Id="rId17" Type="http://schemas.openxmlformats.org/officeDocument/2006/relationships/image" Target="../media/image51.gif"/><Relationship Id="rId25" Type="http://schemas.openxmlformats.org/officeDocument/2006/relationships/image" Target="../media/image59.png"/><Relationship Id="rId33" Type="http://schemas.openxmlformats.org/officeDocument/2006/relationships/image" Target="../media/image67.jpeg"/><Relationship Id="rId38" Type="http://schemas.openxmlformats.org/officeDocument/2006/relationships/image" Target="../media/image72.png"/><Relationship Id="rId46" Type="http://schemas.openxmlformats.org/officeDocument/2006/relationships/image" Target="../media/image80.png"/><Relationship Id="rId59" Type="http://schemas.openxmlformats.org/officeDocument/2006/relationships/image" Target="../media/image93.png"/><Relationship Id="rId2" Type="http://schemas.openxmlformats.org/officeDocument/2006/relationships/tags" Target="../tags/tag11.xml"/><Relationship Id="rId16" Type="http://schemas.openxmlformats.org/officeDocument/2006/relationships/image" Target="../media/image50.png"/><Relationship Id="rId20" Type="http://schemas.openxmlformats.org/officeDocument/2006/relationships/image" Target="../media/image54.jpeg"/><Relationship Id="rId29" Type="http://schemas.openxmlformats.org/officeDocument/2006/relationships/image" Target="../media/image63.png"/><Relationship Id="rId41" Type="http://schemas.openxmlformats.org/officeDocument/2006/relationships/image" Target="../media/image75.png"/><Relationship Id="rId54" Type="http://schemas.openxmlformats.org/officeDocument/2006/relationships/image" Target="../media/image88.png"/><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image" Target="../media/image45.png"/><Relationship Id="rId24" Type="http://schemas.openxmlformats.org/officeDocument/2006/relationships/image" Target="../media/image58.png"/><Relationship Id="rId32" Type="http://schemas.openxmlformats.org/officeDocument/2006/relationships/image" Target="../media/image66.png"/><Relationship Id="rId37" Type="http://schemas.openxmlformats.org/officeDocument/2006/relationships/image" Target="../media/image71.png"/><Relationship Id="rId40" Type="http://schemas.openxmlformats.org/officeDocument/2006/relationships/image" Target="../media/image74.png"/><Relationship Id="rId45" Type="http://schemas.openxmlformats.org/officeDocument/2006/relationships/image" Target="../media/image79.png"/><Relationship Id="rId53" Type="http://schemas.openxmlformats.org/officeDocument/2006/relationships/image" Target="../media/image87.png"/><Relationship Id="rId58" Type="http://schemas.openxmlformats.org/officeDocument/2006/relationships/image" Target="../media/image92.png"/><Relationship Id="rId5" Type="http://schemas.openxmlformats.org/officeDocument/2006/relationships/tags" Target="../tags/tag14.xml"/><Relationship Id="rId15" Type="http://schemas.openxmlformats.org/officeDocument/2006/relationships/image" Target="../media/image49.png"/><Relationship Id="rId23" Type="http://schemas.openxmlformats.org/officeDocument/2006/relationships/image" Target="../media/image57.jpeg"/><Relationship Id="rId28" Type="http://schemas.openxmlformats.org/officeDocument/2006/relationships/image" Target="../media/image62.png"/><Relationship Id="rId36" Type="http://schemas.openxmlformats.org/officeDocument/2006/relationships/image" Target="../media/image70.gif"/><Relationship Id="rId49" Type="http://schemas.openxmlformats.org/officeDocument/2006/relationships/image" Target="../media/image83.png"/><Relationship Id="rId57" Type="http://schemas.openxmlformats.org/officeDocument/2006/relationships/image" Target="../media/image91.png"/><Relationship Id="rId10" Type="http://schemas.openxmlformats.org/officeDocument/2006/relationships/image" Target="../media/image44.png"/><Relationship Id="rId19" Type="http://schemas.openxmlformats.org/officeDocument/2006/relationships/image" Target="../media/image53.png"/><Relationship Id="rId31" Type="http://schemas.openxmlformats.org/officeDocument/2006/relationships/image" Target="../media/image65.png"/><Relationship Id="rId44" Type="http://schemas.openxmlformats.org/officeDocument/2006/relationships/image" Target="../media/image78.png"/><Relationship Id="rId52" Type="http://schemas.openxmlformats.org/officeDocument/2006/relationships/image" Target="../media/image86.png"/><Relationship Id="rId60" Type="http://schemas.openxmlformats.org/officeDocument/2006/relationships/image" Target="../media/image10.png"/><Relationship Id="rId4" Type="http://schemas.openxmlformats.org/officeDocument/2006/relationships/tags" Target="../tags/tag13.xml"/><Relationship Id="rId9" Type="http://schemas.openxmlformats.org/officeDocument/2006/relationships/slideLayout" Target="../slideLayouts/slideLayout5.xml"/><Relationship Id="rId14" Type="http://schemas.openxmlformats.org/officeDocument/2006/relationships/image" Target="../media/image48.png"/><Relationship Id="rId22" Type="http://schemas.openxmlformats.org/officeDocument/2006/relationships/image" Target="../media/image56.png"/><Relationship Id="rId27" Type="http://schemas.openxmlformats.org/officeDocument/2006/relationships/image" Target="../media/image61.png"/><Relationship Id="rId30" Type="http://schemas.openxmlformats.org/officeDocument/2006/relationships/image" Target="../media/image64.png"/><Relationship Id="rId35" Type="http://schemas.openxmlformats.org/officeDocument/2006/relationships/image" Target="../media/image69.jpeg"/><Relationship Id="rId43" Type="http://schemas.openxmlformats.org/officeDocument/2006/relationships/image" Target="../media/image77.png"/><Relationship Id="rId48" Type="http://schemas.openxmlformats.org/officeDocument/2006/relationships/image" Target="../media/image82.png"/><Relationship Id="rId56" Type="http://schemas.openxmlformats.org/officeDocument/2006/relationships/image" Target="../media/image90.png"/><Relationship Id="rId8" Type="http://schemas.openxmlformats.org/officeDocument/2006/relationships/tags" Target="../tags/tag17.xml"/><Relationship Id="rId51" Type="http://schemas.openxmlformats.org/officeDocument/2006/relationships/image" Target="../media/image85.jpeg"/><Relationship Id="rId3" Type="http://schemas.openxmlformats.org/officeDocument/2006/relationships/tags" Target="../tags/tag12.xml"/></Relationships>
</file>

<file path=ppt/slides/_rels/slide49.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slideLayout" Target="../slideLayouts/slideLayout5.xml"/><Relationship Id="rId3" Type="http://schemas.openxmlformats.org/officeDocument/2006/relationships/tags" Target="../tags/tag20.xml"/><Relationship Id="rId7" Type="http://schemas.openxmlformats.org/officeDocument/2006/relationships/tags" Target="../tags/tag24.xml"/><Relationship Id="rId12" Type="http://schemas.openxmlformats.org/officeDocument/2006/relationships/tags" Target="../tags/tag29.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tags" Target="../tags/tag23.xml"/><Relationship Id="rId11" Type="http://schemas.openxmlformats.org/officeDocument/2006/relationships/tags" Target="../tags/tag28.xml"/><Relationship Id="rId5" Type="http://schemas.openxmlformats.org/officeDocument/2006/relationships/tags" Target="../tags/tag22.xml"/><Relationship Id="rId10" Type="http://schemas.openxmlformats.org/officeDocument/2006/relationships/tags" Target="../tags/tag27.xml"/><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image" Target="../media/image10.png"/></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0.xml"/><Relationship Id="rId1" Type="http://schemas.openxmlformats.org/officeDocument/2006/relationships/vmlDrawing" Target="../drawings/vmlDrawing8.vml"/><Relationship Id="rId6" Type="http://schemas.openxmlformats.org/officeDocument/2006/relationships/image" Target="../media/image10.png"/><Relationship Id="rId5" Type="http://schemas.openxmlformats.org/officeDocument/2006/relationships/image" Target="../media/image94.emf"/><Relationship Id="rId4" Type="http://schemas.openxmlformats.org/officeDocument/2006/relationships/oleObject" Target="../embeddings/oleObject8.bin"/></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smartreadinessindicator.eu/" TargetMode="External"/><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3" Type="http://schemas.openxmlformats.org/officeDocument/2006/relationships/image" Target="../media/image95.jpg"/><Relationship Id="rId2" Type="http://schemas.openxmlformats.org/officeDocument/2006/relationships/notesSlide" Target="../notesSlides/notesSlide38.xml"/><Relationship Id="rId1" Type="http://schemas.openxmlformats.org/officeDocument/2006/relationships/slideLayout" Target="../slideLayouts/slideLayout6.xml"/><Relationship Id="rId4" Type="http://schemas.openxmlformats.org/officeDocument/2006/relationships/image" Target="../media/image10.png"/></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9.xml"/><Relationship Id="rId1" Type="http://schemas.openxmlformats.org/officeDocument/2006/relationships/slideLayout" Target="../slideLayouts/slideLayout6.xml"/><Relationship Id="rId6" Type="http://schemas.openxmlformats.org/officeDocument/2006/relationships/image" Target="../media/image23.png"/><Relationship Id="rId5" Type="http://schemas.openxmlformats.org/officeDocument/2006/relationships/image" Target="../media/image10.png"/><Relationship Id="rId4" Type="http://schemas.openxmlformats.org/officeDocument/2006/relationships/hyperlink" Target="https://saref.etsi.org/" TargetMode="External"/></Relationships>
</file>

<file path=ppt/slides/_rels/slide6.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18" Type="http://schemas.openxmlformats.org/officeDocument/2006/relationships/image" Target="../media/image11.emf"/><Relationship Id="rId3" Type="http://schemas.openxmlformats.org/officeDocument/2006/relationships/tags" Target="../tags/tag2.xml"/><Relationship Id="rId7" Type="http://schemas.openxmlformats.org/officeDocument/2006/relationships/image" Target="../media/image12.png"/><Relationship Id="rId12" Type="http://schemas.openxmlformats.org/officeDocument/2006/relationships/image" Target="../media/image17.png"/><Relationship Id="rId17" Type="http://schemas.openxmlformats.org/officeDocument/2006/relationships/oleObject" Target="../embeddings/oleObject1.bin"/><Relationship Id="rId2" Type="http://schemas.openxmlformats.org/officeDocument/2006/relationships/tags" Target="../tags/tag1.xml"/><Relationship Id="rId16" Type="http://schemas.openxmlformats.org/officeDocument/2006/relationships/image" Target="../media/image21.png"/><Relationship Id="rId1" Type="http://schemas.openxmlformats.org/officeDocument/2006/relationships/vmlDrawing" Target="../drawings/vmlDrawing1.vml"/><Relationship Id="rId6" Type="http://schemas.openxmlformats.org/officeDocument/2006/relationships/image" Target="../media/image10.png"/><Relationship Id="rId11" Type="http://schemas.openxmlformats.org/officeDocument/2006/relationships/image" Target="../media/image16.png"/><Relationship Id="rId5" Type="http://schemas.openxmlformats.org/officeDocument/2006/relationships/notesSlide" Target="../notesSlides/notesSlide4.xml"/><Relationship Id="rId15" Type="http://schemas.openxmlformats.org/officeDocument/2006/relationships/image" Target="../media/image20.png"/><Relationship Id="rId10" Type="http://schemas.openxmlformats.org/officeDocument/2006/relationships/image" Target="../media/image15.png"/><Relationship Id="rId4" Type="http://schemas.openxmlformats.org/officeDocument/2006/relationships/slideLayout" Target="../slideLayouts/slideLayout13.xml"/><Relationship Id="rId9" Type="http://schemas.openxmlformats.org/officeDocument/2006/relationships/image" Target="../media/image14.png"/><Relationship Id="rId14" Type="http://schemas.openxmlformats.org/officeDocument/2006/relationships/image" Target="../media/image19.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8" Type="http://schemas.openxmlformats.org/officeDocument/2006/relationships/hyperlink" Target="ETSI%20TS%20103%20410-3%20V1.1.2%20(2020-05):%20&#8220;SmartM2M;%20Extension%20to%20SAREF;%20Part%203:%20Building%20Domain&#8221;" TargetMode="External"/><Relationship Id="rId3" Type="http://schemas.openxmlformats.org/officeDocument/2006/relationships/hyperlink" Target="https://saref.etsi.org/extensions.html#SAREF4BLDG" TargetMode="External"/><Relationship Id="rId7" Type="http://schemas.openxmlformats.org/officeDocument/2006/relationships/hyperlink" Target="https://saref.etsi.org/saref4bldg/V1.1.2/" TargetMode="External"/><Relationship Id="rId2" Type="http://schemas.openxmlformats.org/officeDocument/2006/relationships/notesSlide" Target="../notesSlides/notesSlide40.xml"/><Relationship Id="rId1" Type="http://schemas.openxmlformats.org/officeDocument/2006/relationships/slideLayout" Target="../slideLayouts/slideLayout13.xml"/><Relationship Id="rId6" Type="http://schemas.openxmlformats.org/officeDocument/2006/relationships/hyperlink" Target="https://saref.etsi.org/sources/saref4bldg" TargetMode="External"/><Relationship Id="rId11" Type="http://schemas.openxmlformats.org/officeDocument/2006/relationships/image" Target="../media/image23.png"/><Relationship Id="rId5" Type="http://schemas.openxmlformats.org/officeDocument/2006/relationships/hyperlink" Target="ETSI%20TS%20103%20410-1%20V1.1.2%20(2020-05):%20&#8220;SmartM2M;%20Extension%20to%20SAREF;%20Part%203:%20Building%20Domain&#8221;" TargetMode="External"/><Relationship Id="rId10" Type="http://schemas.openxmlformats.org/officeDocument/2006/relationships/image" Target="../media/image10.png"/><Relationship Id="rId4" Type="http://schemas.openxmlformats.org/officeDocument/2006/relationships/hyperlink" Target="https://saref.etsi.org/saref4bldg/" TargetMode="External"/><Relationship Id="rId9" Type="http://schemas.openxmlformats.org/officeDocument/2006/relationships/hyperlink" Target="ETSI%20TS%20103%20410-3%20V1.1.1%20(2017-01):%20&#8220;SmartM2M;%20Extension%20to%20SAREF;%20Part%203:%20Building%20Domain&#8221;" TargetMode="External"/></Relationships>
</file>

<file path=ppt/slides/_rels/slide62.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41.xml"/><Relationship Id="rId1" Type="http://schemas.openxmlformats.org/officeDocument/2006/relationships/slideLayout" Target="../slideLayouts/slideLayout11.xml"/><Relationship Id="rId5" Type="http://schemas.openxmlformats.org/officeDocument/2006/relationships/image" Target="../media/image23.png"/><Relationship Id="rId4" Type="http://schemas.openxmlformats.org/officeDocument/2006/relationships/image" Target="../media/image10.png"/></Relationships>
</file>

<file path=ppt/slides/_rels/slide6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2.xml"/><Relationship Id="rId1" Type="http://schemas.openxmlformats.org/officeDocument/2006/relationships/slideLayout" Target="../slideLayouts/slideLayout13.xml"/><Relationship Id="rId4" Type="http://schemas.openxmlformats.org/officeDocument/2006/relationships/image" Target="../media/image23.png"/></Relationships>
</file>

<file path=ppt/slides/_rels/slide6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3.xml"/><Relationship Id="rId1" Type="http://schemas.openxmlformats.org/officeDocument/2006/relationships/slideLayout" Target="../slideLayouts/slideLayout13.xml"/><Relationship Id="rId4" Type="http://schemas.openxmlformats.org/officeDocument/2006/relationships/image" Target="../media/image23.png"/></Relationships>
</file>

<file path=ppt/slides/_rels/slide6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4.xml"/><Relationship Id="rId1" Type="http://schemas.openxmlformats.org/officeDocument/2006/relationships/slideLayout" Target="../slideLayouts/slideLayout13.xml"/><Relationship Id="rId4" Type="http://schemas.openxmlformats.org/officeDocument/2006/relationships/image" Target="../media/image23.png"/></Relationships>
</file>

<file path=ppt/slides/_rels/slide6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5.xml"/><Relationship Id="rId1" Type="http://schemas.openxmlformats.org/officeDocument/2006/relationships/slideLayout" Target="../slideLayouts/slideLayout13.xml"/><Relationship Id="rId4" Type="http://schemas.openxmlformats.org/officeDocument/2006/relationships/image" Target="../media/image23.png"/></Relationships>
</file>

<file path=ppt/slides/_rels/slide6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6.xml"/><Relationship Id="rId1" Type="http://schemas.openxmlformats.org/officeDocument/2006/relationships/slideLayout" Target="../slideLayouts/slideLayout13.xml"/><Relationship Id="rId4" Type="http://schemas.openxmlformats.org/officeDocument/2006/relationships/image" Target="../media/image23.png"/></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9.xml.rels><?xml version="1.0" encoding="UTF-8" standalone="yes"?>
<Relationships xmlns="http://schemas.openxmlformats.org/package/2006/relationships"><Relationship Id="rId8" Type="http://schemas.openxmlformats.org/officeDocument/2006/relationships/hyperlink" Target="ETSI%20TS%20103%20410-3%20V1.1.2%20(2020-05):%20&#8220;SmartM2M;%20Extension%20to%20SAREF;%20Part%203:%20Building%20Domain&#8221;" TargetMode="External"/><Relationship Id="rId3" Type="http://schemas.openxmlformats.org/officeDocument/2006/relationships/hyperlink" Target="https://saref.etsi.org/extensions.html#SAREF4ENER" TargetMode="External"/><Relationship Id="rId7" Type="http://schemas.openxmlformats.org/officeDocument/2006/relationships/hyperlink" Target="https://saref.etsi.org/saref4bldg/V1.1.2/" TargetMode="External"/><Relationship Id="rId2" Type="http://schemas.openxmlformats.org/officeDocument/2006/relationships/notesSlide" Target="../notesSlides/notesSlide47.xml"/><Relationship Id="rId1" Type="http://schemas.openxmlformats.org/officeDocument/2006/relationships/slideLayout" Target="../slideLayouts/slideLayout13.xml"/><Relationship Id="rId6" Type="http://schemas.openxmlformats.org/officeDocument/2006/relationships/hyperlink" Target="https://saref.etsi.org/sources/saref4ener/" TargetMode="External"/><Relationship Id="rId11" Type="http://schemas.openxmlformats.org/officeDocument/2006/relationships/image" Target="../media/image23.png"/><Relationship Id="rId5" Type="http://schemas.openxmlformats.org/officeDocument/2006/relationships/hyperlink" Target="ETSI%20TS%20103%20410-1%20V1.1.2%20(2020-05):%20&#8220;SmartM2M;%20Extension%20to%20SAREF;%20Part%203:%20Building%20Domain&#8221;" TargetMode="External"/><Relationship Id="rId10" Type="http://schemas.openxmlformats.org/officeDocument/2006/relationships/image" Target="../media/image10.png"/><Relationship Id="rId4" Type="http://schemas.openxmlformats.org/officeDocument/2006/relationships/hyperlink" Target="https://saref.etsi.org/saref4ener/" TargetMode="External"/><Relationship Id="rId9" Type="http://schemas.openxmlformats.org/officeDocument/2006/relationships/hyperlink" Target="ETSI%20TS%20103%20410-3%20V1.1.1%20(2017-01):%20&#8220;SmartM2M;%20Extension%20to%20SAREF;%20Part%203:%20Building%20Domain&#8221;" TargetMode="Externa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13.xml"/><Relationship Id="rId7" Type="http://schemas.openxmlformats.org/officeDocument/2006/relationships/image" Target="../media/image32.png"/><Relationship Id="rId2" Type="http://schemas.openxmlformats.org/officeDocument/2006/relationships/tags" Target="../tags/tag31.xml"/><Relationship Id="rId1" Type="http://schemas.openxmlformats.org/officeDocument/2006/relationships/vmlDrawing" Target="../drawings/vmlDrawing9.vml"/><Relationship Id="rId6" Type="http://schemas.openxmlformats.org/officeDocument/2006/relationships/image" Target="../media/image31.emf"/><Relationship Id="rId5" Type="http://schemas.openxmlformats.org/officeDocument/2006/relationships/oleObject" Target="../embeddings/oleObject2.bin"/><Relationship Id="rId4" Type="http://schemas.openxmlformats.org/officeDocument/2006/relationships/notesSlide" Target="../notesSlides/notesSlide48.xml"/><Relationship Id="rId9" Type="http://schemas.openxmlformats.org/officeDocument/2006/relationships/image" Target="../media/image23.png"/></Relationships>
</file>

<file path=ppt/slides/_rels/slide7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9.xml"/><Relationship Id="rId1" Type="http://schemas.openxmlformats.org/officeDocument/2006/relationships/slideLayout" Target="../slideLayouts/slideLayout6.xml"/><Relationship Id="rId4" Type="http://schemas.openxmlformats.org/officeDocument/2006/relationships/image" Target="../media/image10.png"/></Relationships>
</file>

<file path=ppt/slides/_rels/slide7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96.png"/><Relationship Id="rId1" Type="http://schemas.openxmlformats.org/officeDocument/2006/relationships/slideLayout" Target="../slideLayouts/slideLayout13.xml"/><Relationship Id="rId4" Type="http://schemas.openxmlformats.org/officeDocument/2006/relationships/image" Target="../media/image10.png"/></Relationships>
</file>

<file path=ppt/slides/_rels/slide7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7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7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7.xml.rels><?xml version="1.0" encoding="UTF-8" standalone="yes"?>
<Relationships xmlns="http://schemas.openxmlformats.org/package/2006/relationships"><Relationship Id="rId8" Type="http://schemas.openxmlformats.org/officeDocument/2006/relationships/hyperlink" Target="ETSI%20TS%20103%20410-3%20V1.1.2%20(2020-05):%20&#8220;SmartM2M;%20Extension%20to%20SAREF;%20Part%203:%20Building%20Domain&#8221;" TargetMode="External"/><Relationship Id="rId3" Type="http://schemas.openxmlformats.org/officeDocument/2006/relationships/hyperlink" Target="https://saref.etsi.org/extensions.html#SAREF4CITY" TargetMode="External"/><Relationship Id="rId7" Type="http://schemas.openxmlformats.org/officeDocument/2006/relationships/hyperlink" Target="https://saref.etsi.org/saref4bldg/V1.1.2/" TargetMode="External"/><Relationship Id="rId2" Type="http://schemas.openxmlformats.org/officeDocument/2006/relationships/notesSlide" Target="../notesSlides/notesSlide50.xml"/><Relationship Id="rId1" Type="http://schemas.openxmlformats.org/officeDocument/2006/relationships/slideLayout" Target="../slideLayouts/slideLayout13.xml"/><Relationship Id="rId6" Type="http://schemas.openxmlformats.org/officeDocument/2006/relationships/hyperlink" Target="https://saref.etsi.org/sources/saref4ener/" TargetMode="External"/><Relationship Id="rId11" Type="http://schemas.openxmlformats.org/officeDocument/2006/relationships/image" Target="../media/image23.png"/><Relationship Id="rId5" Type="http://schemas.openxmlformats.org/officeDocument/2006/relationships/hyperlink" Target="ETSI%20TS%20103%20410-1%20V1.1.2%20(2020-05):%20&#8220;SmartM2M;%20Extension%20to%20SAREF;%20Part%203:%20Building%20Domain&#8221;" TargetMode="External"/><Relationship Id="rId10" Type="http://schemas.openxmlformats.org/officeDocument/2006/relationships/image" Target="../media/image10.png"/><Relationship Id="rId4" Type="http://schemas.openxmlformats.org/officeDocument/2006/relationships/hyperlink" Target="https://saref.etsi.org/saref4city/" TargetMode="External"/><Relationship Id="rId9" Type="http://schemas.openxmlformats.org/officeDocument/2006/relationships/hyperlink" Target="ETSI%20TS%20103%20410-3%20V1.1.1%20(2017-01):%20&#8220;SmartM2M;%20Extension%20to%20SAREF;%20Part%203:%20Building%20Domain&#8221;" TargetMode="External"/></Relationships>
</file>

<file path=ppt/slides/_rels/slide7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1.xml"/><Relationship Id="rId1" Type="http://schemas.openxmlformats.org/officeDocument/2006/relationships/slideLayout" Target="../slideLayouts/slideLayout6.xml"/><Relationship Id="rId4" Type="http://schemas.openxmlformats.org/officeDocument/2006/relationships/image" Target="../media/image23.png"/></Relationships>
</file>

<file path=ppt/slides/_rels/slide7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3.png"/><Relationship Id="rId1" Type="http://schemas.openxmlformats.org/officeDocument/2006/relationships/slideLayout" Target="../slideLayouts/slideLayout11.xml"/><Relationship Id="rId4" Type="http://schemas.openxmlformats.org/officeDocument/2006/relationships/image" Target="../media/image23.png"/></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8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7.png"/><Relationship Id="rId1" Type="http://schemas.openxmlformats.org/officeDocument/2006/relationships/slideLayout" Target="../slideLayouts/slideLayout11.xml"/><Relationship Id="rId4" Type="http://schemas.openxmlformats.org/officeDocument/2006/relationships/image" Target="../media/image23.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57382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5258151-2BDA-420A-B170-6C531CD4A7E6}"/>
              </a:ext>
            </a:extLst>
          </p:cNvPr>
          <p:cNvSpPr>
            <a:spLocks noGrp="1"/>
          </p:cNvSpPr>
          <p:nvPr>
            <p:ph type="body" sz="quarter" idx="10"/>
          </p:nvPr>
        </p:nvSpPr>
        <p:spPr/>
        <p:txBody>
          <a:bodyPr/>
          <a:lstStyle/>
          <a:p>
            <a:r>
              <a:rPr lang="en-US" dirty="0"/>
              <a:t>Background</a:t>
            </a:r>
          </a:p>
        </p:txBody>
      </p:sp>
      <p:sp>
        <p:nvSpPr>
          <p:cNvPr id="10" name="Text Placeholder 9"/>
          <p:cNvSpPr>
            <a:spLocks noGrp="1"/>
          </p:cNvSpPr>
          <p:nvPr>
            <p:ph type="body" sz="quarter" idx="11"/>
          </p:nvPr>
        </p:nvSpPr>
        <p:spPr/>
        <p:txBody>
          <a:bodyPr/>
          <a:lstStyle/>
          <a:p>
            <a:pPr>
              <a:spcBef>
                <a:spcPts val="600"/>
              </a:spcBef>
            </a:pPr>
            <a:r>
              <a:rPr lang="en-US" sz="1600" dirty="0"/>
              <a:t>In 2013 the European Commission launched a standardization initiative (SMART 2013/0077 study) in collaboration with ETSI TC SmartM2M</a:t>
            </a:r>
          </a:p>
          <a:p>
            <a:pPr>
              <a:spcBef>
                <a:spcPts val="600"/>
              </a:spcBef>
            </a:pPr>
            <a:r>
              <a:rPr lang="en-US" sz="1600" dirty="0"/>
              <a:t>Goal of the study was to create a commonly agreed language (interoperable concepts) for the smart appliances domain</a:t>
            </a:r>
          </a:p>
          <a:p>
            <a:pPr>
              <a:spcBef>
                <a:spcPts val="600"/>
              </a:spcBef>
            </a:pPr>
            <a:r>
              <a:rPr lang="en-US" sz="1600" dirty="0"/>
              <a:t>Study conducted by TNO from January 2014 to March 2015</a:t>
            </a:r>
          </a:p>
          <a:p>
            <a:pPr marL="630238">
              <a:spcBef>
                <a:spcPts val="600"/>
              </a:spcBef>
              <a:buClr>
                <a:schemeClr val="tx1"/>
              </a:buClr>
            </a:pPr>
            <a:r>
              <a:rPr lang="en-US" sz="1600" dirty="0">
                <a:hlinkClick r:id="rId3"/>
              </a:rPr>
              <a:t>www.sites.google.com/site/smartappliancesproject</a:t>
            </a:r>
            <a:endParaRPr lang="en-US" sz="1600" dirty="0"/>
          </a:p>
        </p:txBody>
      </p:sp>
      <p:sp>
        <p:nvSpPr>
          <p:cNvPr id="4" name="Slide Number Placeholder 3">
            <a:extLst>
              <a:ext uri="{FF2B5EF4-FFF2-40B4-BE49-F238E27FC236}">
                <a16:creationId xmlns:a16="http://schemas.microsoft.com/office/drawing/2014/main" id="{334C99F6-89CD-4C7E-A388-D43FA81E5847}"/>
              </a:ext>
            </a:extLst>
          </p:cNvPr>
          <p:cNvSpPr>
            <a:spLocks noGrp="1"/>
          </p:cNvSpPr>
          <p:nvPr>
            <p:ph type="sldNum" sz="quarter" idx="4"/>
          </p:nvPr>
        </p:nvSpPr>
        <p:spPr/>
        <p:txBody>
          <a:bodyPr/>
          <a:lstStyle/>
          <a:p>
            <a:fld id="{EBC262BB-4310-134F-8D24-58475080D942}" type="slidenum">
              <a:rPr lang="en-US" smtClean="0"/>
              <a:pPr/>
              <a:t>10</a:t>
            </a:fld>
            <a:endParaRPr lang="en-US" dirty="0"/>
          </a:p>
        </p:txBody>
      </p:sp>
      <p:sp>
        <p:nvSpPr>
          <p:cNvPr id="11" name="Rectangle: Single Corner Snipped 10">
            <a:extLst>
              <a:ext uri="{FF2B5EF4-FFF2-40B4-BE49-F238E27FC236}">
                <a16:creationId xmlns:a16="http://schemas.microsoft.com/office/drawing/2014/main" id="{670222A4-1294-4E0F-86F6-DA42003BCBD6}"/>
              </a:ext>
            </a:extLst>
          </p:cNvPr>
          <p:cNvSpPr/>
          <p:nvPr/>
        </p:nvSpPr>
        <p:spPr>
          <a:xfrm>
            <a:off x="9055215" y="1503396"/>
            <a:ext cx="1220442" cy="318659"/>
          </a:xfrm>
          <a:prstGeom prst="rect">
            <a:avLst/>
          </a:prstGeom>
          <a:solidFill>
            <a:schemeClr val="tx2"/>
          </a:solidFill>
        </p:spPr>
        <p:style>
          <a:lnRef idx="3">
            <a:schemeClr val="lt1"/>
          </a:lnRef>
          <a:fillRef idx="1">
            <a:schemeClr val="accent2"/>
          </a:fillRef>
          <a:effectRef idx="1">
            <a:schemeClr val="accent2"/>
          </a:effectRef>
          <a:fontRef idx="minor">
            <a:schemeClr val="lt1"/>
          </a:fontRef>
        </p:style>
        <p:txBody>
          <a:bodyPr lIns="0" tIns="0" rIns="0" bIns="0" rtlCol="0" anchor="ctr"/>
          <a:lstStyle/>
          <a:p>
            <a:pPr algn="ctr"/>
            <a:r>
              <a:rPr lang="en-US" sz="1600" dirty="0">
                <a:solidFill>
                  <a:schemeClr val="tx1"/>
                </a:solidFill>
              </a:rPr>
              <a:t>2013</a:t>
            </a:r>
          </a:p>
        </p:txBody>
      </p:sp>
      <p:pic>
        <p:nvPicPr>
          <p:cNvPr id="12" name="Picture 1" descr="image002">
            <a:extLst>
              <a:ext uri="{FF2B5EF4-FFF2-40B4-BE49-F238E27FC236}">
                <a16:creationId xmlns:a16="http://schemas.microsoft.com/office/drawing/2014/main" id="{2ABB324A-AE2A-4D47-9D7F-AC777666729C}"/>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898755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65EA8EB-5B95-4B3E-AFEB-4D36817F800D}"/>
              </a:ext>
            </a:extLst>
          </p:cNvPr>
          <p:cNvSpPr>
            <a:spLocks noGrp="1"/>
          </p:cNvSpPr>
          <p:nvPr>
            <p:ph type="body" sz="quarter" idx="10"/>
          </p:nvPr>
        </p:nvSpPr>
        <p:spPr/>
        <p:txBody>
          <a:bodyPr/>
          <a:lstStyle/>
          <a:p>
            <a:r>
              <a:rPr lang="en-US" dirty="0"/>
              <a:t>Motivation (I)</a:t>
            </a:r>
          </a:p>
          <a:p>
            <a:endParaRPr lang="en-US" dirty="0"/>
          </a:p>
        </p:txBody>
      </p:sp>
      <p:sp>
        <p:nvSpPr>
          <p:cNvPr id="4" name="Slide Number Placeholder 3">
            <a:extLst>
              <a:ext uri="{FF2B5EF4-FFF2-40B4-BE49-F238E27FC236}">
                <a16:creationId xmlns:a16="http://schemas.microsoft.com/office/drawing/2014/main" id="{46692F42-DFCA-4D89-811A-0E3919F9BD2C}"/>
              </a:ext>
            </a:extLst>
          </p:cNvPr>
          <p:cNvSpPr>
            <a:spLocks noGrp="1"/>
          </p:cNvSpPr>
          <p:nvPr>
            <p:ph type="sldNum" sz="quarter" idx="4"/>
          </p:nvPr>
        </p:nvSpPr>
        <p:spPr/>
        <p:txBody>
          <a:bodyPr/>
          <a:lstStyle/>
          <a:p>
            <a:fld id="{EBC262BB-4310-134F-8D24-58475080D942}" type="slidenum">
              <a:rPr lang="en-US" smtClean="0"/>
              <a:pPr/>
              <a:t>11</a:t>
            </a:fld>
            <a:endParaRPr lang="en-US" dirty="0"/>
          </a:p>
        </p:txBody>
      </p:sp>
      <p:sp>
        <p:nvSpPr>
          <p:cNvPr id="7" name="Text Placeholder 6"/>
          <p:cNvSpPr>
            <a:spLocks noGrp="1"/>
          </p:cNvSpPr>
          <p:nvPr>
            <p:ph type="body" sz="quarter" idx="11"/>
          </p:nvPr>
        </p:nvSpPr>
        <p:spPr/>
        <p:txBody>
          <a:bodyPr/>
          <a:lstStyle/>
          <a:p>
            <a:pPr>
              <a:spcBef>
                <a:spcPts val="600"/>
              </a:spcBef>
            </a:pPr>
            <a:r>
              <a:rPr lang="en-US" sz="1600" dirty="0"/>
              <a:t>Societal challenge: Achieve higher energy efficiency</a:t>
            </a:r>
          </a:p>
          <a:p>
            <a:pPr marL="630238">
              <a:spcBef>
                <a:spcPts val="600"/>
              </a:spcBef>
              <a:buClr>
                <a:schemeClr val="tx1"/>
              </a:buClr>
            </a:pPr>
            <a:r>
              <a:rPr lang="en-US" sz="1600" dirty="0"/>
              <a:t>The household sector represented around 27% of the entire consumption in the EU in 2010 and has been above 25% in the last 20 years*</a:t>
            </a:r>
          </a:p>
          <a:p>
            <a:pPr marL="630238">
              <a:spcBef>
                <a:spcPts val="600"/>
              </a:spcBef>
              <a:buClr>
                <a:schemeClr val="tx1"/>
              </a:buClr>
            </a:pPr>
            <a:r>
              <a:rPr lang="en-US" sz="1600" dirty="0"/>
              <a:t>Energy using and producing Products (</a:t>
            </a:r>
            <a:r>
              <a:rPr lang="en-US" sz="1600" dirty="0" err="1"/>
              <a:t>EupPs</a:t>
            </a:r>
            <a:r>
              <a:rPr lang="en-US" sz="1600" dirty="0"/>
              <a:t>) that are inherently present in the buildings’ ecosystem are the main culprits</a:t>
            </a:r>
          </a:p>
          <a:p>
            <a:pPr>
              <a:spcBef>
                <a:spcPts val="600"/>
              </a:spcBef>
            </a:pPr>
            <a:r>
              <a:rPr lang="en-US" sz="1600" dirty="0"/>
              <a:t>Home appliances are </a:t>
            </a:r>
            <a:r>
              <a:rPr lang="en-US" sz="1600" dirty="0">
                <a:solidFill>
                  <a:schemeClr val="tx2"/>
                </a:solidFill>
              </a:rPr>
              <a:t>energy using and producing Products (EupPs)</a:t>
            </a:r>
            <a:br>
              <a:rPr lang="en-US" sz="1600" dirty="0">
                <a:solidFill>
                  <a:schemeClr val="tx2"/>
                </a:solidFill>
              </a:rPr>
            </a:br>
            <a:r>
              <a:rPr lang="en-US" sz="1600" dirty="0"/>
              <a:t>designed to accomplish household functions, like cleaning or cooking</a:t>
            </a:r>
          </a:p>
          <a:p>
            <a:pPr marL="630238">
              <a:spcBef>
                <a:spcPts val="600"/>
              </a:spcBef>
              <a:buClr>
                <a:schemeClr val="tx1"/>
              </a:buClr>
            </a:pPr>
            <a:r>
              <a:rPr lang="en-US" sz="1600" dirty="0"/>
              <a:t>Major appliances (White goods)</a:t>
            </a:r>
          </a:p>
          <a:p>
            <a:pPr marL="1030288">
              <a:spcBef>
                <a:spcPts val="600"/>
              </a:spcBef>
              <a:buClr>
                <a:schemeClr val="tx1"/>
              </a:buClr>
            </a:pPr>
            <a:r>
              <a:rPr lang="en-US" sz="1600" dirty="0"/>
              <a:t>E.g., Refrigerators, stoves, washing machines</a:t>
            </a:r>
          </a:p>
          <a:p>
            <a:pPr marL="630238">
              <a:spcBef>
                <a:spcPts val="600"/>
              </a:spcBef>
              <a:buClr>
                <a:schemeClr val="tx1"/>
              </a:buClr>
            </a:pPr>
            <a:r>
              <a:rPr lang="en-US" sz="1600" dirty="0"/>
              <a:t>Small appliances (Brown goods)</a:t>
            </a:r>
          </a:p>
          <a:p>
            <a:pPr marL="1030288">
              <a:spcBef>
                <a:spcPts val="600"/>
              </a:spcBef>
              <a:buClr>
                <a:schemeClr val="tx1"/>
              </a:buClr>
            </a:pPr>
            <a:r>
              <a:rPr lang="en-US" sz="1600" dirty="0"/>
              <a:t>E.g., Toasters, coffee makers, air conditioners, light bulbs</a:t>
            </a:r>
          </a:p>
          <a:p>
            <a:pPr marL="630238">
              <a:spcBef>
                <a:spcPts val="600"/>
              </a:spcBef>
              <a:buClr>
                <a:schemeClr val="tx1"/>
              </a:buClr>
            </a:pPr>
            <a:r>
              <a:rPr lang="en-US" sz="1600" dirty="0"/>
              <a:t>Consumer electronics (Shiny goods)</a:t>
            </a:r>
          </a:p>
          <a:p>
            <a:pPr marL="1030288">
              <a:spcBef>
                <a:spcPts val="600"/>
              </a:spcBef>
              <a:buClr>
                <a:schemeClr val="tx1"/>
              </a:buClr>
            </a:pPr>
            <a:r>
              <a:rPr lang="en-US" sz="1600" dirty="0"/>
              <a:t>E.g., PCs, TVs, mobile phones, cameras</a:t>
            </a:r>
          </a:p>
        </p:txBody>
      </p:sp>
      <p:pic>
        <p:nvPicPr>
          <p:cNvPr id="9" name="Picture 1" descr="image002">
            <a:extLst>
              <a:ext uri="{FF2B5EF4-FFF2-40B4-BE49-F238E27FC236}">
                <a16:creationId xmlns:a16="http://schemas.microsoft.com/office/drawing/2014/main" id="{2ABB324A-AE2A-4D47-9D7F-AC777666729C}"/>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Single Corner Snipped 10">
            <a:extLst>
              <a:ext uri="{FF2B5EF4-FFF2-40B4-BE49-F238E27FC236}">
                <a16:creationId xmlns:a16="http://schemas.microsoft.com/office/drawing/2014/main" id="{670222A4-1294-4E0F-86F6-DA42003BCBD6}"/>
              </a:ext>
            </a:extLst>
          </p:cNvPr>
          <p:cNvSpPr/>
          <p:nvPr/>
        </p:nvSpPr>
        <p:spPr>
          <a:xfrm>
            <a:off x="9055215" y="1503396"/>
            <a:ext cx="1220442" cy="318659"/>
          </a:xfrm>
          <a:prstGeom prst="rect">
            <a:avLst/>
          </a:prstGeom>
          <a:solidFill>
            <a:schemeClr val="tx2"/>
          </a:solidFill>
        </p:spPr>
        <p:style>
          <a:lnRef idx="3">
            <a:schemeClr val="lt1"/>
          </a:lnRef>
          <a:fillRef idx="1">
            <a:schemeClr val="accent2"/>
          </a:fillRef>
          <a:effectRef idx="1">
            <a:schemeClr val="accent2"/>
          </a:effectRef>
          <a:fontRef idx="minor">
            <a:schemeClr val="lt1"/>
          </a:fontRef>
        </p:style>
        <p:txBody>
          <a:bodyPr lIns="0" tIns="0" rIns="0" bIns="0" rtlCol="0" anchor="ctr"/>
          <a:lstStyle/>
          <a:p>
            <a:pPr algn="ctr"/>
            <a:r>
              <a:rPr lang="en-US" sz="1600" dirty="0">
                <a:solidFill>
                  <a:schemeClr val="tx1"/>
                </a:solidFill>
              </a:rPr>
              <a:t>2013</a:t>
            </a:r>
          </a:p>
        </p:txBody>
      </p:sp>
      <p:sp>
        <p:nvSpPr>
          <p:cNvPr id="8" name="ee4pFootnotes">
            <a:extLst>
              <a:ext uri="{FF2B5EF4-FFF2-40B4-BE49-F238E27FC236}">
                <a16:creationId xmlns:a16="http://schemas.microsoft.com/office/drawing/2014/main" id="{3BAFF289-7F34-4537-9FCF-660D67049714}"/>
              </a:ext>
            </a:extLst>
          </p:cNvPr>
          <p:cNvSpPr>
            <a:spLocks noChangeArrowheads="1"/>
          </p:cNvSpPr>
          <p:nvPr/>
        </p:nvSpPr>
        <p:spPr bwMode="auto">
          <a:xfrm>
            <a:off x="2467992" y="6421441"/>
            <a:ext cx="7641096"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t>* Mertens, R., et al.: Manual for Statistics on Energy Consumption in Households. Publications Office of the European Union, Luxembourg (2013)</a:t>
            </a:r>
            <a:endParaRPr lang="en-US" sz="1000" dirty="0">
              <a:cs typeface="Arial" pitchFamily="34" charset="0"/>
            </a:endParaRPr>
          </a:p>
        </p:txBody>
      </p:sp>
    </p:spTree>
    <p:extLst>
      <p:ext uri="{BB962C8B-B14F-4D97-AF65-F5344CB8AC3E}">
        <p14:creationId xmlns:p14="http://schemas.microsoft.com/office/powerpoint/2010/main" val="24208021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5258151-2BDA-420A-B170-6C531CD4A7E6}"/>
              </a:ext>
            </a:extLst>
          </p:cNvPr>
          <p:cNvSpPr>
            <a:spLocks noGrp="1"/>
          </p:cNvSpPr>
          <p:nvPr>
            <p:ph type="body" sz="quarter" idx="10"/>
          </p:nvPr>
        </p:nvSpPr>
        <p:spPr/>
        <p:txBody>
          <a:bodyPr/>
          <a:lstStyle/>
          <a:p>
            <a:r>
              <a:rPr lang="en-US" dirty="0"/>
              <a:t>Motivation (II)</a:t>
            </a:r>
          </a:p>
        </p:txBody>
      </p:sp>
      <p:sp>
        <p:nvSpPr>
          <p:cNvPr id="4" name="Slide Number Placeholder 3">
            <a:extLst>
              <a:ext uri="{FF2B5EF4-FFF2-40B4-BE49-F238E27FC236}">
                <a16:creationId xmlns:a16="http://schemas.microsoft.com/office/drawing/2014/main" id="{334C99F6-89CD-4C7E-A388-D43FA81E5847}"/>
              </a:ext>
            </a:extLst>
          </p:cNvPr>
          <p:cNvSpPr>
            <a:spLocks noGrp="1"/>
          </p:cNvSpPr>
          <p:nvPr>
            <p:ph type="sldNum" sz="quarter" idx="4"/>
          </p:nvPr>
        </p:nvSpPr>
        <p:spPr/>
        <p:txBody>
          <a:bodyPr/>
          <a:lstStyle/>
          <a:p>
            <a:fld id="{EBC262BB-4310-134F-8D24-58475080D942}" type="slidenum">
              <a:rPr lang="en-US" smtClean="0"/>
              <a:pPr/>
              <a:t>12</a:t>
            </a:fld>
            <a:endParaRPr lang="en-US" dirty="0"/>
          </a:p>
        </p:txBody>
      </p:sp>
      <p:sp>
        <p:nvSpPr>
          <p:cNvPr id="7" name="Text Placeholder 6"/>
          <p:cNvSpPr>
            <a:spLocks noGrp="1"/>
          </p:cNvSpPr>
          <p:nvPr>
            <p:ph type="body" sz="quarter" idx="11"/>
          </p:nvPr>
        </p:nvSpPr>
        <p:spPr/>
        <p:txBody>
          <a:bodyPr/>
          <a:lstStyle/>
          <a:p>
            <a:pPr>
              <a:spcBef>
                <a:spcPts val="600"/>
              </a:spcBef>
            </a:pPr>
            <a:r>
              <a:rPr lang="en-US" sz="1600" dirty="0"/>
              <a:t>More and more home appliances are smart appliances</a:t>
            </a:r>
          </a:p>
          <a:p>
            <a:pPr marL="630238">
              <a:spcBef>
                <a:spcPts val="600"/>
              </a:spcBef>
              <a:buClr>
                <a:schemeClr val="tx1"/>
              </a:buClr>
            </a:pPr>
            <a:r>
              <a:rPr lang="en-US" sz="1600" dirty="0"/>
              <a:t>Highly intelligent and networked devices</a:t>
            </a:r>
          </a:p>
          <a:p>
            <a:pPr marL="630238">
              <a:spcBef>
                <a:spcPts val="600"/>
              </a:spcBef>
              <a:buClr>
                <a:schemeClr val="tx1"/>
              </a:buClr>
            </a:pPr>
            <a:r>
              <a:rPr lang="en-US" sz="1600" dirty="0"/>
              <a:t>Complete energy consuming, producing and managing systems</a:t>
            </a:r>
          </a:p>
          <a:p>
            <a:pPr>
              <a:spcBef>
                <a:spcPts val="600"/>
              </a:spcBef>
            </a:pPr>
            <a:r>
              <a:rPr lang="en-US" sz="1600" dirty="0"/>
              <a:t>Need for </a:t>
            </a:r>
            <a:r>
              <a:rPr lang="en-US" sz="1600" b="1" dirty="0"/>
              <a:t>open and standardized interfaces </a:t>
            </a:r>
            <a:r>
              <a:rPr lang="en-US" sz="1600" dirty="0"/>
              <a:t>among networked devices (often from different vendors) constituting these systems</a:t>
            </a:r>
          </a:p>
          <a:p>
            <a:pPr>
              <a:spcBef>
                <a:spcPts val="600"/>
              </a:spcBef>
            </a:pPr>
            <a:r>
              <a:rPr lang="en-US" sz="1600" dirty="0"/>
              <a:t>Need to abstract from specific details of individual standards and create an abstraction layer based on a commonly agreed semantics</a:t>
            </a:r>
          </a:p>
          <a:p>
            <a:pPr>
              <a:spcBef>
                <a:spcPts val="600"/>
              </a:spcBef>
            </a:pPr>
            <a:r>
              <a:rPr lang="en-US" sz="1600" dirty="0"/>
              <a:t>Need for high level model - a </a:t>
            </a:r>
            <a:r>
              <a:rPr lang="en-US" sz="1600" b="1" dirty="0"/>
              <a:t>reference ontology</a:t>
            </a:r>
            <a:r>
              <a:rPr lang="en-US" sz="1600" dirty="0"/>
              <a:t> - that defines recurring concepts in the smart appliances domain without having to know specifics of the various standards</a:t>
            </a:r>
          </a:p>
          <a:p>
            <a:pPr marL="630238">
              <a:spcBef>
                <a:spcPts val="600"/>
              </a:spcBef>
              <a:buClr>
                <a:schemeClr val="tx1"/>
              </a:buClr>
            </a:pPr>
            <a:r>
              <a:rPr lang="en-US" sz="1600" dirty="0"/>
              <a:t>The </a:t>
            </a:r>
            <a:r>
              <a:rPr lang="en-US" sz="1600" dirty="0">
                <a:solidFill>
                  <a:schemeClr val="tx2"/>
                </a:solidFill>
              </a:rPr>
              <a:t>Smart Appliances REFerence ontology (SAREF) </a:t>
            </a:r>
            <a:r>
              <a:rPr lang="en-US" sz="1600" dirty="0"/>
              <a:t>as</a:t>
            </a:r>
            <a:br>
              <a:rPr lang="en-US" sz="1600" dirty="0"/>
            </a:br>
            <a:r>
              <a:rPr lang="en-US" sz="1600" dirty="0"/>
              <a:t>“interoperability language”</a:t>
            </a:r>
          </a:p>
        </p:txBody>
      </p:sp>
      <p:pic>
        <p:nvPicPr>
          <p:cNvPr id="9" name="Picture 1" descr="image002">
            <a:extLst>
              <a:ext uri="{FF2B5EF4-FFF2-40B4-BE49-F238E27FC236}">
                <a16:creationId xmlns:a16="http://schemas.microsoft.com/office/drawing/2014/main" id="{2ABB324A-AE2A-4D47-9D7F-AC777666729C}"/>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Single Corner Snipped 10">
            <a:extLst>
              <a:ext uri="{FF2B5EF4-FFF2-40B4-BE49-F238E27FC236}">
                <a16:creationId xmlns:a16="http://schemas.microsoft.com/office/drawing/2014/main" id="{670222A4-1294-4E0F-86F6-DA42003BCBD6}"/>
              </a:ext>
            </a:extLst>
          </p:cNvPr>
          <p:cNvSpPr/>
          <p:nvPr/>
        </p:nvSpPr>
        <p:spPr>
          <a:xfrm>
            <a:off x="9055215" y="1503396"/>
            <a:ext cx="1220442" cy="318659"/>
          </a:xfrm>
          <a:prstGeom prst="rect">
            <a:avLst/>
          </a:prstGeom>
          <a:solidFill>
            <a:schemeClr val="tx2"/>
          </a:solidFill>
        </p:spPr>
        <p:style>
          <a:lnRef idx="3">
            <a:schemeClr val="lt1"/>
          </a:lnRef>
          <a:fillRef idx="1">
            <a:schemeClr val="accent2"/>
          </a:fillRef>
          <a:effectRef idx="1">
            <a:schemeClr val="accent2"/>
          </a:effectRef>
          <a:fontRef idx="minor">
            <a:schemeClr val="lt1"/>
          </a:fontRef>
        </p:style>
        <p:txBody>
          <a:bodyPr lIns="0" tIns="0" rIns="0" bIns="0" rtlCol="0" anchor="ctr"/>
          <a:lstStyle/>
          <a:p>
            <a:pPr algn="ctr"/>
            <a:r>
              <a:rPr lang="en-US" sz="1600" dirty="0">
                <a:solidFill>
                  <a:schemeClr val="tx1"/>
                </a:solidFill>
              </a:rPr>
              <a:t>2013</a:t>
            </a:r>
          </a:p>
        </p:txBody>
      </p:sp>
    </p:spTree>
    <p:extLst>
      <p:ext uri="{BB962C8B-B14F-4D97-AF65-F5344CB8AC3E}">
        <p14:creationId xmlns:p14="http://schemas.microsoft.com/office/powerpoint/2010/main" val="20385383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B71C370-D5AD-4285-B597-DF811FF69E0D}"/>
              </a:ext>
            </a:extLst>
          </p:cNvPr>
          <p:cNvSpPr>
            <a:spLocks noGrp="1"/>
          </p:cNvSpPr>
          <p:nvPr>
            <p:ph type="body" sz="quarter" idx="11"/>
          </p:nvPr>
        </p:nvSpPr>
        <p:spPr/>
        <p:txBody>
          <a:bodyPr wrap="square"/>
          <a:lstStyle/>
          <a:p>
            <a:r>
              <a:rPr lang="en-US" dirty="0"/>
              <a:t>But before we get into the journey …</a:t>
            </a:r>
          </a:p>
        </p:txBody>
      </p:sp>
      <p:sp>
        <p:nvSpPr>
          <p:cNvPr id="4" name="Slide Number Placeholder 3">
            <a:extLst>
              <a:ext uri="{FF2B5EF4-FFF2-40B4-BE49-F238E27FC236}">
                <a16:creationId xmlns:a16="http://schemas.microsoft.com/office/drawing/2014/main" id="{0BC0E82D-E994-409C-ADF9-120374BDE6FD}"/>
              </a:ext>
            </a:extLst>
          </p:cNvPr>
          <p:cNvSpPr>
            <a:spLocks noGrp="1"/>
          </p:cNvSpPr>
          <p:nvPr>
            <p:ph type="sldNum" sz="quarter" idx="4"/>
          </p:nvPr>
        </p:nvSpPr>
        <p:spPr/>
        <p:txBody>
          <a:bodyPr/>
          <a:lstStyle/>
          <a:p>
            <a:fld id="{EBC262BB-4310-134F-8D24-58475080D942}" type="slidenum">
              <a:rPr lang="en-US" smtClean="0"/>
              <a:pPr/>
              <a:t>13</a:t>
            </a:fld>
            <a:endParaRPr lang="en-US" dirty="0"/>
          </a:p>
        </p:txBody>
      </p:sp>
      <p:pic>
        <p:nvPicPr>
          <p:cNvPr id="10" name="Picture 1" descr="image002">
            <a:extLst>
              <a:ext uri="{FF2B5EF4-FFF2-40B4-BE49-F238E27FC236}">
                <a16:creationId xmlns:a16="http://schemas.microsoft.com/office/drawing/2014/main" id="{2ABB324A-AE2A-4D47-9D7F-AC777666729C}"/>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a:xfrm>
            <a:off x="985764" y="2058058"/>
            <a:ext cx="9123324" cy="5677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r>
              <a:rPr lang="en-US" sz="2400" b="1" dirty="0">
                <a:solidFill>
                  <a:schemeClr val="tx2"/>
                </a:solidFill>
              </a:rPr>
              <a:t>What is SAREF?</a:t>
            </a:r>
          </a:p>
        </p:txBody>
      </p:sp>
      <p:sp>
        <p:nvSpPr>
          <p:cNvPr id="13" name="Rectangle 12"/>
          <p:cNvSpPr/>
          <p:nvPr/>
        </p:nvSpPr>
        <p:spPr>
          <a:xfrm>
            <a:off x="985764" y="2809106"/>
            <a:ext cx="9123324" cy="6858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lstStyle/>
          <a:p>
            <a:r>
              <a:rPr lang="en-US" sz="2200" dirty="0">
                <a:solidFill>
                  <a:schemeClr val="tx1"/>
                </a:solidFill>
              </a:rPr>
              <a:t>There are several ways I can show you what is SAREF and how it looks like …</a:t>
            </a:r>
          </a:p>
        </p:txBody>
      </p:sp>
    </p:spTree>
    <p:extLst>
      <p:ext uri="{BB962C8B-B14F-4D97-AF65-F5344CB8AC3E}">
        <p14:creationId xmlns:p14="http://schemas.microsoft.com/office/powerpoint/2010/main" val="31201040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What is SAREF?</a:t>
            </a:r>
          </a:p>
        </p:txBody>
      </p:sp>
      <p:sp>
        <p:nvSpPr>
          <p:cNvPr id="3" name="Slide Number Placeholder 2"/>
          <p:cNvSpPr>
            <a:spLocks noGrp="1"/>
          </p:cNvSpPr>
          <p:nvPr>
            <p:ph type="sldNum" sz="quarter" idx="4"/>
          </p:nvPr>
        </p:nvSpPr>
        <p:spPr>
          <a:prstGeom prst="rect">
            <a:avLst/>
          </a:prstGeom>
        </p:spPr>
        <p:txBody>
          <a:bodyPr/>
          <a:lstStyle/>
          <a:p>
            <a:fld id="{EBC262BB-4310-134F-8D24-58475080D942}" type="slidenum">
              <a:rPr lang="en-US" smtClean="0"/>
              <a:pPr/>
              <a:t>14</a:t>
            </a:fld>
            <a:endParaRPr lang="en-US" dirty="0"/>
          </a:p>
        </p:txBody>
      </p:sp>
    </p:spTree>
    <p:extLst>
      <p:ext uri="{BB962C8B-B14F-4D97-AF65-F5344CB8AC3E}">
        <p14:creationId xmlns:p14="http://schemas.microsoft.com/office/powerpoint/2010/main" val="36738321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B71C370-D5AD-4285-B597-DF811FF69E0D}"/>
              </a:ext>
            </a:extLst>
          </p:cNvPr>
          <p:cNvSpPr>
            <a:spLocks noGrp="1"/>
          </p:cNvSpPr>
          <p:nvPr>
            <p:ph type="body" sz="quarter" idx="10"/>
          </p:nvPr>
        </p:nvSpPr>
        <p:spPr>
          <a:xfrm>
            <a:off x="986457" y="362663"/>
            <a:ext cx="9289200" cy="826313"/>
          </a:xfrm>
        </p:spPr>
        <p:txBody>
          <a:bodyPr/>
          <a:lstStyle/>
          <a:p>
            <a:r>
              <a:rPr lang="en-US" dirty="0"/>
              <a:t>…SAREF is an ontology</a:t>
            </a:r>
          </a:p>
        </p:txBody>
      </p:sp>
      <p:sp>
        <p:nvSpPr>
          <p:cNvPr id="4" name="Slide Number Placeholder 3">
            <a:extLst>
              <a:ext uri="{FF2B5EF4-FFF2-40B4-BE49-F238E27FC236}">
                <a16:creationId xmlns:a16="http://schemas.microsoft.com/office/drawing/2014/main" id="{0BC0E82D-E994-409C-ADF9-120374BDE6FD}"/>
              </a:ext>
            </a:extLst>
          </p:cNvPr>
          <p:cNvSpPr>
            <a:spLocks noGrp="1"/>
          </p:cNvSpPr>
          <p:nvPr>
            <p:ph type="sldNum" sz="quarter" idx="4"/>
          </p:nvPr>
        </p:nvSpPr>
        <p:spPr>
          <a:xfrm>
            <a:off x="-3" y="6132547"/>
            <a:ext cx="985767" cy="725453"/>
          </a:xfrm>
        </p:spPr>
        <p:txBody>
          <a:bodyPr/>
          <a:lstStyle/>
          <a:p>
            <a:fld id="{EBC262BB-4310-134F-8D24-58475080D942}" type="slidenum">
              <a:rPr lang="en-US" smtClean="0"/>
              <a:pPr/>
              <a:t>15</a:t>
            </a:fld>
            <a:endParaRPr lang="en-US"/>
          </a:p>
        </p:txBody>
      </p:sp>
      <p:pic>
        <p:nvPicPr>
          <p:cNvPr id="5" name="Picture 4">
            <a:extLst>
              <a:ext uri="{FF2B5EF4-FFF2-40B4-BE49-F238E27FC236}">
                <a16:creationId xmlns:a16="http://schemas.microsoft.com/office/drawing/2014/main" id="{A2617F31-8467-4815-BFD1-E29230D27B9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7835" y="1477181"/>
            <a:ext cx="10076329" cy="4676973"/>
          </a:xfrm>
          <a:prstGeom prst="rect">
            <a:avLst/>
          </a:prstGeom>
        </p:spPr>
      </p:pic>
      <p:sp>
        <p:nvSpPr>
          <p:cNvPr id="10" name="ee4pFootnotes">
            <a:extLst>
              <a:ext uri="{FF2B5EF4-FFF2-40B4-BE49-F238E27FC236}">
                <a16:creationId xmlns:a16="http://schemas.microsoft.com/office/drawing/2014/main" id="{7E077C56-6C4F-4D7E-BCD9-26F3B4424786}"/>
              </a:ext>
            </a:extLst>
          </p:cNvPr>
          <p:cNvSpPr>
            <a:spLocks noChangeArrowheads="1"/>
          </p:cNvSpPr>
          <p:nvPr/>
        </p:nvSpPr>
        <p:spPr bwMode="auto">
          <a:xfrm>
            <a:off x="2467992" y="6421441"/>
            <a:ext cx="7641096"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cs typeface="Arial" pitchFamily="34" charset="0"/>
              </a:rPr>
              <a:t>Source: ETSI TS 103 264 V3.1.1</a:t>
            </a:r>
          </a:p>
        </p:txBody>
      </p:sp>
      <p:sp>
        <p:nvSpPr>
          <p:cNvPr id="11" name="Rectangle 10">
            <a:extLst>
              <a:ext uri="{FF2B5EF4-FFF2-40B4-BE49-F238E27FC236}">
                <a16:creationId xmlns:a16="http://schemas.microsoft.com/office/drawing/2014/main" id="{4C0490AA-7912-40B0-9B96-319A8122CE01}"/>
              </a:ext>
            </a:extLst>
          </p:cNvPr>
          <p:cNvSpPr/>
          <p:nvPr/>
        </p:nvSpPr>
        <p:spPr>
          <a:xfrm>
            <a:off x="5879288" y="4997163"/>
            <a:ext cx="4229800" cy="993279"/>
          </a:xfrm>
          <a:prstGeom prst="rect">
            <a:avLst/>
          </a:prstGeom>
        </p:spPr>
        <p:txBody>
          <a:bodyPr wrap="square">
            <a:noAutofit/>
          </a:bodyPr>
          <a:lstStyle/>
          <a:p>
            <a:pPr algn="ctr">
              <a:spcBef>
                <a:spcPts val="600"/>
              </a:spcBef>
            </a:pPr>
            <a:r>
              <a:rPr lang="en-US" dirty="0"/>
              <a:t>Smart Applications REFerence ontology (SAREF)</a:t>
            </a:r>
          </a:p>
          <a:p>
            <a:pPr algn="ctr">
              <a:spcBef>
                <a:spcPts val="600"/>
              </a:spcBef>
            </a:pPr>
            <a:r>
              <a:rPr lang="en-US" dirty="0">
                <a:hlinkClick r:id="rId4"/>
              </a:rPr>
              <a:t>https://saref.etsi.org/</a:t>
            </a:r>
            <a:endParaRPr lang="en-US" dirty="0"/>
          </a:p>
        </p:txBody>
      </p:sp>
      <p:pic>
        <p:nvPicPr>
          <p:cNvPr id="12" name="Picture 1" descr="image002">
            <a:extLst>
              <a:ext uri="{FF2B5EF4-FFF2-40B4-BE49-F238E27FC236}">
                <a16:creationId xmlns:a16="http://schemas.microsoft.com/office/drawing/2014/main" id="{07510467-2EA0-4F2B-9303-E203A654C2AA}"/>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3">
            <a:extLst>
              <a:ext uri="{FF2B5EF4-FFF2-40B4-BE49-F238E27FC236}">
                <a16:creationId xmlns:a16="http://schemas.microsoft.com/office/drawing/2014/main" id="{6457AF83-A474-4424-B1E3-4016BE457C26}"/>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5050" t="25548" r="5027" b="22927"/>
          <a:stretch/>
        </p:blipFill>
        <p:spPr>
          <a:xfrm>
            <a:off x="7981248" y="313232"/>
            <a:ext cx="1270327" cy="406262"/>
          </a:xfrm>
          <a:prstGeom prst="rect">
            <a:avLst/>
          </a:prstGeom>
        </p:spPr>
      </p:pic>
    </p:spTree>
    <p:extLst>
      <p:ext uri="{BB962C8B-B14F-4D97-AF65-F5344CB8AC3E}">
        <p14:creationId xmlns:p14="http://schemas.microsoft.com/office/powerpoint/2010/main" val="14227249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40D98CA-9BC1-42A8-B19E-FF1397A9237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107" t="14401" r="2350" b="29705"/>
          <a:stretch/>
        </p:blipFill>
        <p:spPr>
          <a:xfrm>
            <a:off x="986457" y="2393004"/>
            <a:ext cx="5317066" cy="2315184"/>
          </a:xfrm>
          <a:prstGeom prst="rect">
            <a:avLst/>
          </a:prstGeom>
          <a:ln>
            <a:solidFill>
              <a:schemeClr val="tx1">
                <a:lumMod val="65000"/>
                <a:lumOff val="35000"/>
              </a:schemeClr>
            </a:solidFill>
          </a:ln>
        </p:spPr>
      </p:pic>
      <p:sp>
        <p:nvSpPr>
          <p:cNvPr id="2" name="Text Placeholder 1">
            <a:extLst>
              <a:ext uri="{FF2B5EF4-FFF2-40B4-BE49-F238E27FC236}">
                <a16:creationId xmlns:a16="http://schemas.microsoft.com/office/drawing/2014/main" id="{9B71C370-D5AD-4285-B597-DF811FF69E0D}"/>
              </a:ext>
            </a:extLst>
          </p:cNvPr>
          <p:cNvSpPr>
            <a:spLocks noGrp="1"/>
          </p:cNvSpPr>
          <p:nvPr>
            <p:ph type="body" sz="quarter" idx="11"/>
          </p:nvPr>
        </p:nvSpPr>
        <p:spPr/>
        <p:txBody>
          <a:bodyPr/>
          <a:lstStyle/>
          <a:p>
            <a:r>
              <a:rPr lang="en-US" dirty="0"/>
              <a:t>… SAREF is a (series of)</a:t>
            </a:r>
            <a:br>
              <a:rPr lang="en-US" dirty="0"/>
            </a:br>
            <a:r>
              <a:rPr lang="en-US" dirty="0"/>
              <a:t>Technical Specification (s)</a:t>
            </a:r>
          </a:p>
        </p:txBody>
      </p:sp>
      <p:sp>
        <p:nvSpPr>
          <p:cNvPr id="4" name="Slide Number Placeholder 3">
            <a:extLst>
              <a:ext uri="{FF2B5EF4-FFF2-40B4-BE49-F238E27FC236}">
                <a16:creationId xmlns:a16="http://schemas.microsoft.com/office/drawing/2014/main" id="{0BC0E82D-E994-409C-ADF9-120374BDE6FD}"/>
              </a:ext>
            </a:extLst>
          </p:cNvPr>
          <p:cNvSpPr>
            <a:spLocks noGrp="1"/>
          </p:cNvSpPr>
          <p:nvPr>
            <p:ph type="sldNum" sz="quarter" idx="4"/>
          </p:nvPr>
        </p:nvSpPr>
        <p:spPr/>
        <p:txBody>
          <a:bodyPr/>
          <a:lstStyle/>
          <a:p>
            <a:fld id="{EBC262BB-4310-134F-8D24-58475080D942}" type="slidenum">
              <a:rPr lang="en-US" smtClean="0"/>
              <a:pPr/>
              <a:t>16</a:t>
            </a:fld>
            <a:endParaRPr lang="en-US" dirty="0"/>
          </a:p>
        </p:txBody>
      </p:sp>
      <p:sp>
        <p:nvSpPr>
          <p:cNvPr id="11" name="Text Placeholder 2">
            <a:extLst>
              <a:ext uri="{FF2B5EF4-FFF2-40B4-BE49-F238E27FC236}">
                <a16:creationId xmlns:a16="http://schemas.microsoft.com/office/drawing/2014/main" id="{8B931C60-B751-4D40-A679-4B6147277B01}"/>
              </a:ext>
            </a:extLst>
          </p:cNvPr>
          <p:cNvSpPr>
            <a:spLocks noGrp="1"/>
          </p:cNvSpPr>
          <p:nvPr>
            <p:ph type="body" sz="quarter" idx="4294967295"/>
          </p:nvPr>
        </p:nvSpPr>
        <p:spPr>
          <a:xfrm>
            <a:off x="6839098" y="2401396"/>
            <a:ext cx="3467100" cy="2989262"/>
          </a:xfrm>
          <a:prstGeom prst="rect">
            <a:avLst/>
          </a:prstGeom>
        </p:spPr>
        <p:txBody>
          <a:bodyPr lIns="0" tIns="0" rIns="0" bIns="0">
            <a:noAutofit/>
          </a:bodyPr>
          <a:lstStyle/>
          <a:p>
            <a:pPr marL="0" indent="0">
              <a:spcBef>
                <a:spcPts val="600"/>
              </a:spcBef>
              <a:buNone/>
            </a:pPr>
            <a:r>
              <a:rPr lang="en-US" sz="1600" dirty="0">
                <a:solidFill>
                  <a:srgbClr val="404040"/>
                </a:solidFill>
                <a:cs typeface="Calibri" panose="020F0502020204030204" pitchFamily="34" charset="0"/>
              </a:rPr>
              <a:t>SAREF version 3 Technical Specification (February 2020): </a:t>
            </a:r>
            <a:r>
              <a:rPr lang="en-US" sz="1600" dirty="0">
                <a:solidFill>
                  <a:srgbClr val="404040"/>
                </a:solidFill>
                <a:cs typeface="Calibri" panose="020F0502020204030204" pitchFamily="34" charset="0"/>
                <a:hlinkClick r:id="rId4"/>
              </a:rPr>
              <a:t>TS 103 264 V3.1.1</a:t>
            </a:r>
            <a:endParaRPr lang="en-US" sz="1600" dirty="0">
              <a:solidFill>
                <a:srgbClr val="404040"/>
              </a:solidFill>
              <a:cs typeface="Calibri" panose="020F0502020204030204" pitchFamily="34" charset="0"/>
            </a:endParaRPr>
          </a:p>
          <a:p>
            <a:pPr marL="0" indent="0">
              <a:buNone/>
            </a:pPr>
            <a:r>
              <a:rPr lang="en-US" sz="1600" dirty="0">
                <a:solidFill>
                  <a:srgbClr val="404040"/>
                </a:solidFill>
                <a:ea typeface="ヒラギノ角ゴ Pro W3" charset="0"/>
                <a:cs typeface="Calibri" panose="020F0502020204030204" pitchFamily="34" charset="0"/>
              </a:rPr>
              <a:t>Previous versions</a:t>
            </a:r>
          </a:p>
          <a:p>
            <a:pPr>
              <a:spcBef>
                <a:spcPts val="600"/>
              </a:spcBef>
            </a:pPr>
            <a:r>
              <a:rPr lang="en-US" sz="1600" dirty="0"/>
              <a:t>SAREF version 2 Technical Specification (March 2017): </a:t>
            </a:r>
            <a:r>
              <a:rPr lang="en-US" sz="1600" dirty="0">
                <a:hlinkClick r:id="rId5"/>
              </a:rPr>
              <a:t>TS 103 264 V2.1.1</a:t>
            </a:r>
            <a:endParaRPr lang="en-US" sz="1600" dirty="0"/>
          </a:p>
          <a:p>
            <a:pPr>
              <a:spcBef>
                <a:spcPts val="600"/>
              </a:spcBef>
            </a:pPr>
            <a:r>
              <a:rPr lang="en-US" sz="1600" dirty="0"/>
              <a:t>SAREF version 1 Technical Specification (November 2015): </a:t>
            </a:r>
            <a:r>
              <a:rPr lang="en-US" sz="1600" dirty="0">
                <a:hlinkClick r:id="rId6"/>
              </a:rPr>
              <a:t>TS 103 264 V1.1.1</a:t>
            </a:r>
            <a:endParaRPr lang="en-US" sz="1600" dirty="0"/>
          </a:p>
        </p:txBody>
      </p:sp>
      <p:sp>
        <p:nvSpPr>
          <p:cNvPr id="10" name="Text Placeholder 2">
            <a:extLst>
              <a:ext uri="{FF2B5EF4-FFF2-40B4-BE49-F238E27FC236}">
                <a16:creationId xmlns:a16="http://schemas.microsoft.com/office/drawing/2014/main" id="{8B931C60-B751-4D40-A679-4B6147277B01}"/>
              </a:ext>
            </a:extLst>
          </p:cNvPr>
          <p:cNvSpPr txBox="1">
            <a:spLocks/>
          </p:cNvSpPr>
          <p:nvPr/>
        </p:nvSpPr>
        <p:spPr>
          <a:xfrm>
            <a:off x="986457" y="1947899"/>
            <a:ext cx="5317066" cy="289463"/>
          </a:xfrm>
          <a:prstGeom prst="rect">
            <a:avLst/>
          </a:prstGeom>
        </p:spPr>
        <p:txBody>
          <a:bodyPr lIns="0" tIns="0" rIns="0" bIns="0">
            <a:noAutofit/>
          </a:bodyPr>
          <a:lstStyle>
            <a:lvl1pPr marL="342900" marR="0" indent="-342900" algn="l" defTabSz="914400" rtl="0" eaLnBrk="1" fontAlgn="auto" latinLnBrk="0" hangingPunct="1">
              <a:lnSpc>
                <a:spcPct val="100000"/>
              </a:lnSpc>
              <a:spcBef>
                <a:spcPts val="2200"/>
              </a:spcBef>
              <a:spcAft>
                <a:spcPts val="0"/>
              </a:spcAft>
              <a:buClr>
                <a:srgbClr val="EDAE00"/>
              </a:buClr>
              <a:buSzTx/>
              <a:buFont typeface="Arial" charset="0"/>
              <a:buChar char="•"/>
              <a:tabLst/>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600"/>
              </a:spcBef>
              <a:buFont typeface="Arial" charset="0"/>
              <a:buNone/>
            </a:pPr>
            <a:r>
              <a:rPr lang="en-US" dirty="0">
                <a:cs typeface="Calibri" panose="020F0502020204030204" pitchFamily="34" charset="0"/>
              </a:rPr>
              <a:t>ETSI TS 103 264 </a:t>
            </a:r>
            <a:r>
              <a:rPr lang="en-US" sz="1600" dirty="0">
                <a:cs typeface="Calibri" panose="020F0502020204030204" pitchFamily="34" charset="0"/>
              </a:rPr>
              <a:t>V3.1.1 (2020–02)</a:t>
            </a:r>
            <a:endParaRPr lang="en-US" sz="1600" dirty="0"/>
          </a:p>
        </p:txBody>
      </p:sp>
      <p:sp>
        <p:nvSpPr>
          <p:cNvPr id="12" name="Text Placeholder 2">
            <a:extLst>
              <a:ext uri="{FF2B5EF4-FFF2-40B4-BE49-F238E27FC236}">
                <a16:creationId xmlns:a16="http://schemas.microsoft.com/office/drawing/2014/main" id="{8B931C60-B751-4D40-A679-4B6147277B01}"/>
              </a:ext>
            </a:extLst>
          </p:cNvPr>
          <p:cNvSpPr txBox="1">
            <a:spLocks/>
          </p:cNvSpPr>
          <p:nvPr/>
        </p:nvSpPr>
        <p:spPr>
          <a:xfrm>
            <a:off x="986457" y="4937614"/>
            <a:ext cx="5317066" cy="954107"/>
          </a:xfrm>
          <a:prstGeom prst="rect">
            <a:avLst/>
          </a:prstGeom>
        </p:spPr>
        <p:txBody>
          <a:bodyPr lIns="0" tIns="0" rIns="0" bIns="0">
            <a:noAutofit/>
          </a:bodyPr>
          <a:lstStyle>
            <a:lvl1pPr marL="342900" marR="0" indent="-342900" algn="l" defTabSz="914400" rtl="0" eaLnBrk="1" fontAlgn="auto" latinLnBrk="0" hangingPunct="1">
              <a:lnSpc>
                <a:spcPct val="100000"/>
              </a:lnSpc>
              <a:spcBef>
                <a:spcPts val="2200"/>
              </a:spcBef>
              <a:spcAft>
                <a:spcPts val="0"/>
              </a:spcAft>
              <a:buClr>
                <a:srgbClr val="EDAE00"/>
              </a:buClr>
              <a:buSzTx/>
              <a:buFont typeface="Arial" charset="0"/>
              <a:buChar char="•"/>
              <a:tabLst/>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600"/>
              </a:spcBef>
              <a:buFont typeface="Arial" charset="0"/>
              <a:buNone/>
            </a:pPr>
            <a:r>
              <a:rPr lang="en-US" dirty="0">
                <a:cs typeface="Calibri" panose="020F0502020204030204" pitchFamily="34" charset="0"/>
              </a:rPr>
              <a:t>SmartM2M;</a:t>
            </a:r>
          </a:p>
          <a:p>
            <a:pPr marL="0" indent="0" algn="ctr">
              <a:spcBef>
                <a:spcPts val="600"/>
              </a:spcBef>
              <a:buFont typeface="Arial" charset="0"/>
              <a:buNone/>
            </a:pPr>
            <a:r>
              <a:rPr lang="en-US" sz="1600" dirty="0">
                <a:cs typeface="Calibri" panose="020F0502020204030204" pitchFamily="34" charset="0"/>
              </a:rPr>
              <a:t>Smart Applications;</a:t>
            </a:r>
          </a:p>
          <a:p>
            <a:pPr marL="0" indent="0" algn="ctr">
              <a:spcBef>
                <a:spcPts val="600"/>
              </a:spcBef>
              <a:buFont typeface="Arial" charset="0"/>
              <a:buNone/>
            </a:pPr>
            <a:r>
              <a:rPr lang="en-US" sz="1600" dirty="0">
                <a:cs typeface="Calibri" panose="020F0502020204030204" pitchFamily="34" charset="0"/>
              </a:rPr>
              <a:t>Reference Ontology and oneM2M Mapping</a:t>
            </a:r>
            <a:endParaRPr lang="en-US" sz="1600" dirty="0"/>
          </a:p>
        </p:txBody>
      </p:sp>
      <p:pic>
        <p:nvPicPr>
          <p:cNvPr id="13" name="Picture 1" descr="image002">
            <a:extLst>
              <a:ext uri="{FF2B5EF4-FFF2-40B4-BE49-F238E27FC236}">
                <a16:creationId xmlns:a16="http://schemas.microsoft.com/office/drawing/2014/main" id="{2ABB324A-AE2A-4D47-9D7F-AC777666729C}"/>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15">
            <a:extLst>
              <a:ext uri="{FF2B5EF4-FFF2-40B4-BE49-F238E27FC236}">
                <a16:creationId xmlns:a16="http://schemas.microsoft.com/office/drawing/2014/main" id="{814A04DB-C943-44C0-8086-A2ADDB0CF09A}"/>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5050" t="25548" r="5027" b="22927"/>
          <a:stretch/>
        </p:blipFill>
        <p:spPr>
          <a:xfrm>
            <a:off x="7981248" y="313232"/>
            <a:ext cx="1270327" cy="406262"/>
          </a:xfrm>
          <a:prstGeom prst="rect">
            <a:avLst/>
          </a:prstGeom>
        </p:spPr>
      </p:pic>
    </p:spTree>
    <p:extLst>
      <p:ext uri="{BB962C8B-B14F-4D97-AF65-F5344CB8AC3E}">
        <p14:creationId xmlns:p14="http://schemas.microsoft.com/office/powerpoint/2010/main" val="36121834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B71C370-D5AD-4285-B597-DF811FF69E0D}"/>
              </a:ext>
            </a:extLst>
          </p:cNvPr>
          <p:cNvSpPr>
            <a:spLocks noGrp="1"/>
          </p:cNvSpPr>
          <p:nvPr>
            <p:ph type="body" sz="quarter" idx="11"/>
          </p:nvPr>
        </p:nvSpPr>
        <p:spPr/>
        <p:txBody>
          <a:bodyPr/>
          <a:lstStyle/>
          <a:p>
            <a:r>
              <a:rPr lang="en-US" dirty="0"/>
              <a:t>… SAREF is also a portal with a very pretty </a:t>
            </a:r>
          </a:p>
          <a:p>
            <a:r>
              <a:rPr lang="en-US" dirty="0"/>
              <a:t>and user-friendly documentation</a:t>
            </a:r>
          </a:p>
        </p:txBody>
      </p:sp>
      <p:sp>
        <p:nvSpPr>
          <p:cNvPr id="4" name="Slide Number Placeholder 3">
            <a:extLst>
              <a:ext uri="{FF2B5EF4-FFF2-40B4-BE49-F238E27FC236}">
                <a16:creationId xmlns:a16="http://schemas.microsoft.com/office/drawing/2014/main" id="{0BC0E82D-E994-409C-ADF9-120374BDE6FD}"/>
              </a:ext>
            </a:extLst>
          </p:cNvPr>
          <p:cNvSpPr>
            <a:spLocks noGrp="1"/>
          </p:cNvSpPr>
          <p:nvPr>
            <p:ph type="sldNum" sz="quarter" idx="4"/>
          </p:nvPr>
        </p:nvSpPr>
        <p:spPr/>
        <p:txBody>
          <a:bodyPr/>
          <a:lstStyle/>
          <a:p>
            <a:fld id="{EBC262BB-4310-134F-8D24-58475080D942}" type="slidenum">
              <a:rPr lang="en-US" smtClean="0"/>
              <a:pPr/>
              <a:t>17</a:t>
            </a:fld>
            <a:endParaRPr lang="en-US" dirty="0"/>
          </a:p>
        </p:txBody>
      </p:sp>
      <p:sp>
        <p:nvSpPr>
          <p:cNvPr id="10" name="Rectangle 9">
            <a:extLst>
              <a:ext uri="{FF2B5EF4-FFF2-40B4-BE49-F238E27FC236}">
                <a16:creationId xmlns:a16="http://schemas.microsoft.com/office/drawing/2014/main" id="{D5DD1B4E-D1C6-457B-8BEF-595BA13FB236}"/>
              </a:ext>
            </a:extLst>
          </p:cNvPr>
          <p:cNvSpPr/>
          <p:nvPr/>
        </p:nvSpPr>
        <p:spPr>
          <a:xfrm>
            <a:off x="1326933" y="5410035"/>
            <a:ext cx="4182555" cy="369332"/>
          </a:xfrm>
          <a:prstGeom prst="rect">
            <a:avLst/>
          </a:prstGeom>
        </p:spPr>
        <p:txBody>
          <a:bodyPr wrap="none">
            <a:noAutofit/>
          </a:bodyPr>
          <a:lstStyle/>
          <a:p>
            <a:pPr>
              <a:spcBef>
                <a:spcPts val="600"/>
              </a:spcBef>
            </a:pPr>
            <a:r>
              <a:rPr lang="en-US" dirty="0">
                <a:hlinkClick r:id="rId3"/>
              </a:rPr>
              <a:t>https://saref.etsi.org/core/</a:t>
            </a:r>
            <a:endParaRPr lang="en-US" dirty="0"/>
          </a:p>
        </p:txBody>
      </p:sp>
      <p:pic>
        <p:nvPicPr>
          <p:cNvPr id="7" name="Picture 6">
            <a:extLst>
              <a:ext uri="{FF2B5EF4-FFF2-40B4-BE49-F238E27FC236}">
                <a16:creationId xmlns:a16="http://schemas.microsoft.com/office/drawing/2014/main" id="{903E5D6E-D9D7-4860-A57A-F091F0085CA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85764" y="1870409"/>
            <a:ext cx="4864894" cy="3416432"/>
          </a:xfrm>
          <a:prstGeom prst="rect">
            <a:avLst/>
          </a:prstGeom>
          <a:ln>
            <a:solidFill>
              <a:schemeClr val="tx1">
                <a:lumMod val="65000"/>
                <a:lumOff val="35000"/>
              </a:schemeClr>
            </a:solidFill>
          </a:ln>
        </p:spPr>
      </p:pic>
      <p:pic>
        <p:nvPicPr>
          <p:cNvPr id="3" name="Picture 2">
            <a:extLst>
              <a:ext uri="{FF2B5EF4-FFF2-40B4-BE49-F238E27FC236}">
                <a16:creationId xmlns:a16="http://schemas.microsoft.com/office/drawing/2014/main" id="{3A87C5E7-9DB5-451C-9E88-1483AE54B8C8}"/>
              </a:ext>
            </a:extLst>
          </p:cNvPr>
          <p:cNvPicPr>
            <a:picLocks noChangeAspect="1"/>
          </p:cNvPicPr>
          <p:nvPr/>
        </p:nvPicPr>
        <p:blipFill>
          <a:blip r:embed="rId5"/>
          <a:stretch>
            <a:fillRect/>
          </a:stretch>
        </p:blipFill>
        <p:spPr>
          <a:xfrm>
            <a:off x="6033510" y="2459206"/>
            <a:ext cx="4241453" cy="2827635"/>
          </a:xfrm>
          <a:prstGeom prst="rect">
            <a:avLst/>
          </a:prstGeom>
          <a:ln>
            <a:solidFill>
              <a:schemeClr val="tx1">
                <a:lumMod val="65000"/>
                <a:lumOff val="35000"/>
              </a:schemeClr>
            </a:solidFill>
          </a:ln>
        </p:spPr>
      </p:pic>
      <p:sp>
        <p:nvSpPr>
          <p:cNvPr id="5" name="Rectangle 4">
            <a:extLst>
              <a:ext uri="{FF2B5EF4-FFF2-40B4-BE49-F238E27FC236}">
                <a16:creationId xmlns:a16="http://schemas.microsoft.com/office/drawing/2014/main" id="{8C1F54F4-ECC4-4575-B0EC-52431EBF99B6}"/>
              </a:ext>
            </a:extLst>
          </p:cNvPr>
          <p:cNvSpPr/>
          <p:nvPr/>
        </p:nvSpPr>
        <p:spPr>
          <a:xfrm>
            <a:off x="5718314" y="5543051"/>
            <a:ext cx="4871847" cy="369332"/>
          </a:xfrm>
          <a:prstGeom prst="rect">
            <a:avLst/>
          </a:prstGeom>
        </p:spPr>
        <p:txBody>
          <a:bodyPr wrap="none">
            <a:noAutofit/>
          </a:bodyPr>
          <a:lstStyle/>
          <a:p>
            <a:r>
              <a:rPr lang="en-US" dirty="0">
                <a:hlinkClick r:id="rId6"/>
              </a:rPr>
              <a:t>https://saref.etsi.org/core/Device</a:t>
            </a:r>
            <a:endParaRPr lang="en-US" dirty="0"/>
          </a:p>
        </p:txBody>
      </p:sp>
      <p:pic>
        <p:nvPicPr>
          <p:cNvPr id="12" name="Picture 1" descr="image002">
            <a:extLst>
              <a:ext uri="{FF2B5EF4-FFF2-40B4-BE49-F238E27FC236}">
                <a16:creationId xmlns:a16="http://schemas.microsoft.com/office/drawing/2014/main" id="{537E4225-0204-441F-B8A9-353D4BB4CDB8}"/>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2">
            <a:extLst>
              <a:ext uri="{FF2B5EF4-FFF2-40B4-BE49-F238E27FC236}">
                <a16:creationId xmlns:a16="http://schemas.microsoft.com/office/drawing/2014/main" id="{1CCB69A4-4F05-4B26-9482-F208C5B28BC9}"/>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5050" t="25548" r="5027" b="22927"/>
          <a:stretch/>
        </p:blipFill>
        <p:spPr>
          <a:xfrm>
            <a:off x="7981248" y="313232"/>
            <a:ext cx="1270327" cy="406262"/>
          </a:xfrm>
          <a:prstGeom prst="rect">
            <a:avLst/>
          </a:prstGeom>
        </p:spPr>
      </p:pic>
    </p:spTree>
    <p:extLst>
      <p:ext uri="{BB962C8B-B14F-4D97-AF65-F5344CB8AC3E}">
        <p14:creationId xmlns:p14="http://schemas.microsoft.com/office/powerpoint/2010/main" val="161649756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49A8564-E024-49D2-9ECA-0DB838BB721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85764" y="1870409"/>
            <a:ext cx="6470442" cy="3416432"/>
          </a:xfrm>
          <a:prstGeom prst="rect">
            <a:avLst/>
          </a:prstGeom>
          <a:ln>
            <a:solidFill>
              <a:schemeClr val="tx1">
                <a:lumMod val="65000"/>
                <a:lumOff val="35000"/>
              </a:schemeClr>
            </a:solidFill>
          </a:ln>
        </p:spPr>
      </p:pic>
      <p:sp>
        <p:nvSpPr>
          <p:cNvPr id="2" name="Text Placeholder 1">
            <a:extLst>
              <a:ext uri="{FF2B5EF4-FFF2-40B4-BE49-F238E27FC236}">
                <a16:creationId xmlns:a16="http://schemas.microsoft.com/office/drawing/2014/main" id="{9B71C370-D5AD-4285-B597-DF811FF69E0D}"/>
              </a:ext>
            </a:extLst>
          </p:cNvPr>
          <p:cNvSpPr>
            <a:spLocks noGrp="1"/>
          </p:cNvSpPr>
          <p:nvPr>
            <p:ph type="body" sz="quarter" idx="11"/>
          </p:nvPr>
        </p:nvSpPr>
        <p:spPr/>
        <p:txBody>
          <a:bodyPr/>
          <a:lstStyle/>
          <a:p>
            <a:r>
              <a:rPr lang="en-US" dirty="0"/>
              <a:t>… SAREF is a repository for developers</a:t>
            </a:r>
          </a:p>
        </p:txBody>
      </p:sp>
      <p:sp>
        <p:nvSpPr>
          <p:cNvPr id="4" name="Slide Number Placeholder 3">
            <a:extLst>
              <a:ext uri="{FF2B5EF4-FFF2-40B4-BE49-F238E27FC236}">
                <a16:creationId xmlns:a16="http://schemas.microsoft.com/office/drawing/2014/main" id="{0BC0E82D-E994-409C-ADF9-120374BDE6FD}"/>
              </a:ext>
            </a:extLst>
          </p:cNvPr>
          <p:cNvSpPr>
            <a:spLocks noGrp="1"/>
          </p:cNvSpPr>
          <p:nvPr>
            <p:ph type="sldNum" sz="quarter" idx="4"/>
          </p:nvPr>
        </p:nvSpPr>
        <p:spPr/>
        <p:txBody>
          <a:bodyPr/>
          <a:lstStyle/>
          <a:p>
            <a:fld id="{EBC262BB-4310-134F-8D24-58475080D942}" type="slidenum">
              <a:rPr lang="en-US" smtClean="0"/>
              <a:pPr/>
              <a:t>18</a:t>
            </a:fld>
            <a:endParaRPr lang="en-US" dirty="0"/>
          </a:p>
        </p:txBody>
      </p:sp>
      <p:sp>
        <p:nvSpPr>
          <p:cNvPr id="9" name="ee4pFootnotes"/>
          <p:cNvSpPr>
            <a:spLocks noChangeArrowheads="1"/>
          </p:cNvSpPr>
          <p:nvPr/>
        </p:nvSpPr>
        <p:spPr bwMode="auto">
          <a:xfrm>
            <a:off x="2467992" y="6282941"/>
            <a:ext cx="7641096"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cs typeface="Arial" pitchFamily="34" charset="0"/>
              </a:rPr>
              <a:t>Main contact SAREF portal:</a:t>
            </a:r>
          </a:p>
          <a:p>
            <a:pPr>
              <a:lnSpc>
                <a:spcPct val="90000"/>
              </a:lnSpc>
            </a:pPr>
            <a:r>
              <a:rPr lang="en-US" sz="1000" dirty="0">
                <a:cs typeface="Arial" pitchFamily="34" charset="0"/>
              </a:rPr>
              <a:t>Maxime Lefrançois, IMT - MINES Saint-Étienne, </a:t>
            </a:r>
            <a:r>
              <a:rPr lang="en-US" sz="1000" dirty="0">
                <a:cs typeface="Arial" pitchFamily="34" charset="0"/>
                <a:hlinkClick r:id="rId4"/>
              </a:rPr>
              <a:t>maxime.lefrancois@emse.fr</a:t>
            </a:r>
            <a:r>
              <a:rPr lang="en-US" sz="1000" dirty="0">
                <a:cs typeface="Arial" pitchFamily="34" charset="0"/>
              </a:rPr>
              <a:t> (STF 578 leader)</a:t>
            </a:r>
          </a:p>
        </p:txBody>
      </p:sp>
      <p:sp>
        <p:nvSpPr>
          <p:cNvPr id="10" name="Rectangle 9">
            <a:extLst>
              <a:ext uri="{FF2B5EF4-FFF2-40B4-BE49-F238E27FC236}">
                <a16:creationId xmlns:a16="http://schemas.microsoft.com/office/drawing/2014/main" id="{D5DD1B4E-D1C6-457B-8BEF-595BA13FB236}"/>
              </a:ext>
            </a:extLst>
          </p:cNvPr>
          <p:cNvSpPr/>
          <p:nvPr/>
        </p:nvSpPr>
        <p:spPr>
          <a:xfrm>
            <a:off x="1326933" y="5410035"/>
            <a:ext cx="4596130" cy="369332"/>
          </a:xfrm>
          <a:prstGeom prst="rect">
            <a:avLst/>
          </a:prstGeom>
        </p:spPr>
        <p:txBody>
          <a:bodyPr wrap="none">
            <a:noAutofit/>
          </a:bodyPr>
          <a:lstStyle/>
          <a:p>
            <a:pPr>
              <a:spcBef>
                <a:spcPts val="600"/>
              </a:spcBef>
            </a:pPr>
            <a:r>
              <a:rPr lang="en-US" dirty="0">
                <a:hlinkClick r:id="rId5"/>
              </a:rPr>
              <a:t>https://forge.etsi.org/rep/SAREF</a:t>
            </a:r>
            <a:endParaRPr lang="en-US" dirty="0"/>
          </a:p>
        </p:txBody>
      </p:sp>
      <p:pic>
        <p:nvPicPr>
          <p:cNvPr id="8" name="Picture 1" descr="image002">
            <a:extLst>
              <a:ext uri="{FF2B5EF4-FFF2-40B4-BE49-F238E27FC236}">
                <a16:creationId xmlns:a16="http://schemas.microsoft.com/office/drawing/2014/main" id="{DD7DEE87-6FFB-4B99-B935-B9B7337AFF55}"/>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a:extLst>
              <a:ext uri="{FF2B5EF4-FFF2-40B4-BE49-F238E27FC236}">
                <a16:creationId xmlns:a16="http://schemas.microsoft.com/office/drawing/2014/main" id="{38F95046-B48B-4E62-8D5F-373D4F04327C}"/>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5050" t="25548" r="5027" b="22927"/>
          <a:stretch/>
        </p:blipFill>
        <p:spPr>
          <a:xfrm>
            <a:off x="7981248" y="313232"/>
            <a:ext cx="1270327" cy="406262"/>
          </a:xfrm>
          <a:prstGeom prst="rect">
            <a:avLst/>
          </a:prstGeom>
        </p:spPr>
      </p:pic>
    </p:spTree>
    <p:extLst>
      <p:ext uri="{BB962C8B-B14F-4D97-AF65-F5344CB8AC3E}">
        <p14:creationId xmlns:p14="http://schemas.microsoft.com/office/powerpoint/2010/main" val="293845444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B71C370-D5AD-4285-B597-DF811FF69E0D}"/>
              </a:ext>
            </a:extLst>
          </p:cNvPr>
          <p:cNvSpPr>
            <a:spLocks noGrp="1"/>
          </p:cNvSpPr>
          <p:nvPr>
            <p:ph type="body" sz="quarter" idx="11"/>
          </p:nvPr>
        </p:nvSpPr>
        <p:spPr>
          <a:xfrm>
            <a:off x="985764" y="362663"/>
            <a:ext cx="10644448" cy="826313"/>
          </a:xfrm>
        </p:spPr>
        <p:txBody>
          <a:bodyPr/>
          <a:lstStyle/>
          <a:p>
            <a:r>
              <a:rPr lang="en-US" dirty="0"/>
              <a:t>… with a pipeline and automated workflow </a:t>
            </a:r>
          </a:p>
          <a:p>
            <a:r>
              <a:rPr lang="en-US" dirty="0"/>
              <a:t>for checking consistency &amp; correctness and creating documentation …</a:t>
            </a:r>
          </a:p>
        </p:txBody>
      </p:sp>
      <p:sp>
        <p:nvSpPr>
          <p:cNvPr id="4" name="Slide Number Placeholder 3">
            <a:extLst>
              <a:ext uri="{FF2B5EF4-FFF2-40B4-BE49-F238E27FC236}">
                <a16:creationId xmlns:a16="http://schemas.microsoft.com/office/drawing/2014/main" id="{0BC0E82D-E994-409C-ADF9-120374BDE6FD}"/>
              </a:ext>
            </a:extLst>
          </p:cNvPr>
          <p:cNvSpPr>
            <a:spLocks noGrp="1"/>
          </p:cNvSpPr>
          <p:nvPr>
            <p:ph type="sldNum" sz="quarter" idx="4"/>
          </p:nvPr>
        </p:nvSpPr>
        <p:spPr/>
        <p:txBody>
          <a:bodyPr/>
          <a:lstStyle/>
          <a:p>
            <a:fld id="{EBC262BB-4310-134F-8D24-58475080D942}" type="slidenum">
              <a:rPr lang="en-US" smtClean="0"/>
              <a:pPr/>
              <a:t>19</a:t>
            </a:fld>
            <a:endParaRPr lang="en-US" dirty="0"/>
          </a:p>
        </p:txBody>
      </p:sp>
      <p:sp>
        <p:nvSpPr>
          <p:cNvPr id="10" name="ee4pFootnotes"/>
          <p:cNvSpPr>
            <a:spLocks noChangeArrowheads="1"/>
          </p:cNvSpPr>
          <p:nvPr/>
        </p:nvSpPr>
        <p:spPr bwMode="auto">
          <a:xfrm>
            <a:off x="2467992" y="6282941"/>
            <a:ext cx="7641096"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cs typeface="Arial" pitchFamily="34" charset="0"/>
              </a:rPr>
              <a:t>Main contact SAREF portal</a:t>
            </a:r>
          </a:p>
          <a:p>
            <a:pPr>
              <a:lnSpc>
                <a:spcPct val="90000"/>
              </a:lnSpc>
            </a:pPr>
            <a:r>
              <a:rPr lang="en-US" sz="1000" dirty="0">
                <a:cs typeface="Arial" pitchFamily="34" charset="0"/>
              </a:rPr>
              <a:t>Maxime Lefrançois, IMT - MINES Saint-Étienne, </a:t>
            </a:r>
            <a:r>
              <a:rPr lang="en-US" sz="1000" dirty="0">
                <a:cs typeface="Arial" pitchFamily="34" charset="0"/>
                <a:hlinkClick r:id="rId3"/>
              </a:rPr>
              <a:t>maxime.lefrancois@emse.fr</a:t>
            </a:r>
            <a:r>
              <a:rPr lang="en-US" sz="1000" dirty="0">
                <a:cs typeface="Arial" pitchFamily="34" charset="0"/>
              </a:rPr>
              <a:t> (STF 578 leader)</a:t>
            </a:r>
          </a:p>
        </p:txBody>
      </p:sp>
      <p:pic>
        <p:nvPicPr>
          <p:cNvPr id="16" name="Picture 15">
            <a:extLst>
              <a:ext uri="{FF2B5EF4-FFF2-40B4-BE49-F238E27FC236}">
                <a16:creationId xmlns:a16="http://schemas.microsoft.com/office/drawing/2014/main" id="{5DE4879D-4906-4C71-A3A5-B16F136FE35F}"/>
              </a:ext>
            </a:extLst>
          </p:cNvPr>
          <p:cNvPicPr>
            <a:picLocks noChangeAspect="1"/>
          </p:cNvPicPr>
          <p:nvPr/>
        </p:nvPicPr>
        <p:blipFill>
          <a:blip r:embed="rId4"/>
          <a:stretch>
            <a:fillRect/>
          </a:stretch>
        </p:blipFill>
        <p:spPr>
          <a:xfrm>
            <a:off x="985764" y="1870409"/>
            <a:ext cx="5425577" cy="3416432"/>
          </a:xfrm>
          <a:prstGeom prst="rect">
            <a:avLst/>
          </a:prstGeom>
          <a:ln>
            <a:solidFill>
              <a:schemeClr val="tx1">
                <a:lumMod val="65000"/>
                <a:lumOff val="35000"/>
              </a:schemeClr>
            </a:solidFill>
          </a:ln>
        </p:spPr>
      </p:pic>
      <p:sp>
        <p:nvSpPr>
          <p:cNvPr id="15" name="Rectangle 14">
            <a:extLst>
              <a:ext uri="{FF2B5EF4-FFF2-40B4-BE49-F238E27FC236}">
                <a16:creationId xmlns:a16="http://schemas.microsoft.com/office/drawing/2014/main" id="{99A1F14C-BD89-41DC-87AC-1524ED0E64D4}"/>
              </a:ext>
            </a:extLst>
          </p:cNvPr>
          <p:cNvSpPr/>
          <p:nvPr/>
        </p:nvSpPr>
        <p:spPr>
          <a:xfrm>
            <a:off x="1326933" y="5410035"/>
            <a:ext cx="6801862" cy="369332"/>
          </a:xfrm>
          <a:prstGeom prst="rect">
            <a:avLst/>
          </a:prstGeom>
        </p:spPr>
        <p:txBody>
          <a:bodyPr wrap="none">
            <a:spAutoFit/>
          </a:bodyPr>
          <a:lstStyle/>
          <a:p>
            <a:r>
              <a:rPr lang="en-US" dirty="0">
                <a:hlinkClick r:id="rId5"/>
              </a:rPr>
              <a:t>https://forge.etsi.org/rep/SAREF/saref-pipeline</a:t>
            </a:r>
            <a:endParaRPr lang="en-US" dirty="0"/>
          </a:p>
        </p:txBody>
      </p:sp>
      <p:pic>
        <p:nvPicPr>
          <p:cNvPr id="8" name="Picture 1" descr="image002">
            <a:extLst>
              <a:ext uri="{FF2B5EF4-FFF2-40B4-BE49-F238E27FC236}">
                <a16:creationId xmlns:a16="http://schemas.microsoft.com/office/drawing/2014/main" id="{B0F3CBF2-0BF2-4122-BCBB-5F469812E9A0}"/>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a:extLst>
              <a:ext uri="{FF2B5EF4-FFF2-40B4-BE49-F238E27FC236}">
                <a16:creationId xmlns:a16="http://schemas.microsoft.com/office/drawing/2014/main" id="{11312B0B-DB01-4F02-9B5A-2E880B6CD237}"/>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5050" t="25548" r="5027" b="22927"/>
          <a:stretch/>
        </p:blipFill>
        <p:spPr>
          <a:xfrm>
            <a:off x="7981248" y="313232"/>
            <a:ext cx="1270327" cy="406262"/>
          </a:xfrm>
          <a:prstGeom prst="rect">
            <a:avLst/>
          </a:prstGeom>
        </p:spPr>
      </p:pic>
    </p:spTree>
    <p:extLst>
      <p:ext uri="{BB962C8B-B14F-4D97-AF65-F5344CB8AC3E}">
        <p14:creationId xmlns:p14="http://schemas.microsoft.com/office/powerpoint/2010/main" val="36009429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Multiple paths to the destination: The SAREF journey</a:t>
            </a:r>
          </a:p>
        </p:txBody>
      </p:sp>
      <p:sp>
        <p:nvSpPr>
          <p:cNvPr id="3" name="Text Placeholder 2"/>
          <p:cNvSpPr>
            <a:spLocks noGrp="1"/>
          </p:cNvSpPr>
          <p:nvPr>
            <p:ph type="body" sz="quarter" idx="14"/>
          </p:nvPr>
        </p:nvSpPr>
        <p:spPr>
          <a:xfrm>
            <a:off x="985764" y="4718689"/>
            <a:ext cx="5561168" cy="584775"/>
          </a:xfrm>
        </p:spPr>
        <p:txBody>
          <a:bodyPr>
            <a:noAutofit/>
          </a:bodyPr>
          <a:lstStyle/>
          <a:p>
            <a:r>
              <a:rPr lang="en-US" dirty="0"/>
              <a:t>Keynote @LDAC2020 - 8th Linked Data in Architecture and Construction Workshop</a:t>
            </a:r>
          </a:p>
        </p:txBody>
      </p:sp>
      <p:sp>
        <p:nvSpPr>
          <p:cNvPr id="4" name="Text Placeholder 3"/>
          <p:cNvSpPr>
            <a:spLocks noGrp="1"/>
          </p:cNvSpPr>
          <p:nvPr>
            <p:ph type="body" sz="quarter" idx="15"/>
          </p:nvPr>
        </p:nvSpPr>
        <p:spPr/>
        <p:txBody>
          <a:bodyPr/>
          <a:lstStyle/>
          <a:p>
            <a:r>
              <a:rPr lang="en-US" dirty="0"/>
              <a:t>Laura Daniele, TNO</a:t>
            </a:r>
          </a:p>
        </p:txBody>
      </p:sp>
      <p:sp>
        <p:nvSpPr>
          <p:cNvPr id="11" name="Text Placeholder 10"/>
          <p:cNvSpPr>
            <a:spLocks noGrp="1"/>
          </p:cNvSpPr>
          <p:nvPr>
            <p:ph type="body" sz="quarter" idx="16"/>
          </p:nvPr>
        </p:nvSpPr>
        <p:spPr>
          <a:xfrm>
            <a:off x="985764" y="5403131"/>
            <a:ext cx="5561168" cy="347690"/>
          </a:xfrm>
        </p:spPr>
        <p:txBody>
          <a:bodyPr/>
          <a:lstStyle/>
          <a:p>
            <a:r>
              <a:rPr lang="en-US" dirty="0"/>
              <a:t>18 June 2020</a:t>
            </a:r>
          </a:p>
        </p:txBody>
      </p:sp>
      <p:sp>
        <p:nvSpPr>
          <p:cNvPr id="6" name="Slide Number Placeholder 5"/>
          <p:cNvSpPr>
            <a:spLocks noGrp="1"/>
          </p:cNvSpPr>
          <p:nvPr>
            <p:ph type="sldNum" sz="quarter" idx="4"/>
          </p:nvPr>
        </p:nvSpPr>
        <p:spPr/>
        <p:txBody>
          <a:bodyPr/>
          <a:lstStyle/>
          <a:p>
            <a:fld id="{EBC262BB-4310-134F-8D24-58475080D942}" type="slidenum">
              <a:rPr lang="en-US" smtClean="0"/>
              <a:pPr/>
              <a:t>2</a:t>
            </a:fld>
            <a:endParaRPr lang="en-US" dirty="0"/>
          </a:p>
        </p:txBody>
      </p:sp>
    </p:spTree>
    <p:extLst>
      <p:ext uri="{BB962C8B-B14F-4D97-AF65-F5344CB8AC3E}">
        <p14:creationId xmlns:p14="http://schemas.microsoft.com/office/powerpoint/2010/main" val="391454006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B71C370-D5AD-4285-B597-DF811FF69E0D}"/>
              </a:ext>
            </a:extLst>
          </p:cNvPr>
          <p:cNvSpPr>
            <a:spLocks noGrp="1"/>
          </p:cNvSpPr>
          <p:nvPr>
            <p:ph type="body" sz="quarter" idx="11"/>
          </p:nvPr>
        </p:nvSpPr>
        <p:spPr/>
        <p:txBody>
          <a:bodyPr/>
          <a:lstStyle/>
          <a:p>
            <a:r>
              <a:rPr lang="en-US" dirty="0"/>
              <a:t>… and is also a core ontology with 10</a:t>
            </a:r>
            <a:br>
              <a:rPr lang="en-US" dirty="0"/>
            </a:br>
            <a:r>
              <a:rPr lang="en-US" dirty="0"/>
              <a:t>extensions in different domains</a:t>
            </a:r>
          </a:p>
        </p:txBody>
      </p:sp>
      <p:sp>
        <p:nvSpPr>
          <p:cNvPr id="4" name="Slide Number Placeholder 3">
            <a:extLst>
              <a:ext uri="{FF2B5EF4-FFF2-40B4-BE49-F238E27FC236}">
                <a16:creationId xmlns:a16="http://schemas.microsoft.com/office/drawing/2014/main" id="{0BC0E82D-E994-409C-ADF9-120374BDE6FD}"/>
              </a:ext>
            </a:extLst>
          </p:cNvPr>
          <p:cNvSpPr>
            <a:spLocks noGrp="1"/>
          </p:cNvSpPr>
          <p:nvPr>
            <p:ph type="sldNum" sz="quarter" idx="4"/>
          </p:nvPr>
        </p:nvSpPr>
        <p:spPr/>
        <p:txBody>
          <a:bodyPr/>
          <a:lstStyle/>
          <a:p>
            <a:fld id="{EBC262BB-4310-134F-8D24-58475080D942}" type="slidenum">
              <a:rPr lang="en-US" smtClean="0"/>
              <a:pPr/>
              <a:t>20</a:t>
            </a:fld>
            <a:endParaRPr lang="en-US" dirty="0"/>
          </a:p>
        </p:txBody>
      </p:sp>
      <p:sp>
        <p:nvSpPr>
          <p:cNvPr id="9" name="ee4pFootnotes"/>
          <p:cNvSpPr>
            <a:spLocks noChangeArrowheads="1"/>
          </p:cNvSpPr>
          <p:nvPr/>
        </p:nvSpPr>
        <p:spPr bwMode="auto">
          <a:xfrm>
            <a:off x="2467992" y="6005942"/>
            <a:ext cx="7641096" cy="553998"/>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cs typeface="Arial" pitchFamily="34" charset="0"/>
              </a:rPr>
              <a:t>The </a:t>
            </a:r>
            <a:r>
              <a:rPr lang="en-US" sz="1000" dirty="0">
                <a:cs typeface="Arial" pitchFamily="34" charset="0"/>
                <a:hlinkClick r:id="rId3"/>
              </a:rPr>
              <a:t>SAREF public portal</a:t>
            </a:r>
            <a:r>
              <a:rPr lang="en-US" sz="1000" dirty="0">
                <a:cs typeface="Arial" pitchFamily="34" charset="0"/>
              </a:rPr>
              <a:t>, the </a:t>
            </a:r>
            <a:r>
              <a:rPr lang="en-US" sz="1000" dirty="0">
                <a:cs typeface="Arial" pitchFamily="34" charset="0"/>
                <a:hlinkClick r:id="rId4" action="ppaction://hlinkfile"/>
              </a:rPr>
              <a:t>SAREF sources</a:t>
            </a:r>
            <a:r>
              <a:rPr lang="en-US" sz="1000" dirty="0">
                <a:cs typeface="Arial" pitchFamily="34" charset="0"/>
              </a:rPr>
              <a:t> with continuous integration and deployment, the </a:t>
            </a:r>
            <a:r>
              <a:rPr lang="en-US" sz="1000" dirty="0">
                <a:cs typeface="Arial" pitchFamily="34" charset="0"/>
                <a:hlinkClick r:id="rId5"/>
              </a:rPr>
              <a:t>SAREF Pipeline</a:t>
            </a:r>
            <a:r>
              <a:rPr lang="en-US" sz="1000" dirty="0">
                <a:cs typeface="Arial" pitchFamily="34" charset="0"/>
              </a:rPr>
              <a:t> software, and ETSI Technical Specification </a:t>
            </a:r>
            <a:r>
              <a:rPr lang="en-US" sz="1000" dirty="0">
                <a:cs typeface="Arial" pitchFamily="34" charset="0"/>
                <a:hlinkClick r:id="rId6"/>
              </a:rPr>
              <a:t>TS 103 673 v1.1.1 “SAREF Development Framework and Workflow, Streamlining the Development of SAREF and its Extensions"</a:t>
            </a:r>
            <a:r>
              <a:rPr lang="en-US" sz="1000" dirty="0">
                <a:cs typeface="Arial" pitchFamily="34" charset="0"/>
              </a:rPr>
              <a:t>, have been developed in the context of the </a:t>
            </a:r>
            <a:r>
              <a:rPr lang="en-US" sz="1000" dirty="0">
                <a:cs typeface="Arial" pitchFamily="34" charset="0"/>
                <a:hlinkClick r:id="rId7" action="ppaction://hlinkfile"/>
              </a:rPr>
              <a:t>ETSI STF 578</a:t>
            </a:r>
            <a:r>
              <a:rPr lang="en-US" sz="1000" dirty="0">
                <a:cs typeface="Arial" pitchFamily="34" charset="0"/>
              </a:rPr>
              <a:t>, which followed the </a:t>
            </a:r>
            <a:r>
              <a:rPr lang="en-US" sz="1000" dirty="0">
                <a:cs typeface="Arial" pitchFamily="34" charset="0"/>
                <a:hlinkClick r:id="rId8"/>
              </a:rPr>
              <a:t>ETSI STF 556</a:t>
            </a:r>
            <a:endParaRPr lang="en-US" sz="1000" dirty="0">
              <a:cs typeface="Arial" pitchFamily="34" charset="0"/>
            </a:endParaRPr>
          </a:p>
        </p:txBody>
      </p:sp>
      <p:pic>
        <p:nvPicPr>
          <p:cNvPr id="16" name="Picture 15">
            <a:extLst>
              <a:ext uri="{FF2B5EF4-FFF2-40B4-BE49-F238E27FC236}">
                <a16:creationId xmlns:a16="http://schemas.microsoft.com/office/drawing/2014/main" id="{0A9A0E92-2391-41EB-ABFC-409150121398}"/>
              </a:ext>
            </a:extLst>
          </p:cNvPr>
          <p:cNvPicPr>
            <a:picLocks noChangeAspect="1"/>
          </p:cNvPicPr>
          <p:nvPr/>
        </p:nvPicPr>
        <p:blipFill>
          <a:blip r:embed="rId9"/>
          <a:stretch>
            <a:fillRect/>
          </a:stretch>
        </p:blipFill>
        <p:spPr>
          <a:xfrm>
            <a:off x="985764" y="1870409"/>
            <a:ext cx="4597617" cy="3416432"/>
          </a:xfrm>
          <a:prstGeom prst="rect">
            <a:avLst/>
          </a:prstGeom>
          <a:ln>
            <a:solidFill>
              <a:schemeClr val="tx1">
                <a:lumMod val="65000"/>
                <a:lumOff val="35000"/>
              </a:schemeClr>
            </a:solidFill>
          </a:ln>
        </p:spPr>
      </p:pic>
      <p:sp>
        <p:nvSpPr>
          <p:cNvPr id="15" name="Rectangle 14">
            <a:extLst>
              <a:ext uri="{FF2B5EF4-FFF2-40B4-BE49-F238E27FC236}">
                <a16:creationId xmlns:a16="http://schemas.microsoft.com/office/drawing/2014/main" id="{7BD3728B-85CB-4B8D-B8CD-407D8BBC8725}"/>
              </a:ext>
            </a:extLst>
          </p:cNvPr>
          <p:cNvSpPr/>
          <p:nvPr/>
        </p:nvSpPr>
        <p:spPr>
          <a:xfrm>
            <a:off x="1326933" y="5410035"/>
            <a:ext cx="5561138" cy="369332"/>
          </a:xfrm>
          <a:prstGeom prst="rect">
            <a:avLst/>
          </a:prstGeom>
        </p:spPr>
        <p:txBody>
          <a:bodyPr wrap="none">
            <a:noAutofit/>
          </a:bodyPr>
          <a:lstStyle/>
          <a:p>
            <a:r>
              <a:rPr lang="en-US" dirty="0">
                <a:hlinkClick r:id="rId10"/>
              </a:rPr>
              <a:t>https://saref.etsi.org/extensions.html</a:t>
            </a:r>
            <a:endParaRPr lang="en-US" dirty="0"/>
          </a:p>
        </p:txBody>
      </p:sp>
      <p:pic>
        <p:nvPicPr>
          <p:cNvPr id="8" name="Picture 1" descr="image002">
            <a:extLst>
              <a:ext uri="{FF2B5EF4-FFF2-40B4-BE49-F238E27FC236}">
                <a16:creationId xmlns:a16="http://schemas.microsoft.com/office/drawing/2014/main" id="{B36E5BF2-E1D8-4E13-AB25-472936E77F8C}"/>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a:extLst>
              <a:ext uri="{FF2B5EF4-FFF2-40B4-BE49-F238E27FC236}">
                <a16:creationId xmlns:a16="http://schemas.microsoft.com/office/drawing/2014/main" id="{25AAA914-798C-4B89-AD05-A2505380C2AB}"/>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l="5050" t="25548" r="5027" b="22927"/>
          <a:stretch/>
        </p:blipFill>
        <p:spPr>
          <a:xfrm>
            <a:off x="7981248" y="313232"/>
            <a:ext cx="1270327" cy="406262"/>
          </a:xfrm>
          <a:prstGeom prst="rect">
            <a:avLst/>
          </a:prstGeom>
        </p:spPr>
      </p:pic>
    </p:spTree>
    <p:extLst>
      <p:ext uri="{BB962C8B-B14F-4D97-AF65-F5344CB8AC3E}">
        <p14:creationId xmlns:p14="http://schemas.microsoft.com/office/powerpoint/2010/main" val="14039886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Some extensions</a:t>
            </a:r>
            <a:br>
              <a:rPr lang="en-US" dirty="0"/>
            </a:br>
            <a:r>
              <a:rPr lang="en-US" dirty="0"/>
              <a:t>of interest</a:t>
            </a:r>
          </a:p>
          <a:p>
            <a:r>
              <a:rPr lang="en-US" dirty="0"/>
              <a:t>for the LDAC community</a:t>
            </a:r>
          </a:p>
        </p:txBody>
      </p:sp>
      <p:sp>
        <p:nvSpPr>
          <p:cNvPr id="3" name="Slide Number Placeholder 2"/>
          <p:cNvSpPr>
            <a:spLocks noGrp="1"/>
          </p:cNvSpPr>
          <p:nvPr>
            <p:ph type="sldNum" sz="quarter" idx="4"/>
          </p:nvPr>
        </p:nvSpPr>
        <p:spPr/>
        <p:txBody>
          <a:bodyPr/>
          <a:lstStyle/>
          <a:p>
            <a:fld id="{EBC262BB-4310-134F-8D24-58475080D942}" type="slidenum">
              <a:rPr lang="en-US" smtClean="0"/>
              <a:pPr/>
              <a:t>21</a:t>
            </a:fld>
            <a:endParaRPr lang="en-US" dirty="0"/>
          </a:p>
        </p:txBody>
      </p:sp>
    </p:spTree>
    <p:extLst>
      <p:ext uri="{BB962C8B-B14F-4D97-AF65-F5344CB8AC3E}">
        <p14:creationId xmlns:p14="http://schemas.microsoft.com/office/powerpoint/2010/main" val="79814259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B71C370-D5AD-4285-B597-DF811FF69E0D}"/>
              </a:ext>
            </a:extLst>
          </p:cNvPr>
          <p:cNvSpPr>
            <a:spLocks noGrp="1"/>
          </p:cNvSpPr>
          <p:nvPr>
            <p:ph type="body" sz="quarter" idx="11"/>
          </p:nvPr>
        </p:nvSpPr>
        <p:spPr/>
        <p:txBody>
          <a:bodyPr/>
          <a:lstStyle/>
          <a:p>
            <a:r>
              <a:rPr lang="en-US" dirty="0"/>
              <a:t>SAREF4BLDG - General information</a:t>
            </a:r>
          </a:p>
        </p:txBody>
      </p:sp>
      <p:sp>
        <p:nvSpPr>
          <p:cNvPr id="4" name="Slide Number Placeholder 3">
            <a:extLst>
              <a:ext uri="{FF2B5EF4-FFF2-40B4-BE49-F238E27FC236}">
                <a16:creationId xmlns:a16="http://schemas.microsoft.com/office/drawing/2014/main" id="{0BC0E82D-E994-409C-ADF9-120374BDE6FD}"/>
              </a:ext>
            </a:extLst>
          </p:cNvPr>
          <p:cNvSpPr>
            <a:spLocks noGrp="1"/>
          </p:cNvSpPr>
          <p:nvPr>
            <p:ph type="sldNum" sz="quarter" idx="4"/>
          </p:nvPr>
        </p:nvSpPr>
        <p:spPr/>
        <p:txBody>
          <a:bodyPr/>
          <a:lstStyle/>
          <a:p>
            <a:fld id="{EBC262BB-4310-134F-8D24-58475080D942}" type="slidenum">
              <a:rPr lang="en-US" smtClean="0"/>
              <a:pPr/>
              <a:t>22</a:t>
            </a:fld>
            <a:endParaRPr lang="en-US" dirty="0"/>
          </a:p>
        </p:txBody>
      </p:sp>
      <p:sp>
        <p:nvSpPr>
          <p:cNvPr id="13" name="Text Placeholder 2">
            <a:extLst>
              <a:ext uri="{FF2B5EF4-FFF2-40B4-BE49-F238E27FC236}">
                <a16:creationId xmlns:a16="http://schemas.microsoft.com/office/drawing/2014/main" id="{8B931C60-B751-4D40-A679-4B6147277B01}"/>
              </a:ext>
            </a:extLst>
          </p:cNvPr>
          <p:cNvSpPr txBox="1">
            <a:spLocks/>
          </p:cNvSpPr>
          <p:nvPr/>
        </p:nvSpPr>
        <p:spPr>
          <a:xfrm>
            <a:off x="985764" y="1690406"/>
            <a:ext cx="9123324" cy="1446550"/>
          </a:xfrm>
          <a:prstGeom prst="rect">
            <a:avLst/>
          </a:prstGeom>
        </p:spPr>
        <p:txBody>
          <a:bodyPr lIns="0" tIns="0" rIns="0" b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600"/>
              </a:spcBef>
              <a:buFont typeface="Arial" panose="020B0604020202020204" pitchFamily="34" charset="0"/>
              <a:buNone/>
            </a:pPr>
            <a:r>
              <a:rPr lang="en-US" sz="1400" dirty="0"/>
              <a:t>SAREF4BLDG was created based on the Industry Foundation Classes (IFC) standard for building information. Not the whole standard has been transformed, the scope of this extension is limited to devices and appliances within the building domain</a:t>
            </a:r>
          </a:p>
          <a:p>
            <a:pPr marL="0" indent="0">
              <a:lnSpc>
                <a:spcPct val="100000"/>
              </a:lnSpc>
              <a:spcBef>
                <a:spcPts val="600"/>
              </a:spcBef>
              <a:buFont typeface="Arial" panose="020B0604020202020204" pitchFamily="34" charset="0"/>
              <a:buNone/>
            </a:pPr>
            <a:r>
              <a:rPr lang="en-US" sz="1400" dirty="0"/>
              <a:t>The IFC specification is developed and maintained by building SMART International as its “Data standard” and, since its version IFC4, it is published as the ISO 16739 standard</a:t>
            </a:r>
          </a:p>
          <a:p>
            <a:pPr marL="0" indent="0">
              <a:lnSpc>
                <a:spcPct val="100000"/>
              </a:lnSpc>
              <a:spcBef>
                <a:spcPts val="600"/>
              </a:spcBef>
              <a:buFont typeface="Arial" panose="020B0604020202020204" pitchFamily="34" charset="0"/>
              <a:buNone/>
            </a:pPr>
            <a:r>
              <a:rPr lang="en-US" sz="1400" dirty="0"/>
              <a:t>More info on current specification of SAREF4BLDG can be found at </a:t>
            </a:r>
            <a:r>
              <a:rPr lang="en-US" sz="1400" dirty="0">
                <a:hlinkClick r:id="rId3"/>
              </a:rPr>
              <a:t>https://saref.etsi.org/extensions.html#SAREF4BLDG</a:t>
            </a:r>
            <a:endParaRPr lang="en-US" sz="1400" dirty="0"/>
          </a:p>
        </p:txBody>
      </p:sp>
      <p:sp>
        <p:nvSpPr>
          <p:cNvPr id="14" name="Text Placeholder 2">
            <a:extLst>
              <a:ext uri="{FF2B5EF4-FFF2-40B4-BE49-F238E27FC236}">
                <a16:creationId xmlns:a16="http://schemas.microsoft.com/office/drawing/2014/main" id="{8B931C60-B751-4D40-A679-4B6147277B01}"/>
              </a:ext>
            </a:extLst>
          </p:cNvPr>
          <p:cNvSpPr txBox="1">
            <a:spLocks/>
          </p:cNvSpPr>
          <p:nvPr/>
        </p:nvSpPr>
        <p:spPr>
          <a:xfrm>
            <a:off x="985764" y="3326105"/>
            <a:ext cx="9123324" cy="2972460"/>
          </a:xfrm>
          <a:prstGeom prst="rect">
            <a:avLst/>
          </a:prstGeom>
        </p:spPr>
        <p:txBody>
          <a:bodyPr lIns="0" tIns="0" rIns="0" b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500"/>
              </a:spcBef>
              <a:buFont typeface="Arial" panose="020B0604020202020204" pitchFamily="34" charset="0"/>
              <a:buNone/>
            </a:pPr>
            <a:r>
              <a:rPr lang="en-US" sz="1200" dirty="0"/>
              <a:t>SAREF4BLDG: Extension for the building domain</a:t>
            </a:r>
          </a:p>
          <a:p>
            <a:pPr marL="342900" indent="-342900">
              <a:lnSpc>
                <a:spcPct val="100000"/>
              </a:lnSpc>
              <a:spcBef>
                <a:spcPts val="500"/>
              </a:spcBef>
              <a:buClr>
                <a:srgbClr val="EDAE00"/>
              </a:buClr>
              <a:buFont typeface="Arial" charset="0"/>
              <a:buChar char="•"/>
            </a:pPr>
            <a:r>
              <a:rPr lang="en-US" sz="1200" dirty="0"/>
              <a:t>IRI: </a:t>
            </a:r>
            <a:r>
              <a:rPr lang="en-US" sz="1200" dirty="0">
                <a:hlinkClick r:id="rId4"/>
              </a:rPr>
              <a:t>https://saref.etsi.org/saref4bldg/</a:t>
            </a:r>
            <a:endParaRPr lang="en-US" sz="1200" dirty="0"/>
          </a:p>
          <a:p>
            <a:pPr marL="342900" indent="-342900">
              <a:lnSpc>
                <a:spcPct val="100000"/>
              </a:lnSpc>
              <a:spcBef>
                <a:spcPts val="500"/>
              </a:spcBef>
              <a:buClr>
                <a:srgbClr val="EDAE00"/>
              </a:buClr>
              <a:buFont typeface="Arial" charset="0"/>
              <a:buChar char="•"/>
            </a:pPr>
            <a:r>
              <a:rPr lang="en-US" sz="1200" dirty="0"/>
              <a:t>ETSI Technical Specification: </a:t>
            </a:r>
            <a:r>
              <a:rPr lang="en-US" sz="1200" dirty="0">
                <a:hlinkClick r:id="rId5"/>
              </a:rPr>
              <a:t>ETSI TS 103 410-1 V1.1.2 (2020-05): “SmartM2M; Extension to SAREF; Part 3: Building Domain”</a:t>
            </a:r>
            <a:endParaRPr lang="en-US" sz="1200" dirty="0"/>
          </a:p>
          <a:p>
            <a:pPr marL="342900" indent="-342900">
              <a:lnSpc>
                <a:spcPct val="100000"/>
              </a:lnSpc>
              <a:spcBef>
                <a:spcPts val="500"/>
              </a:spcBef>
              <a:buClr>
                <a:srgbClr val="EDAE00"/>
              </a:buClr>
              <a:buFont typeface="Arial" charset="0"/>
              <a:buChar char="•"/>
            </a:pPr>
            <a:r>
              <a:rPr lang="en-US" sz="1200" dirty="0"/>
              <a:t>Sources: </a:t>
            </a:r>
            <a:r>
              <a:rPr lang="en-US" sz="1200" dirty="0">
                <a:hlinkClick r:id="rId6"/>
              </a:rPr>
              <a:t>https://saref.etsi.org/sources/saref4bldg</a:t>
            </a:r>
            <a:endParaRPr lang="en-US" sz="1200" dirty="0"/>
          </a:p>
          <a:p>
            <a:pPr marL="342900" indent="-342900">
              <a:lnSpc>
                <a:spcPct val="100000"/>
              </a:lnSpc>
              <a:spcBef>
                <a:spcPts val="500"/>
              </a:spcBef>
              <a:buClr>
                <a:srgbClr val="EDAE00"/>
              </a:buClr>
              <a:buFont typeface="Arial" charset="0"/>
              <a:buChar char="•"/>
            </a:pPr>
            <a:r>
              <a:rPr lang="en-US" sz="1200" dirty="0"/>
              <a:t>All versions</a:t>
            </a:r>
          </a:p>
          <a:p>
            <a:pPr marL="630238" indent="-342900">
              <a:lnSpc>
                <a:spcPct val="100000"/>
              </a:lnSpc>
              <a:spcBef>
                <a:spcPts val="500"/>
              </a:spcBef>
              <a:buClr>
                <a:schemeClr val="tx1"/>
              </a:buClr>
              <a:buFont typeface="Arial" charset="0"/>
              <a:buChar char="•"/>
            </a:pPr>
            <a:r>
              <a:rPr lang="en-US" sz="1200" dirty="0"/>
              <a:t>V1.1.2</a:t>
            </a:r>
          </a:p>
          <a:p>
            <a:pPr marL="1030288" indent="-342900">
              <a:lnSpc>
                <a:spcPct val="100000"/>
              </a:lnSpc>
              <a:spcBef>
                <a:spcPts val="500"/>
              </a:spcBef>
              <a:buClr>
                <a:schemeClr val="tx1"/>
              </a:buClr>
              <a:buFont typeface="Arial" charset="0"/>
              <a:buChar char="•"/>
            </a:pPr>
            <a:r>
              <a:rPr lang="en-US" sz="1200" dirty="0"/>
              <a:t>Version IRI: </a:t>
            </a:r>
            <a:r>
              <a:rPr lang="en-US" sz="1200" dirty="0">
                <a:hlinkClick r:id="rId7"/>
              </a:rPr>
              <a:t>https://saref.etsi.org/saref4bldg/V1.1.2/</a:t>
            </a:r>
            <a:endParaRPr lang="en-US" sz="1200" dirty="0"/>
          </a:p>
          <a:p>
            <a:pPr marL="1030288" indent="-342900">
              <a:lnSpc>
                <a:spcPct val="100000"/>
              </a:lnSpc>
              <a:spcBef>
                <a:spcPts val="500"/>
              </a:spcBef>
              <a:buClr>
                <a:schemeClr val="tx1"/>
              </a:buClr>
              <a:buFont typeface="Arial" charset="0"/>
              <a:buChar char="•"/>
            </a:pPr>
            <a:r>
              <a:rPr lang="en-US" sz="1200" dirty="0"/>
              <a:t>ETSI Technical Specification: </a:t>
            </a:r>
            <a:r>
              <a:rPr lang="en-US" sz="1200" dirty="0">
                <a:hlinkClick r:id="rId8"/>
              </a:rPr>
              <a:t>ETSI TS 103 410-3 V1.1.2 (2020-05): “SmartM2M; Extension to SAREF; Part 3: Building Domain”</a:t>
            </a:r>
            <a:endParaRPr lang="en-US" sz="1200" dirty="0"/>
          </a:p>
          <a:p>
            <a:pPr marL="630238" indent="-342900">
              <a:lnSpc>
                <a:spcPct val="100000"/>
              </a:lnSpc>
              <a:spcBef>
                <a:spcPts val="500"/>
              </a:spcBef>
              <a:buClr>
                <a:schemeClr val="tx1"/>
              </a:buClr>
              <a:buFont typeface="Arial" charset="0"/>
              <a:buChar char="•"/>
            </a:pPr>
            <a:r>
              <a:rPr lang="en-US" sz="1200" dirty="0"/>
              <a:t>V1.1.1</a:t>
            </a:r>
          </a:p>
          <a:p>
            <a:pPr marL="1030288" indent="-342900">
              <a:lnSpc>
                <a:spcPct val="100000"/>
              </a:lnSpc>
              <a:spcBef>
                <a:spcPts val="500"/>
              </a:spcBef>
              <a:buClr>
                <a:schemeClr val="tx1"/>
              </a:buClr>
              <a:buFont typeface="Arial" charset="0"/>
              <a:buChar char="•"/>
            </a:pPr>
            <a:r>
              <a:rPr lang="en-US" sz="1200" dirty="0"/>
              <a:t>ETSI Technical Specification: </a:t>
            </a:r>
            <a:r>
              <a:rPr lang="en-US" sz="1200" dirty="0">
                <a:hlinkClick r:id="rId9"/>
              </a:rPr>
              <a:t>ETSI TS 103 410-3 V1.1.1 (2017-01): “SmartM2M; Extension to SAREF; Part 3: Building Domain”</a:t>
            </a:r>
            <a:endParaRPr lang="en-US" sz="1200" dirty="0"/>
          </a:p>
        </p:txBody>
      </p:sp>
      <p:pic>
        <p:nvPicPr>
          <p:cNvPr id="7" name="Picture 1" descr="image002">
            <a:extLst>
              <a:ext uri="{FF2B5EF4-FFF2-40B4-BE49-F238E27FC236}">
                <a16:creationId xmlns:a16="http://schemas.microsoft.com/office/drawing/2014/main" id="{4E284DC7-930B-4FE6-81D3-159FF0D0B7DA}"/>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a:extLst>
              <a:ext uri="{FF2B5EF4-FFF2-40B4-BE49-F238E27FC236}">
                <a16:creationId xmlns:a16="http://schemas.microsoft.com/office/drawing/2014/main" id="{FE1E8B6F-59DB-46E1-A2EC-91ADE2D5530E}"/>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5050" t="25548" r="5027" b="22927"/>
          <a:stretch/>
        </p:blipFill>
        <p:spPr>
          <a:xfrm>
            <a:off x="7981248" y="313232"/>
            <a:ext cx="1270327" cy="406262"/>
          </a:xfrm>
          <a:prstGeom prst="rect">
            <a:avLst/>
          </a:prstGeom>
        </p:spPr>
      </p:pic>
    </p:spTree>
    <p:extLst>
      <p:ext uri="{BB962C8B-B14F-4D97-AF65-F5344CB8AC3E}">
        <p14:creationId xmlns:p14="http://schemas.microsoft.com/office/powerpoint/2010/main" val="25549111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8"/>
          </p:nvPr>
        </p:nvSpPr>
        <p:spPr/>
        <p:txBody>
          <a:bodyPr/>
          <a:lstStyle/>
          <a:p>
            <a:r>
              <a:rPr lang="en-US" dirty="0"/>
              <a:t>SAREF4BLDG - Overview</a:t>
            </a:r>
          </a:p>
          <a:p>
            <a:endParaRPr lang="en-US" dirty="0"/>
          </a:p>
        </p:txBody>
      </p:sp>
      <p:sp>
        <p:nvSpPr>
          <p:cNvPr id="2" name="Slide Number Placeholder 1"/>
          <p:cNvSpPr>
            <a:spLocks noGrp="1"/>
          </p:cNvSpPr>
          <p:nvPr>
            <p:ph type="sldNum" sz="quarter" idx="4"/>
          </p:nvPr>
        </p:nvSpPr>
        <p:spPr>
          <a:prstGeom prst="rect">
            <a:avLst/>
          </a:prstGeom>
        </p:spPr>
        <p:txBody>
          <a:bodyPr/>
          <a:lstStyle/>
          <a:p>
            <a:fld id="{EBC262BB-4310-134F-8D24-58475080D942}" type="slidenum">
              <a:rPr lang="en-US" smtClean="0"/>
              <a:pPr/>
              <a:t>23</a:t>
            </a:fld>
            <a:endParaRPr lang="en-US" dirty="0"/>
          </a:p>
        </p:txBody>
      </p:sp>
      <p:pic>
        <p:nvPicPr>
          <p:cNvPr id="7" name="Picture 6">
            <a:extLst>
              <a:ext uri="{FF2B5EF4-FFF2-40B4-BE49-F238E27FC236}">
                <a16:creationId xmlns:a16="http://schemas.microsoft.com/office/drawing/2014/main" id="{8D18DEFD-B24E-4C23-8993-DDEA113E850A}"/>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985764" y="1552539"/>
            <a:ext cx="7482914" cy="4505338"/>
          </a:xfrm>
          <a:prstGeom prst="rect">
            <a:avLst/>
          </a:prstGeom>
          <a:noFill/>
          <a:ln>
            <a:noFill/>
          </a:ln>
        </p:spPr>
      </p:pic>
      <p:sp>
        <p:nvSpPr>
          <p:cNvPr id="6" name="ee4pFootnotes">
            <a:extLst>
              <a:ext uri="{FF2B5EF4-FFF2-40B4-BE49-F238E27FC236}">
                <a16:creationId xmlns:a16="http://schemas.microsoft.com/office/drawing/2014/main" id="{B4D7BB7C-E5F0-4CDE-BA8D-0CEC16FF38F1}"/>
              </a:ext>
            </a:extLst>
          </p:cNvPr>
          <p:cNvSpPr>
            <a:spLocks noChangeArrowheads="1"/>
          </p:cNvSpPr>
          <p:nvPr/>
        </p:nvSpPr>
        <p:spPr bwMode="auto">
          <a:xfrm>
            <a:off x="2467992" y="6421441"/>
            <a:ext cx="7641096"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fr-FR" sz="1000" dirty="0">
                <a:cs typeface="Arial" pitchFamily="34" charset="0"/>
              </a:rPr>
              <a:t>Source: ETSI TS 103 410-3 V1.1.1 </a:t>
            </a:r>
          </a:p>
        </p:txBody>
      </p:sp>
      <p:pic>
        <p:nvPicPr>
          <p:cNvPr id="9" name="Picture 1" descr="image002">
            <a:extLst>
              <a:ext uri="{FF2B5EF4-FFF2-40B4-BE49-F238E27FC236}">
                <a16:creationId xmlns:a16="http://schemas.microsoft.com/office/drawing/2014/main" id="{4879A489-3B46-402A-9E1F-EB2CAECF3830}"/>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a:extLst>
              <a:ext uri="{FF2B5EF4-FFF2-40B4-BE49-F238E27FC236}">
                <a16:creationId xmlns:a16="http://schemas.microsoft.com/office/drawing/2014/main" id="{DC240A10-C5FD-4BD0-9BAD-A91432866DA3}"/>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5050" t="25548" r="5027" b="22927"/>
          <a:stretch/>
        </p:blipFill>
        <p:spPr>
          <a:xfrm>
            <a:off x="7981248" y="313232"/>
            <a:ext cx="1270327" cy="406262"/>
          </a:xfrm>
          <a:prstGeom prst="rect">
            <a:avLst/>
          </a:prstGeom>
        </p:spPr>
      </p:pic>
    </p:spTree>
    <p:extLst>
      <p:ext uri="{BB962C8B-B14F-4D97-AF65-F5344CB8AC3E}">
        <p14:creationId xmlns:p14="http://schemas.microsoft.com/office/powerpoint/2010/main" val="11679620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B71C370-D5AD-4285-B597-DF811FF69E0D}"/>
              </a:ext>
            </a:extLst>
          </p:cNvPr>
          <p:cNvSpPr>
            <a:spLocks noGrp="1"/>
          </p:cNvSpPr>
          <p:nvPr>
            <p:ph type="body" sz="quarter" idx="11"/>
          </p:nvPr>
        </p:nvSpPr>
        <p:spPr/>
        <p:txBody>
          <a:bodyPr/>
          <a:lstStyle/>
          <a:p>
            <a:r>
              <a:rPr lang="en-US" dirty="0"/>
              <a:t>SAREF4ENER - General information</a:t>
            </a:r>
          </a:p>
        </p:txBody>
      </p:sp>
      <p:sp>
        <p:nvSpPr>
          <p:cNvPr id="4" name="Slide Number Placeholder 3">
            <a:extLst>
              <a:ext uri="{FF2B5EF4-FFF2-40B4-BE49-F238E27FC236}">
                <a16:creationId xmlns:a16="http://schemas.microsoft.com/office/drawing/2014/main" id="{0BC0E82D-E994-409C-ADF9-120374BDE6FD}"/>
              </a:ext>
            </a:extLst>
          </p:cNvPr>
          <p:cNvSpPr>
            <a:spLocks noGrp="1"/>
          </p:cNvSpPr>
          <p:nvPr>
            <p:ph type="sldNum" sz="quarter" idx="4"/>
          </p:nvPr>
        </p:nvSpPr>
        <p:spPr/>
        <p:txBody>
          <a:bodyPr/>
          <a:lstStyle/>
          <a:p>
            <a:fld id="{EBC262BB-4310-134F-8D24-58475080D942}" type="slidenum">
              <a:rPr lang="en-US" smtClean="0"/>
              <a:pPr/>
              <a:t>24</a:t>
            </a:fld>
            <a:endParaRPr lang="en-US" dirty="0"/>
          </a:p>
        </p:txBody>
      </p:sp>
      <p:sp>
        <p:nvSpPr>
          <p:cNvPr id="13" name="Text Placeholder 2">
            <a:extLst>
              <a:ext uri="{FF2B5EF4-FFF2-40B4-BE49-F238E27FC236}">
                <a16:creationId xmlns:a16="http://schemas.microsoft.com/office/drawing/2014/main" id="{8B931C60-B751-4D40-A679-4B6147277B01}"/>
              </a:ext>
            </a:extLst>
          </p:cNvPr>
          <p:cNvSpPr txBox="1">
            <a:spLocks/>
          </p:cNvSpPr>
          <p:nvPr/>
        </p:nvSpPr>
        <p:spPr>
          <a:xfrm>
            <a:off x="985764" y="1690406"/>
            <a:ext cx="9123324" cy="1446550"/>
          </a:xfrm>
          <a:prstGeom prst="rect">
            <a:avLst/>
          </a:prstGeom>
        </p:spPr>
        <p:txBody>
          <a:bodyPr lIns="0" tIns="0" rIns="0" b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600"/>
              </a:spcBef>
              <a:buNone/>
            </a:pPr>
            <a:r>
              <a:rPr lang="en-US" sz="1400" dirty="0"/>
              <a:t>SAREF4ENER has been developed based on the data models of the Energy@Home and EEBUS associations. </a:t>
            </a:r>
          </a:p>
          <a:p>
            <a:pPr marL="0" indent="0">
              <a:lnSpc>
                <a:spcPct val="100000"/>
              </a:lnSpc>
              <a:spcBef>
                <a:spcPts val="600"/>
              </a:spcBef>
              <a:buNone/>
            </a:pPr>
            <a:endParaRPr lang="en-US" sz="1400" dirty="0"/>
          </a:p>
          <a:p>
            <a:pPr marL="0" indent="0">
              <a:lnSpc>
                <a:spcPct val="100000"/>
              </a:lnSpc>
              <a:spcBef>
                <a:spcPts val="600"/>
              </a:spcBef>
              <a:buNone/>
            </a:pPr>
            <a:r>
              <a:rPr lang="en-US" sz="1400" dirty="0"/>
              <a:t>More info on the current specification of SAREF4ENER can be found at</a:t>
            </a:r>
          </a:p>
          <a:p>
            <a:pPr marL="0" indent="0">
              <a:lnSpc>
                <a:spcPct val="100000"/>
              </a:lnSpc>
              <a:spcBef>
                <a:spcPts val="600"/>
              </a:spcBef>
              <a:buNone/>
            </a:pPr>
            <a:r>
              <a:rPr lang="en-US" sz="1400" dirty="0">
                <a:hlinkClick r:id="rId3"/>
              </a:rPr>
              <a:t>https://saref.etsi.org/extensions.html#SAREF4ENER</a:t>
            </a:r>
            <a:r>
              <a:rPr lang="en-US" sz="1400" dirty="0"/>
              <a:t> </a:t>
            </a:r>
          </a:p>
        </p:txBody>
      </p:sp>
      <p:sp>
        <p:nvSpPr>
          <p:cNvPr id="14" name="Text Placeholder 2">
            <a:extLst>
              <a:ext uri="{FF2B5EF4-FFF2-40B4-BE49-F238E27FC236}">
                <a16:creationId xmlns:a16="http://schemas.microsoft.com/office/drawing/2014/main" id="{8B931C60-B751-4D40-A679-4B6147277B01}"/>
              </a:ext>
            </a:extLst>
          </p:cNvPr>
          <p:cNvSpPr txBox="1">
            <a:spLocks/>
          </p:cNvSpPr>
          <p:nvPr/>
        </p:nvSpPr>
        <p:spPr>
          <a:xfrm>
            <a:off x="985764" y="3326105"/>
            <a:ext cx="9123324" cy="2972460"/>
          </a:xfrm>
          <a:prstGeom prst="rect">
            <a:avLst/>
          </a:prstGeom>
        </p:spPr>
        <p:txBody>
          <a:bodyPr lIns="0" tIns="0" rIns="0" b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500"/>
              </a:spcBef>
              <a:buFont typeface="Arial" panose="020B0604020202020204" pitchFamily="34" charset="0"/>
              <a:buNone/>
            </a:pPr>
            <a:r>
              <a:rPr lang="en-US" sz="1200" dirty="0"/>
              <a:t>SAREF4ENER: Extension for the Energy domain</a:t>
            </a:r>
          </a:p>
          <a:p>
            <a:pPr marL="342900" indent="-342900">
              <a:lnSpc>
                <a:spcPct val="100000"/>
              </a:lnSpc>
              <a:spcBef>
                <a:spcPts val="500"/>
              </a:spcBef>
              <a:buClr>
                <a:srgbClr val="EDAE00"/>
              </a:buClr>
              <a:buFont typeface="Arial" charset="0"/>
              <a:buChar char="•"/>
            </a:pPr>
            <a:r>
              <a:rPr lang="en-US" sz="1200" dirty="0"/>
              <a:t>IRI: </a:t>
            </a:r>
            <a:r>
              <a:rPr lang="en-US" sz="1200" dirty="0">
                <a:hlinkClick r:id="rId4"/>
              </a:rPr>
              <a:t>https://saref.etsi.org/saref4ener/</a:t>
            </a:r>
            <a:endParaRPr lang="en-US" sz="1200" dirty="0"/>
          </a:p>
          <a:p>
            <a:pPr marL="342900" indent="-342900">
              <a:lnSpc>
                <a:spcPct val="100000"/>
              </a:lnSpc>
              <a:spcBef>
                <a:spcPts val="500"/>
              </a:spcBef>
              <a:buClr>
                <a:srgbClr val="EDAE00"/>
              </a:buClr>
              <a:buFont typeface="Arial" charset="0"/>
              <a:buChar char="•"/>
            </a:pPr>
            <a:r>
              <a:rPr lang="en-US" sz="1200" dirty="0"/>
              <a:t>ETSI Technical Specification: </a:t>
            </a:r>
            <a:r>
              <a:rPr lang="en-US" sz="1200" dirty="0">
                <a:hlinkClick r:id="rId5"/>
              </a:rPr>
              <a:t>ETSI TS 103 410-1 V1.1.2 (2020-05): “SmartM2M; Extension to SAREF; Part 1: Energy Domain”</a:t>
            </a:r>
            <a:endParaRPr lang="en-US" sz="1200" dirty="0"/>
          </a:p>
          <a:p>
            <a:pPr marL="342900" indent="-342900">
              <a:lnSpc>
                <a:spcPct val="100000"/>
              </a:lnSpc>
              <a:spcBef>
                <a:spcPts val="500"/>
              </a:spcBef>
              <a:buClr>
                <a:srgbClr val="EDAE00"/>
              </a:buClr>
              <a:buFont typeface="Arial" charset="0"/>
              <a:buChar char="•"/>
            </a:pPr>
            <a:r>
              <a:rPr lang="en-US" sz="1200" dirty="0"/>
              <a:t>Sources: </a:t>
            </a:r>
            <a:r>
              <a:rPr lang="en-US" sz="1200" dirty="0">
                <a:hlinkClick r:id="rId6"/>
              </a:rPr>
              <a:t>https://saref.etsi.org/sources/saref4ener/</a:t>
            </a:r>
            <a:r>
              <a:rPr lang="en-US" sz="1200" dirty="0"/>
              <a:t> </a:t>
            </a:r>
          </a:p>
          <a:p>
            <a:pPr marL="342900" indent="-342900">
              <a:lnSpc>
                <a:spcPct val="100000"/>
              </a:lnSpc>
              <a:spcBef>
                <a:spcPts val="500"/>
              </a:spcBef>
              <a:buClr>
                <a:srgbClr val="EDAE00"/>
              </a:buClr>
              <a:buFont typeface="Arial" charset="0"/>
              <a:buChar char="•"/>
            </a:pPr>
            <a:r>
              <a:rPr lang="en-US" sz="1200" dirty="0"/>
              <a:t>All versions</a:t>
            </a:r>
          </a:p>
          <a:p>
            <a:pPr marL="630238" indent="-342900">
              <a:lnSpc>
                <a:spcPct val="100000"/>
              </a:lnSpc>
              <a:spcBef>
                <a:spcPts val="500"/>
              </a:spcBef>
              <a:buClr>
                <a:schemeClr val="tx1"/>
              </a:buClr>
              <a:buFont typeface="Arial" charset="0"/>
              <a:buChar char="•"/>
            </a:pPr>
            <a:r>
              <a:rPr lang="en-US" sz="1200" dirty="0"/>
              <a:t>V1.1.2</a:t>
            </a:r>
          </a:p>
          <a:p>
            <a:pPr marL="1030288" indent="-342900">
              <a:lnSpc>
                <a:spcPct val="100000"/>
              </a:lnSpc>
              <a:spcBef>
                <a:spcPts val="500"/>
              </a:spcBef>
              <a:buClr>
                <a:schemeClr val="tx1"/>
              </a:buClr>
              <a:buFont typeface="Arial" charset="0"/>
              <a:buChar char="•"/>
            </a:pPr>
            <a:r>
              <a:rPr lang="en-US" sz="1200" dirty="0"/>
              <a:t>Version IRI: </a:t>
            </a:r>
            <a:r>
              <a:rPr lang="en-US" sz="1200" dirty="0">
                <a:hlinkClick r:id="rId7"/>
              </a:rPr>
              <a:t>https://saref.etsi.org/saref4bldg/V1.1.2/</a:t>
            </a:r>
            <a:endParaRPr lang="en-US" sz="1200" dirty="0"/>
          </a:p>
          <a:p>
            <a:pPr marL="1030288" indent="-342900">
              <a:lnSpc>
                <a:spcPct val="100000"/>
              </a:lnSpc>
              <a:spcBef>
                <a:spcPts val="500"/>
              </a:spcBef>
              <a:buClr>
                <a:schemeClr val="tx1"/>
              </a:buClr>
              <a:buFont typeface="Arial" charset="0"/>
              <a:buChar char="•"/>
            </a:pPr>
            <a:r>
              <a:rPr lang="en-US" sz="1200" dirty="0"/>
              <a:t>ETSI Technical Specification: </a:t>
            </a:r>
            <a:r>
              <a:rPr lang="en-US" sz="1200" dirty="0">
                <a:hlinkClick r:id="rId8"/>
              </a:rPr>
              <a:t>ETSI TS 103 410-1 V1.1.2 (2020-05): “SmartM2M; Extension to SAREF; Part 1: Energy Domain”</a:t>
            </a:r>
            <a:endParaRPr lang="en-US" sz="1200" dirty="0"/>
          </a:p>
          <a:p>
            <a:pPr marL="630238" indent="-342900">
              <a:lnSpc>
                <a:spcPct val="100000"/>
              </a:lnSpc>
              <a:spcBef>
                <a:spcPts val="500"/>
              </a:spcBef>
              <a:buClr>
                <a:schemeClr val="tx1"/>
              </a:buClr>
              <a:buFont typeface="Arial" charset="0"/>
              <a:buChar char="•"/>
            </a:pPr>
            <a:r>
              <a:rPr lang="en-US" sz="1200" dirty="0"/>
              <a:t>V1.1.1</a:t>
            </a:r>
          </a:p>
          <a:p>
            <a:pPr marL="1030288" indent="-342900">
              <a:lnSpc>
                <a:spcPct val="100000"/>
              </a:lnSpc>
              <a:spcBef>
                <a:spcPts val="500"/>
              </a:spcBef>
              <a:buClr>
                <a:schemeClr val="tx1"/>
              </a:buClr>
              <a:buFont typeface="Arial" charset="0"/>
              <a:buChar char="•"/>
            </a:pPr>
            <a:r>
              <a:rPr lang="en-US" sz="1200" dirty="0"/>
              <a:t>ETSI Technical Specification: </a:t>
            </a:r>
            <a:r>
              <a:rPr lang="en-US" sz="1200" dirty="0">
                <a:hlinkClick r:id="rId9"/>
              </a:rPr>
              <a:t>ETSI TS 103 410-1 V1.1.1 (2017-01): “SmartM2M; Extension to SAREF; Part 1: Energy Domain”</a:t>
            </a:r>
            <a:endParaRPr lang="en-US" sz="1200" dirty="0"/>
          </a:p>
        </p:txBody>
      </p:sp>
      <p:pic>
        <p:nvPicPr>
          <p:cNvPr id="7" name="Picture 1" descr="image002">
            <a:extLst>
              <a:ext uri="{FF2B5EF4-FFF2-40B4-BE49-F238E27FC236}">
                <a16:creationId xmlns:a16="http://schemas.microsoft.com/office/drawing/2014/main" id="{5027356D-B394-4A36-859B-5FC77C26542A}"/>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a:extLst>
              <a:ext uri="{FF2B5EF4-FFF2-40B4-BE49-F238E27FC236}">
                <a16:creationId xmlns:a16="http://schemas.microsoft.com/office/drawing/2014/main" id="{502695E8-ED0F-4D39-8B40-F18CE01272E0}"/>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5050" t="25548" r="5027" b="22927"/>
          <a:stretch/>
        </p:blipFill>
        <p:spPr>
          <a:xfrm>
            <a:off x="7981248" y="313232"/>
            <a:ext cx="1270327" cy="406262"/>
          </a:xfrm>
          <a:prstGeom prst="rect">
            <a:avLst/>
          </a:prstGeom>
        </p:spPr>
      </p:pic>
    </p:spTree>
    <p:extLst>
      <p:ext uri="{BB962C8B-B14F-4D97-AF65-F5344CB8AC3E}">
        <p14:creationId xmlns:p14="http://schemas.microsoft.com/office/powerpoint/2010/main" val="222699680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286" imgH="286" progId="TCLayout.ActiveDocument.1">
                  <p:embed/>
                </p:oleObj>
              </mc:Choice>
              <mc:Fallback>
                <p:oleObj name="think-cell Slide" r:id="rId5" imgW="286" imgH="286"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17" name="Rectangle 316"/>
          <p:cNvSpPr/>
          <p:nvPr/>
        </p:nvSpPr>
        <p:spPr>
          <a:xfrm>
            <a:off x="2550318" y="3655220"/>
            <a:ext cx="154781" cy="328612"/>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ext Placeholder 1">
            <a:extLst>
              <a:ext uri="{FF2B5EF4-FFF2-40B4-BE49-F238E27FC236}">
                <a16:creationId xmlns:a16="http://schemas.microsoft.com/office/drawing/2014/main" id="{9B71C370-D5AD-4285-B597-DF811FF69E0D}"/>
              </a:ext>
            </a:extLst>
          </p:cNvPr>
          <p:cNvSpPr>
            <a:spLocks noGrp="1"/>
          </p:cNvSpPr>
          <p:nvPr>
            <p:ph type="body" sz="quarter" idx="11"/>
          </p:nvPr>
        </p:nvSpPr>
        <p:spPr/>
        <p:txBody>
          <a:bodyPr/>
          <a:lstStyle/>
          <a:p>
            <a:r>
              <a:rPr lang="en-US" sz="1600" dirty="0"/>
              <a:t>SAREF4ENER: Overview</a:t>
            </a:r>
          </a:p>
        </p:txBody>
      </p:sp>
      <p:sp>
        <p:nvSpPr>
          <p:cNvPr id="4" name="Slide Number Placeholder 3">
            <a:extLst>
              <a:ext uri="{FF2B5EF4-FFF2-40B4-BE49-F238E27FC236}">
                <a16:creationId xmlns:a16="http://schemas.microsoft.com/office/drawing/2014/main" id="{0BC0E82D-E994-409C-ADF9-120374BDE6FD}"/>
              </a:ext>
            </a:extLst>
          </p:cNvPr>
          <p:cNvSpPr>
            <a:spLocks noGrp="1"/>
          </p:cNvSpPr>
          <p:nvPr>
            <p:ph type="sldNum" sz="quarter" idx="4"/>
          </p:nvPr>
        </p:nvSpPr>
        <p:spPr/>
        <p:txBody>
          <a:bodyPr/>
          <a:lstStyle/>
          <a:p>
            <a:fld id="{EBC262BB-4310-134F-8D24-58475080D942}" type="slidenum">
              <a:rPr lang="en-US" sz="900" smtClean="0">
                <a:latin typeface="+mn-lt"/>
              </a:rPr>
              <a:pPr/>
              <a:t>25</a:t>
            </a:fld>
            <a:endParaRPr lang="en-US" sz="900" dirty="0">
              <a:latin typeface="+mn-lt"/>
            </a:endParaRPr>
          </a:p>
        </p:txBody>
      </p:sp>
      <p:sp>
        <p:nvSpPr>
          <p:cNvPr id="9" name="ee4pFootnotes"/>
          <p:cNvSpPr>
            <a:spLocks noChangeArrowheads="1"/>
          </p:cNvSpPr>
          <p:nvPr/>
        </p:nvSpPr>
        <p:spPr bwMode="auto">
          <a:xfrm>
            <a:off x="2467992" y="6421441"/>
            <a:ext cx="7641096"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cs typeface="Arial" pitchFamily="34" charset="0"/>
              </a:rPr>
              <a:t>Source: </a:t>
            </a:r>
            <a:r>
              <a:rPr lang="fi-FI" sz="1000" dirty="0">
                <a:cs typeface="Arial" pitchFamily="34" charset="0"/>
              </a:rPr>
              <a:t>ETSI TS 103 410-1 V1.1.1</a:t>
            </a:r>
          </a:p>
        </p:txBody>
      </p:sp>
      <p:grpSp>
        <p:nvGrpSpPr>
          <p:cNvPr id="25" name="Group 24"/>
          <p:cNvGrpSpPr/>
          <p:nvPr/>
        </p:nvGrpSpPr>
        <p:grpSpPr>
          <a:xfrm>
            <a:off x="5618243" y="2708103"/>
            <a:ext cx="999494" cy="137900"/>
            <a:chOff x="5618243" y="2708103"/>
            <a:chExt cx="999494" cy="137900"/>
          </a:xfrm>
        </p:grpSpPr>
        <p:sp>
          <p:nvSpPr>
            <p:cNvPr id="16" name="Rectangle 15"/>
            <p:cNvSpPr/>
            <p:nvPr/>
          </p:nvSpPr>
          <p:spPr>
            <a:xfrm>
              <a:off x="5618243" y="2708103"/>
              <a:ext cx="999494"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Resume Cost Estimated</a:t>
              </a:r>
            </a:p>
          </p:txBody>
        </p:sp>
        <p:sp>
          <p:nvSpPr>
            <p:cNvPr id="17" name="Rectangle 16"/>
            <p:cNvSpPr/>
            <p:nvPr/>
          </p:nvSpPr>
          <p:spPr>
            <a:xfrm>
              <a:off x="5618243" y="2777053"/>
              <a:ext cx="999494"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26" name="Group 25"/>
          <p:cNvGrpSpPr/>
          <p:nvPr/>
        </p:nvGrpSpPr>
        <p:grpSpPr>
          <a:xfrm>
            <a:off x="5846885" y="2455850"/>
            <a:ext cx="542210" cy="137900"/>
            <a:chOff x="5843618" y="2455850"/>
            <a:chExt cx="542210" cy="137900"/>
          </a:xfrm>
        </p:grpSpPr>
        <p:sp>
          <p:nvSpPr>
            <p:cNvPr id="27" name="Rectangle 26"/>
            <p:cNvSpPr/>
            <p:nvPr/>
          </p:nvSpPr>
          <p:spPr>
            <a:xfrm>
              <a:off x="5843618" y="2455850"/>
              <a:ext cx="542210" cy="68950"/>
            </a:xfrm>
            <a:prstGeom prst="rect">
              <a:avLst/>
            </a:prstGeom>
            <a:noFill/>
            <a:ln w="12700" cap="flat" cmpd="sng" algn="ctr">
              <a:solidFill>
                <a:schemeClr val="accent2">
                  <a:lumMod val="60000"/>
                  <a:lumOff val="40000"/>
                </a:schemeClr>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aref: Price</a:t>
              </a:r>
            </a:p>
          </p:txBody>
        </p:sp>
        <p:sp>
          <p:nvSpPr>
            <p:cNvPr id="28" name="Rectangle 27"/>
            <p:cNvSpPr/>
            <p:nvPr/>
          </p:nvSpPr>
          <p:spPr>
            <a:xfrm>
              <a:off x="5843618" y="2524800"/>
              <a:ext cx="542210" cy="68950"/>
            </a:xfrm>
            <a:prstGeom prst="rect">
              <a:avLst/>
            </a:prstGeom>
            <a:noFill/>
            <a:ln w="12700" cap="flat" cmpd="sng" algn="ctr">
              <a:solidFill>
                <a:schemeClr val="accent2">
                  <a:lumMod val="60000"/>
                  <a:lumOff val="40000"/>
                </a:schemeClr>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103" name="Group 102"/>
          <p:cNvGrpSpPr/>
          <p:nvPr/>
        </p:nvGrpSpPr>
        <p:grpSpPr>
          <a:xfrm>
            <a:off x="4475031" y="3912768"/>
            <a:ext cx="2570593" cy="137900"/>
            <a:chOff x="4475031" y="3908130"/>
            <a:chExt cx="2570593" cy="137900"/>
          </a:xfrm>
        </p:grpSpPr>
        <p:grpSp>
          <p:nvGrpSpPr>
            <p:cNvPr id="76" name="Group 75"/>
            <p:cNvGrpSpPr/>
            <p:nvPr/>
          </p:nvGrpSpPr>
          <p:grpSpPr>
            <a:xfrm>
              <a:off x="6243742" y="3908130"/>
              <a:ext cx="801882" cy="137900"/>
              <a:chOff x="6243742" y="3889528"/>
              <a:chExt cx="801882" cy="137900"/>
            </a:xfrm>
          </p:grpSpPr>
          <p:sp>
            <p:nvSpPr>
              <p:cNvPr id="46" name="Rectangle 45"/>
              <p:cNvSpPr/>
              <p:nvPr/>
            </p:nvSpPr>
            <p:spPr>
              <a:xfrm>
                <a:off x="6243742" y="3889528"/>
                <a:ext cx="801882"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Latest End Time</a:t>
                </a:r>
              </a:p>
            </p:txBody>
          </p:sp>
          <p:sp>
            <p:nvSpPr>
              <p:cNvPr id="47" name="Rectangle 46"/>
              <p:cNvSpPr/>
              <p:nvPr/>
            </p:nvSpPr>
            <p:spPr>
              <a:xfrm>
                <a:off x="6243742" y="3958478"/>
                <a:ext cx="801882"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51" name="Group 50"/>
            <p:cNvGrpSpPr/>
            <p:nvPr/>
          </p:nvGrpSpPr>
          <p:grpSpPr>
            <a:xfrm>
              <a:off x="4475031" y="3908130"/>
              <a:ext cx="905589" cy="137900"/>
              <a:chOff x="4475031" y="3908130"/>
              <a:chExt cx="905589" cy="137900"/>
            </a:xfrm>
          </p:grpSpPr>
          <p:sp>
            <p:nvSpPr>
              <p:cNvPr id="61" name="Rectangle 60"/>
              <p:cNvSpPr/>
              <p:nvPr/>
            </p:nvSpPr>
            <p:spPr>
              <a:xfrm>
                <a:off x="4475031" y="3908130"/>
                <a:ext cx="905589"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Active Duration Min</a:t>
                </a:r>
              </a:p>
            </p:txBody>
          </p:sp>
          <p:sp>
            <p:nvSpPr>
              <p:cNvPr id="62" name="Rectangle 61"/>
              <p:cNvSpPr/>
              <p:nvPr/>
            </p:nvSpPr>
            <p:spPr>
              <a:xfrm>
                <a:off x="4475031" y="3977080"/>
                <a:ext cx="905589"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grpSp>
        <p:nvGrpSpPr>
          <p:cNvPr id="100" name="Group 99"/>
          <p:cNvGrpSpPr/>
          <p:nvPr/>
        </p:nvGrpSpPr>
        <p:grpSpPr>
          <a:xfrm>
            <a:off x="4181062" y="3734022"/>
            <a:ext cx="2864562" cy="137900"/>
            <a:chOff x="4181062" y="3739490"/>
            <a:chExt cx="2864562" cy="137900"/>
          </a:xfrm>
        </p:grpSpPr>
        <p:grpSp>
          <p:nvGrpSpPr>
            <p:cNvPr id="77" name="Group 76"/>
            <p:cNvGrpSpPr/>
            <p:nvPr/>
          </p:nvGrpSpPr>
          <p:grpSpPr>
            <a:xfrm>
              <a:off x="6410324" y="3739490"/>
              <a:ext cx="635300" cy="137900"/>
              <a:chOff x="6410324" y="3714257"/>
              <a:chExt cx="635300" cy="137900"/>
            </a:xfrm>
          </p:grpSpPr>
          <p:sp>
            <p:nvSpPr>
              <p:cNvPr id="43" name="Rectangle 42"/>
              <p:cNvSpPr/>
              <p:nvPr/>
            </p:nvSpPr>
            <p:spPr>
              <a:xfrm>
                <a:off x="6410324" y="3714257"/>
                <a:ext cx="635300"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End Time</a:t>
                </a:r>
              </a:p>
            </p:txBody>
          </p:sp>
          <p:sp>
            <p:nvSpPr>
              <p:cNvPr id="44" name="Rectangle 43"/>
              <p:cNvSpPr/>
              <p:nvPr/>
            </p:nvSpPr>
            <p:spPr>
              <a:xfrm>
                <a:off x="6410324" y="3783207"/>
                <a:ext cx="635300"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48" name="Group 47"/>
            <p:cNvGrpSpPr/>
            <p:nvPr/>
          </p:nvGrpSpPr>
          <p:grpSpPr>
            <a:xfrm>
              <a:off x="4181062" y="3739490"/>
              <a:ext cx="905589" cy="137900"/>
              <a:chOff x="4181062" y="3739490"/>
              <a:chExt cx="905589" cy="137900"/>
            </a:xfrm>
          </p:grpSpPr>
          <p:sp>
            <p:nvSpPr>
              <p:cNvPr id="64" name="Rectangle 63"/>
              <p:cNvSpPr/>
              <p:nvPr/>
            </p:nvSpPr>
            <p:spPr>
              <a:xfrm>
                <a:off x="4181062" y="3739490"/>
                <a:ext cx="905589"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Active Duration Max</a:t>
                </a:r>
              </a:p>
            </p:txBody>
          </p:sp>
          <p:sp>
            <p:nvSpPr>
              <p:cNvPr id="65" name="Rectangle 64"/>
              <p:cNvSpPr/>
              <p:nvPr/>
            </p:nvSpPr>
            <p:spPr>
              <a:xfrm>
                <a:off x="4181062" y="3808440"/>
                <a:ext cx="905589"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grpSp>
        <p:nvGrpSpPr>
          <p:cNvPr id="99" name="Group 98"/>
          <p:cNvGrpSpPr/>
          <p:nvPr/>
        </p:nvGrpSpPr>
        <p:grpSpPr>
          <a:xfrm>
            <a:off x="4083072" y="3555276"/>
            <a:ext cx="3067073" cy="137900"/>
            <a:chOff x="4083072" y="3579512"/>
            <a:chExt cx="3067073" cy="137900"/>
          </a:xfrm>
        </p:grpSpPr>
        <p:grpSp>
          <p:nvGrpSpPr>
            <p:cNvPr id="80" name="Group 79"/>
            <p:cNvGrpSpPr/>
            <p:nvPr/>
          </p:nvGrpSpPr>
          <p:grpSpPr>
            <a:xfrm>
              <a:off x="6296003" y="3579512"/>
              <a:ext cx="854142" cy="137900"/>
              <a:chOff x="6296003" y="3545391"/>
              <a:chExt cx="854142" cy="137900"/>
            </a:xfrm>
          </p:grpSpPr>
          <p:sp>
            <p:nvSpPr>
              <p:cNvPr id="40" name="Rectangle 39"/>
              <p:cNvSpPr/>
              <p:nvPr/>
            </p:nvSpPr>
            <p:spPr>
              <a:xfrm>
                <a:off x="6296003" y="3545391"/>
                <a:ext cx="854142"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Earliest Start time</a:t>
                </a:r>
              </a:p>
            </p:txBody>
          </p:sp>
          <p:sp>
            <p:nvSpPr>
              <p:cNvPr id="41" name="Rectangle 40"/>
              <p:cNvSpPr/>
              <p:nvPr/>
            </p:nvSpPr>
            <p:spPr>
              <a:xfrm>
                <a:off x="6296003" y="3614341"/>
                <a:ext cx="854142"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45" name="Group 44"/>
            <p:cNvGrpSpPr/>
            <p:nvPr/>
          </p:nvGrpSpPr>
          <p:grpSpPr>
            <a:xfrm>
              <a:off x="4083072" y="3579512"/>
              <a:ext cx="930085" cy="137900"/>
              <a:chOff x="4083072" y="3579512"/>
              <a:chExt cx="930085" cy="137900"/>
            </a:xfrm>
          </p:grpSpPr>
          <p:sp>
            <p:nvSpPr>
              <p:cNvPr id="71" name="Rectangle 70"/>
              <p:cNvSpPr/>
              <p:nvPr/>
            </p:nvSpPr>
            <p:spPr>
              <a:xfrm>
                <a:off x="4083072" y="3579512"/>
                <a:ext cx="930085"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Remaining Slot Time</a:t>
                </a:r>
              </a:p>
            </p:txBody>
          </p:sp>
          <p:sp>
            <p:nvSpPr>
              <p:cNvPr id="72" name="Rectangle 71"/>
              <p:cNvSpPr/>
              <p:nvPr/>
            </p:nvSpPr>
            <p:spPr>
              <a:xfrm>
                <a:off x="4083072" y="3648462"/>
                <a:ext cx="930085"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grpSp>
        <p:nvGrpSpPr>
          <p:cNvPr id="109" name="Group 108"/>
          <p:cNvGrpSpPr/>
          <p:nvPr/>
        </p:nvGrpSpPr>
        <p:grpSpPr>
          <a:xfrm>
            <a:off x="4070825" y="3376530"/>
            <a:ext cx="3013994" cy="137900"/>
            <a:chOff x="4070825" y="3376530"/>
            <a:chExt cx="3013994" cy="137900"/>
          </a:xfrm>
        </p:grpSpPr>
        <p:grpSp>
          <p:nvGrpSpPr>
            <p:cNvPr id="83" name="Group 82"/>
            <p:cNvGrpSpPr/>
            <p:nvPr/>
          </p:nvGrpSpPr>
          <p:grpSpPr>
            <a:xfrm>
              <a:off x="6441354" y="3376530"/>
              <a:ext cx="643465" cy="137900"/>
              <a:chOff x="6441354" y="3376530"/>
              <a:chExt cx="643465" cy="137900"/>
            </a:xfrm>
          </p:grpSpPr>
          <p:sp>
            <p:nvSpPr>
              <p:cNvPr id="37" name="Rectangle 36"/>
              <p:cNvSpPr/>
              <p:nvPr/>
            </p:nvSpPr>
            <p:spPr>
              <a:xfrm>
                <a:off x="6441354" y="3376530"/>
                <a:ext cx="643465"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Start Time</a:t>
                </a:r>
              </a:p>
            </p:txBody>
          </p:sp>
          <p:sp>
            <p:nvSpPr>
              <p:cNvPr id="38" name="Rectangle 37"/>
              <p:cNvSpPr/>
              <p:nvPr/>
            </p:nvSpPr>
            <p:spPr>
              <a:xfrm>
                <a:off x="6441354" y="3445480"/>
                <a:ext cx="643465"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42" name="Group 41"/>
            <p:cNvGrpSpPr/>
            <p:nvPr/>
          </p:nvGrpSpPr>
          <p:grpSpPr>
            <a:xfrm>
              <a:off x="4070825" y="3376530"/>
              <a:ext cx="844345" cy="137900"/>
              <a:chOff x="4070825" y="3376530"/>
              <a:chExt cx="844345" cy="137900"/>
            </a:xfrm>
          </p:grpSpPr>
          <p:sp>
            <p:nvSpPr>
              <p:cNvPr id="78" name="Rectangle 77"/>
              <p:cNvSpPr/>
              <p:nvPr/>
            </p:nvSpPr>
            <p:spPr>
              <a:xfrm>
                <a:off x="4070825" y="3376530"/>
                <a:ext cx="844345"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Elapse Slot Time</a:t>
                </a:r>
              </a:p>
            </p:txBody>
          </p:sp>
          <p:sp>
            <p:nvSpPr>
              <p:cNvPr id="79" name="Rectangle 78"/>
              <p:cNvSpPr/>
              <p:nvPr/>
            </p:nvSpPr>
            <p:spPr>
              <a:xfrm>
                <a:off x="4070825" y="3445480"/>
                <a:ext cx="844345"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grpSp>
        <p:nvGrpSpPr>
          <p:cNvPr id="155" name="Group 154"/>
          <p:cNvGrpSpPr/>
          <p:nvPr/>
        </p:nvGrpSpPr>
        <p:grpSpPr>
          <a:xfrm>
            <a:off x="4293134" y="2566120"/>
            <a:ext cx="541808" cy="137900"/>
            <a:chOff x="4302318" y="2566120"/>
            <a:chExt cx="541808" cy="137900"/>
          </a:xfrm>
        </p:grpSpPr>
        <p:sp>
          <p:nvSpPr>
            <p:cNvPr id="84" name="Rectangle 83"/>
            <p:cNvSpPr/>
            <p:nvPr/>
          </p:nvSpPr>
          <p:spPr>
            <a:xfrm>
              <a:off x="4302318" y="2566120"/>
              <a:ext cx="541808"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State</a:t>
              </a:r>
            </a:p>
          </p:txBody>
        </p:sp>
        <p:sp>
          <p:nvSpPr>
            <p:cNvPr id="85" name="Rectangle 84"/>
            <p:cNvSpPr/>
            <p:nvPr/>
          </p:nvSpPr>
          <p:spPr>
            <a:xfrm>
              <a:off x="4302318" y="2635070"/>
              <a:ext cx="541808"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29" name="Group 28"/>
          <p:cNvGrpSpPr/>
          <p:nvPr/>
        </p:nvGrpSpPr>
        <p:grpSpPr>
          <a:xfrm>
            <a:off x="4535458" y="1989346"/>
            <a:ext cx="884357" cy="137900"/>
            <a:chOff x="4535458" y="1989346"/>
            <a:chExt cx="884357" cy="137900"/>
          </a:xfrm>
        </p:grpSpPr>
        <p:sp>
          <p:nvSpPr>
            <p:cNvPr id="91" name="Rectangle 90"/>
            <p:cNvSpPr/>
            <p:nvPr/>
          </p:nvSpPr>
          <p:spPr>
            <a:xfrm>
              <a:off x="4535458" y="1989346"/>
              <a:ext cx="884357"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Alternative Group</a:t>
              </a:r>
            </a:p>
          </p:txBody>
        </p:sp>
        <p:sp>
          <p:nvSpPr>
            <p:cNvPr id="92" name="Rectangle 91"/>
            <p:cNvSpPr/>
            <p:nvPr/>
          </p:nvSpPr>
          <p:spPr>
            <a:xfrm>
              <a:off x="4535458" y="2058296"/>
              <a:ext cx="884357"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30" name="Group 29"/>
          <p:cNvGrpSpPr/>
          <p:nvPr/>
        </p:nvGrpSpPr>
        <p:grpSpPr>
          <a:xfrm>
            <a:off x="4343154" y="1572399"/>
            <a:ext cx="749621" cy="137900"/>
            <a:chOff x="4354179" y="1572399"/>
            <a:chExt cx="749621" cy="137900"/>
          </a:xfrm>
        </p:grpSpPr>
        <p:sp>
          <p:nvSpPr>
            <p:cNvPr id="94" name="Rectangle 93"/>
            <p:cNvSpPr/>
            <p:nvPr/>
          </p:nvSpPr>
          <p:spPr>
            <a:xfrm>
              <a:off x="4354179" y="1572399"/>
              <a:ext cx="749621"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Power Profile</a:t>
              </a:r>
            </a:p>
          </p:txBody>
        </p:sp>
        <p:sp>
          <p:nvSpPr>
            <p:cNvPr id="95" name="Rectangle 94"/>
            <p:cNvSpPr/>
            <p:nvPr/>
          </p:nvSpPr>
          <p:spPr>
            <a:xfrm>
              <a:off x="4354179" y="1641349"/>
              <a:ext cx="749621"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31" name="Group 30"/>
          <p:cNvGrpSpPr/>
          <p:nvPr/>
        </p:nvGrpSpPr>
        <p:grpSpPr>
          <a:xfrm>
            <a:off x="4425221" y="1123951"/>
            <a:ext cx="585487" cy="137900"/>
            <a:chOff x="4425221" y="1123951"/>
            <a:chExt cx="585487" cy="137900"/>
          </a:xfrm>
        </p:grpSpPr>
        <p:sp>
          <p:nvSpPr>
            <p:cNvPr id="101" name="Rectangle 100"/>
            <p:cNvSpPr/>
            <p:nvPr/>
          </p:nvSpPr>
          <p:spPr>
            <a:xfrm>
              <a:off x="4425221" y="1123951"/>
              <a:ext cx="585487" cy="68950"/>
            </a:xfrm>
            <a:prstGeom prst="rect">
              <a:avLst/>
            </a:prstGeom>
            <a:noFill/>
            <a:ln w="12700" cap="flat" cmpd="sng" algn="ctr">
              <a:solidFill>
                <a:schemeClr val="accent2">
                  <a:lumMod val="60000"/>
                  <a:lumOff val="40000"/>
                </a:schemeClr>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aref:Profile</a:t>
              </a:r>
            </a:p>
          </p:txBody>
        </p:sp>
        <p:sp>
          <p:nvSpPr>
            <p:cNvPr id="102" name="Rectangle 101"/>
            <p:cNvSpPr/>
            <p:nvPr/>
          </p:nvSpPr>
          <p:spPr>
            <a:xfrm>
              <a:off x="4425221" y="1192901"/>
              <a:ext cx="585487" cy="68950"/>
            </a:xfrm>
            <a:prstGeom prst="rect">
              <a:avLst/>
            </a:prstGeom>
            <a:noFill/>
            <a:ln w="12700" cap="flat" cmpd="sng" algn="ctr">
              <a:solidFill>
                <a:schemeClr val="accent2">
                  <a:lumMod val="60000"/>
                  <a:lumOff val="40000"/>
                </a:schemeClr>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32" name="Group 31"/>
          <p:cNvGrpSpPr/>
          <p:nvPr/>
        </p:nvGrpSpPr>
        <p:grpSpPr>
          <a:xfrm>
            <a:off x="2161664" y="1123951"/>
            <a:ext cx="649180" cy="137900"/>
            <a:chOff x="2161664" y="1123951"/>
            <a:chExt cx="649180" cy="137900"/>
          </a:xfrm>
        </p:grpSpPr>
        <p:sp>
          <p:nvSpPr>
            <p:cNvPr id="104" name="Rectangle 103"/>
            <p:cNvSpPr/>
            <p:nvPr/>
          </p:nvSpPr>
          <p:spPr>
            <a:xfrm>
              <a:off x="2161664" y="1123951"/>
              <a:ext cx="649180" cy="68950"/>
            </a:xfrm>
            <a:prstGeom prst="rect">
              <a:avLst/>
            </a:prstGeom>
            <a:noFill/>
            <a:ln w="12700" cap="flat" cmpd="sng" algn="ctr">
              <a:solidFill>
                <a:schemeClr val="accent2">
                  <a:lumMod val="60000"/>
                  <a:lumOff val="40000"/>
                </a:schemeClr>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aref:Device</a:t>
              </a:r>
            </a:p>
          </p:txBody>
        </p:sp>
        <p:sp>
          <p:nvSpPr>
            <p:cNvPr id="105" name="Rectangle 104"/>
            <p:cNvSpPr/>
            <p:nvPr/>
          </p:nvSpPr>
          <p:spPr>
            <a:xfrm>
              <a:off x="2161664" y="1192901"/>
              <a:ext cx="649180" cy="68950"/>
            </a:xfrm>
            <a:prstGeom prst="rect">
              <a:avLst/>
            </a:prstGeom>
            <a:noFill/>
            <a:ln w="12700" cap="flat" cmpd="sng" algn="ctr">
              <a:solidFill>
                <a:schemeClr val="accent2">
                  <a:lumMod val="60000"/>
                  <a:lumOff val="40000"/>
                </a:schemeClr>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33" name="Group 32"/>
          <p:cNvGrpSpPr/>
          <p:nvPr/>
        </p:nvGrpSpPr>
        <p:grpSpPr>
          <a:xfrm>
            <a:off x="2191061" y="1569851"/>
            <a:ext cx="578138" cy="137900"/>
            <a:chOff x="2191061" y="1569851"/>
            <a:chExt cx="578138" cy="137900"/>
          </a:xfrm>
        </p:grpSpPr>
        <p:sp>
          <p:nvSpPr>
            <p:cNvPr id="107" name="Rectangle 106"/>
            <p:cNvSpPr/>
            <p:nvPr/>
          </p:nvSpPr>
          <p:spPr>
            <a:xfrm>
              <a:off x="2191061" y="1569851"/>
              <a:ext cx="578138"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Device</a:t>
              </a:r>
            </a:p>
          </p:txBody>
        </p:sp>
        <p:sp>
          <p:nvSpPr>
            <p:cNvPr id="108" name="Rectangle 107"/>
            <p:cNvSpPr/>
            <p:nvPr/>
          </p:nvSpPr>
          <p:spPr>
            <a:xfrm>
              <a:off x="2191061" y="1638801"/>
              <a:ext cx="578138"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23" name="Group 22"/>
          <p:cNvGrpSpPr/>
          <p:nvPr/>
        </p:nvGrpSpPr>
        <p:grpSpPr>
          <a:xfrm>
            <a:off x="8500767" y="2566120"/>
            <a:ext cx="635299" cy="137900"/>
            <a:chOff x="8500767" y="2566120"/>
            <a:chExt cx="635299" cy="137900"/>
          </a:xfrm>
        </p:grpSpPr>
        <p:sp>
          <p:nvSpPr>
            <p:cNvPr id="110" name="Rectangle 109"/>
            <p:cNvSpPr/>
            <p:nvPr/>
          </p:nvSpPr>
          <p:spPr>
            <a:xfrm>
              <a:off x="8500767" y="2566120"/>
              <a:ext cx="635299"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aref: Energy</a:t>
              </a:r>
            </a:p>
          </p:txBody>
        </p:sp>
        <p:sp>
          <p:nvSpPr>
            <p:cNvPr id="111" name="Rectangle 110"/>
            <p:cNvSpPr/>
            <p:nvPr/>
          </p:nvSpPr>
          <p:spPr>
            <a:xfrm>
              <a:off x="8500767" y="2635070"/>
              <a:ext cx="635299"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24" name="Group 23"/>
          <p:cNvGrpSpPr/>
          <p:nvPr/>
        </p:nvGrpSpPr>
        <p:grpSpPr>
          <a:xfrm>
            <a:off x="6924769" y="2879325"/>
            <a:ext cx="1061554" cy="137900"/>
            <a:chOff x="6924769" y="2900902"/>
            <a:chExt cx="1061554" cy="137900"/>
          </a:xfrm>
        </p:grpSpPr>
        <p:sp>
          <p:nvSpPr>
            <p:cNvPr id="34" name="Rectangle 33"/>
            <p:cNvSpPr/>
            <p:nvPr/>
          </p:nvSpPr>
          <p:spPr>
            <a:xfrm>
              <a:off x="6924769" y="2900902"/>
              <a:ext cx="1061554"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Resume Energy Estimated</a:t>
              </a:r>
            </a:p>
          </p:txBody>
        </p:sp>
        <p:sp>
          <p:nvSpPr>
            <p:cNvPr id="35" name="Rectangle 34"/>
            <p:cNvSpPr/>
            <p:nvPr/>
          </p:nvSpPr>
          <p:spPr>
            <a:xfrm>
              <a:off x="6924769" y="2969852"/>
              <a:ext cx="1061554"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39" name="Group 38"/>
          <p:cNvGrpSpPr/>
          <p:nvPr/>
        </p:nvGrpSpPr>
        <p:grpSpPr>
          <a:xfrm>
            <a:off x="4083071" y="2879325"/>
            <a:ext cx="961934" cy="137900"/>
            <a:chOff x="4083071" y="2927224"/>
            <a:chExt cx="961934" cy="137900"/>
          </a:xfrm>
        </p:grpSpPr>
        <p:sp>
          <p:nvSpPr>
            <p:cNvPr id="81" name="Rectangle 80"/>
            <p:cNvSpPr/>
            <p:nvPr/>
          </p:nvSpPr>
          <p:spPr>
            <a:xfrm>
              <a:off x="4083071" y="2927224"/>
              <a:ext cx="961934"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Power Sequence State</a:t>
              </a:r>
            </a:p>
          </p:txBody>
        </p:sp>
        <p:sp>
          <p:nvSpPr>
            <p:cNvPr id="82" name="Rectangle 81"/>
            <p:cNvSpPr/>
            <p:nvPr/>
          </p:nvSpPr>
          <p:spPr>
            <a:xfrm>
              <a:off x="4083071" y="2996174"/>
              <a:ext cx="961934"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22" name="Group 21"/>
          <p:cNvGrpSpPr/>
          <p:nvPr/>
        </p:nvGrpSpPr>
        <p:grpSpPr>
          <a:xfrm>
            <a:off x="8500767" y="2879325"/>
            <a:ext cx="635299" cy="137900"/>
            <a:chOff x="8500767" y="2826017"/>
            <a:chExt cx="635299" cy="137900"/>
          </a:xfrm>
        </p:grpSpPr>
        <p:sp>
          <p:nvSpPr>
            <p:cNvPr id="113" name="Rectangle 112"/>
            <p:cNvSpPr/>
            <p:nvPr/>
          </p:nvSpPr>
          <p:spPr>
            <a:xfrm>
              <a:off x="8500767" y="2826017"/>
              <a:ext cx="635299"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Energy</a:t>
              </a:r>
            </a:p>
          </p:txBody>
        </p:sp>
        <p:sp>
          <p:nvSpPr>
            <p:cNvPr id="114" name="Rectangle 113"/>
            <p:cNvSpPr/>
            <p:nvPr/>
          </p:nvSpPr>
          <p:spPr>
            <a:xfrm>
              <a:off x="8500767" y="2894967"/>
              <a:ext cx="635299"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21" name="Group 20"/>
          <p:cNvGrpSpPr/>
          <p:nvPr/>
        </p:nvGrpSpPr>
        <p:grpSpPr>
          <a:xfrm>
            <a:off x="9512507" y="2879325"/>
            <a:ext cx="588755" cy="137900"/>
            <a:chOff x="9512507" y="2815825"/>
            <a:chExt cx="588755" cy="137900"/>
          </a:xfrm>
        </p:grpSpPr>
        <p:sp>
          <p:nvSpPr>
            <p:cNvPr id="119" name="Rectangle 118"/>
            <p:cNvSpPr/>
            <p:nvPr/>
          </p:nvSpPr>
          <p:spPr>
            <a:xfrm>
              <a:off x="9512507" y="2815825"/>
              <a:ext cx="588755"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aref: Power</a:t>
              </a:r>
            </a:p>
          </p:txBody>
        </p:sp>
        <p:sp>
          <p:nvSpPr>
            <p:cNvPr id="120" name="Rectangle 119"/>
            <p:cNvSpPr/>
            <p:nvPr/>
          </p:nvSpPr>
          <p:spPr>
            <a:xfrm>
              <a:off x="9512507" y="2884775"/>
              <a:ext cx="588755"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86" name="Group 85"/>
          <p:cNvGrpSpPr/>
          <p:nvPr/>
        </p:nvGrpSpPr>
        <p:grpSpPr>
          <a:xfrm>
            <a:off x="5324274" y="3134318"/>
            <a:ext cx="874557" cy="137900"/>
            <a:chOff x="5324274" y="3146360"/>
            <a:chExt cx="874557" cy="137900"/>
          </a:xfrm>
        </p:grpSpPr>
        <p:sp>
          <p:nvSpPr>
            <p:cNvPr id="11" name="Rectangle 10"/>
            <p:cNvSpPr/>
            <p:nvPr/>
          </p:nvSpPr>
          <p:spPr>
            <a:xfrm>
              <a:off x="5324274" y="3146360"/>
              <a:ext cx="874557"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Power Sequence</a:t>
              </a:r>
            </a:p>
          </p:txBody>
        </p:sp>
        <p:sp>
          <p:nvSpPr>
            <p:cNvPr id="12" name="Rectangle 11"/>
            <p:cNvSpPr/>
            <p:nvPr/>
          </p:nvSpPr>
          <p:spPr>
            <a:xfrm>
              <a:off x="5324274" y="3215310"/>
              <a:ext cx="874557"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19" name="Group 18"/>
          <p:cNvGrpSpPr/>
          <p:nvPr/>
        </p:nvGrpSpPr>
        <p:grpSpPr>
          <a:xfrm>
            <a:off x="8086762" y="3134318"/>
            <a:ext cx="522611" cy="137900"/>
            <a:chOff x="8086762" y="3136873"/>
            <a:chExt cx="522611" cy="137900"/>
          </a:xfrm>
        </p:grpSpPr>
        <p:sp>
          <p:nvSpPr>
            <p:cNvPr id="116" name="Rectangle 115"/>
            <p:cNvSpPr/>
            <p:nvPr/>
          </p:nvSpPr>
          <p:spPr>
            <a:xfrm>
              <a:off x="8086762" y="3136873"/>
              <a:ext cx="522611"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Slot</a:t>
              </a:r>
            </a:p>
          </p:txBody>
        </p:sp>
        <p:sp>
          <p:nvSpPr>
            <p:cNvPr id="117" name="Rectangle 116"/>
            <p:cNvSpPr/>
            <p:nvPr/>
          </p:nvSpPr>
          <p:spPr>
            <a:xfrm>
              <a:off x="8086762" y="3205823"/>
              <a:ext cx="522611"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20" name="Group 19"/>
          <p:cNvGrpSpPr/>
          <p:nvPr/>
        </p:nvGrpSpPr>
        <p:grpSpPr>
          <a:xfrm>
            <a:off x="9512507" y="3134318"/>
            <a:ext cx="588755" cy="137900"/>
            <a:chOff x="9512507" y="3134318"/>
            <a:chExt cx="588755" cy="137900"/>
          </a:xfrm>
        </p:grpSpPr>
        <p:sp>
          <p:nvSpPr>
            <p:cNvPr id="122" name="Rectangle 121"/>
            <p:cNvSpPr/>
            <p:nvPr/>
          </p:nvSpPr>
          <p:spPr>
            <a:xfrm>
              <a:off x="9512507" y="3134318"/>
              <a:ext cx="588755"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aref: Power</a:t>
              </a:r>
            </a:p>
          </p:txBody>
        </p:sp>
        <p:sp>
          <p:nvSpPr>
            <p:cNvPr id="123" name="Rectangle 122"/>
            <p:cNvSpPr/>
            <p:nvPr/>
          </p:nvSpPr>
          <p:spPr>
            <a:xfrm>
              <a:off x="9512507" y="3203268"/>
              <a:ext cx="588755"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15" name="Group 14"/>
          <p:cNvGrpSpPr/>
          <p:nvPr/>
        </p:nvGrpSpPr>
        <p:grpSpPr>
          <a:xfrm>
            <a:off x="8659999" y="3521615"/>
            <a:ext cx="1005211" cy="137900"/>
            <a:chOff x="8659999" y="3521615"/>
            <a:chExt cx="1005211" cy="137900"/>
          </a:xfrm>
        </p:grpSpPr>
        <p:sp>
          <p:nvSpPr>
            <p:cNvPr id="125" name="Rectangle 124"/>
            <p:cNvSpPr/>
            <p:nvPr/>
          </p:nvSpPr>
          <p:spPr>
            <a:xfrm>
              <a:off x="8659999" y="3521615"/>
              <a:ext cx="1005211"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Remaining Pause Time</a:t>
              </a:r>
            </a:p>
          </p:txBody>
        </p:sp>
        <p:sp>
          <p:nvSpPr>
            <p:cNvPr id="126" name="Rectangle 125"/>
            <p:cNvSpPr/>
            <p:nvPr/>
          </p:nvSpPr>
          <p:spPr>
            <a:xfrm>
              <a:off x="8659999" y="3590565"/>
              <a:ext cx="1005211"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93" name="Group 92"/>
          <p:cNvGrpSpPr/>
          <p:nvPr/>
        </p:nvGrpSpPr>
        <p:grpSpPr>
          <a:xfrm>
            <a:off x="4746951" y="4270259"/>
            <a:ext cx="4011856" cy="137901"/>
            <a:chOff x="4746951" y="4270259"/>
            <a:chExt cx="4011856" cy="137901"/>
          </a:xfrm>
        </p:grpSpPr>
        <p:grpSp>
          <p:nvGrpSpPr>
            <p:cNvPr id="90" name="Group 89"/>
            <p:cNvGrpSpPr/>
            <p:nvPr/>
          </p:nvGrpSpPr>
          <p:grpSpPr>
            <a:xfrm>
              <a:off x="4746951" y="4270260"/>
              <a:ext cx="1981841" cy="137900"/>
              <a:chOff x="4746951" y="4308279"/>
              <a:chExt cx="1981841" cy="137900"/>
            </a:xfrm>
          </p:grpSpPr>
          <p:grpSp>
            <p:nvGrpSpPr>
              <p:cNvPr id="7" name="Group 6"/>
              <p:cNvGrpSpPr/>
              <p:nvPr/>
            </p:nvGrpSpPr>
            <p:grpSpPr>
              <a:xfrm>
                <a:off x="5828102" y="4308279"/>
                <a:ext cx="900690" cy="137900"/>
                <a:chOff x="5828102" y="4244779"/>
                <a:chExt cx="900690" cy="137900"/>
              </a:xfrm>
            </p:grpSpPr>
            <p:sp>
              <p:nvSpPr>
                <p:cNvPr id="52" name="Rectangle 51"/>
                <p:cNvSpPr/>
                <p:nvPr/>
              </p:nvSpPr>
              <p:spPr>
                <a:xfrm>
                  <a:off x="5828102" y="4244779"/>
                  <a:ext cx="900690"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Pause Duration Min</a:t>
                  </a:r>
                </a:p>
              </p:txBody>
            </p:sp>
            <p:sp>
              <p:nvSpPr>
                <p:cNvPr id="53" name="Rectangle 52"/>
                <p:cNvSpPr/>
                <p:nvPr/>
              </p:nvSpPr>
              <p:spPr>
                <a:xfrm>
                  <a:off x="5828102" y="4313729"/>
                  <a:ext cx="900690"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6" name="Group 5"/>
              <p:cNvGrpSpPr/>
              <p:nvPr/>
            </p:nvGrpSpPr>
            <p:grpSpPr>
              <a:xfrm>
                <a:off x="4746951" y="4308279"/>
                <a:ext cx="1031342" cy="137900"/>
                <a:chOff x="4746951" y="4231190"/>
                <a:chExt cx="1031342" cy="137900"/>
              </a:xfrm>
            </p:grpSpPr>
            <p:sp>
              <p:nvSpPr>
                <p:cNvPr id="55" name="Rectangle 54"/>
                <p:cNvSpPr/>
                <p:nvPr/>
              </p:nvSpPr>
              <p:spPr>
                <a:xfrm>
                  <a:off x="4746951" y="4231190"/>
                  <a:ext cx="1031342"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Active Duration Sum Min</a:t>
                  </a:r>
                </a:p>
              </p:txBody>
            </p:sp>
            <p:sp>
              <p:nvSpPr>
                <p:cNvPr id="56" name="Rectangle 55"/>
                <p:cNvSpPr/>
                <p:nvPr/>
              </p:nvSpPr>
              <p:spPr>
                <a:xfrm>
                  <a:off x="4746951" y="4300140"/>
                  <a:ext cx="1031342"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grpSp>
          <p:nvGrpSpPr>
            <p:cNvPr id="8" name="Group 7"/>
            <p:cNvGrpSpPr/>
            <p:nvPr/>
          </p:nvGrpSpPr>
          <p:grpSpPr>
            <a:xfrm>
              <a:off x="8020619" y="4270259"/>
              <a:ext cx="738188" cy="137900"/>
              <a:chOff x="8020619" y="4270259"/>
              <a:chExt cx="738188" cy="137900"/>
            </a:xfrm>
          </p:grpSpPr>
          <p:sp>
            <p:nvSpPr>
              <p:cNvPr id="137" name="Rectangle 136"/>
              <p:cNvSpPr/>
              <p:nvPr/>
            </p:nvSpPr>
            <p:spPr>
              <a:xfrm>
                <a:off x="8020619" y="4270259"/>
                <a:ext cx="738188"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Max Duration</a:t>
                </a:r>
              </a:p>
            </p:txBody>
          </p:sp>
          <p:sp>
            <p:nvSpPr>
              <p:cNvPr id="138" name="Rectangle 137"/>
              <p:cNvSpPr/>
              <p:nvPr/>
            </p:nvSpPr>
            <p:spPr>
              <a:xfrm>
                <a:off x="8020619" y="4339209"/>
                <a:ext cx="738188"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grpSp>
        <p:nvGrpSpPr>
          <p:cNvPr id="63" name="Group 62"/>
          <p:cNvGrpSpPr/>
          <p:nvPr/>
        </p:nvGrpSpPr>
        <p:grpSpPr>
          <a:xfrm>
            <a:off x="3130936" y="4693514"/>
            <a:ext cx="1004400" cy="137900"/>
            <a:chOff x="3130936" y="4653071"/>
            <a:chExt cx="1004400" cy="137900"/>
          </a:xfrm>
        </p:grpSpPr>
        <p:sp>
          <p:nvSpPr>
            <p:cNvPr id="144" name="Rectangle 143"/>
            <p:cNvSpPr/>
            <p:nvPr/>
          </p:nvSpPr>
          <p:spPr>
            <a:xfrm>
              <a:off x="3130936" y="4653071"/>
              <a:ext cx="1004400"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Load Control Event Data</a:t>
              </a:r>
            </a:p>
          </p:txBody>
        </p:sp>
        <p:sp>
          <p:nvSpPr>
            <p:cNvPr id="145" name="Rectangle 144"/>
            <p:cNvSpPr/>
            <p:nvPr/>
          </p:nvSpPr>
          <p:spPr>
            <a:xfrm>
              <a:off x="3130936" y="4722021"/>
              <a:ext cx="1004400"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67" name="Group 66"/>
          <p:cNvGrpSpPr/>
          <p:nvPr/>
        </p:nvGrpSpPr>
        <p:grpSpPr>
          <a:xfrm>
            <a:off x="1528812" y="4693514"/>
            <a:ext cx="1104019" cy="137900"/>
            <a:chOff x="1528812" y="4663262"/>
            <a:chExt cx="1104019" cy="137900"/>
          </a:xfrm>
        </p:grpSpPr>
        <p:sp>
          <p:nvSpPr>
            <p:cNvPr id="147" name="Rectangle 146"/>
            <p:cNvSpPr/>
            <p:nvPr/>
          </p:nvSpPr>
          <p:spPr>
            <a:xfrm>
              <a:off x="1528812" y="4663262"/>
              <a:ext cx="1104019"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Load Control Event Action</a:t>
              </a:r>
            </a:p>
          </p:txBody>
        </p:sp>
        <p:sp>
          <p:nvSpPr>
            <p:cNvPr id="148" name="Rectangle 147"/>
            <p:cNvSpPr/>
            <p:nvPr/>
          </p:nvSpPr>
          <p:spPr>
            <a:xfrm>
              <a:off x="1528812" y="4732212"/>
              <a:ext cx="1104019"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57" name="Group 56"/>
          <p:cNvGrpSpPr/>
          <p:nvPr/>
        </p:nvGrpSpPr>
        <p:grpSpPr>
          <a:xfrm>
            <a:off x="4786147" y="4693514"/>
            <a:ext cx="832096" cy="137900"/>
            <a:chOff x="4786147" y="4693514"/>
            <a:chExt cx="832096" cy="137900"/>
          </a:xfrm>
        </p:grpSpPr>
        <p:sp>
          <p:nvSpPr>
            <p:cNvPr id="159" name="Rectangle 158"/>
            <p:cNvSpPr/>
            <p:nvPr/>
          </p:nvSpPr>
          <p:spPr>
            <a:xfrm>
              <a:off x="4786147" y="4693514"/>
              <a:ext cx="832096"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Time: Temporal Enitity</a:t>
              </a:r>
            </a:p>
          </p:txBody>
        </p:sp>
        <p:sp>
          <p:nvSpPr>
            <p:cNvPr id="160" name="Rectangle 159"/>
            <p:cNvSpPr/>
            <p:nvPr/>
          </p:nvSpPr>
          <p:spPr>
            <a:xfrm>
              <a:off x="4786147" y="4762464"/>
              <a:ext cx="832096"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68" name="Group 67"/>
          <p:cNvGrpSpPr/>
          <p:nvPr/>
        </p:nvGrpSpPr>
        <p:grpSpPr>
          <a:xfrm>
            <a:off x="1237575" y="4943702"/>
            <a:ext cx="986432" cy="137900"/>
            <a:chOff x="1016000" y="4989407"/>
            <a:chExt cx="986432" cy="137900"/>
          </a:xfrm>
        </p:grpSpPr>
        <p:sp>
          <p:nvSpPr>
            <p:cNvPr id="150" name="Rectangle 149"/>
            <p:cNvSpPr/>
            <p:nvPr/>
          </p:nvSpPr>
          <p:spPr>
            <a:xfrm>
              <a:off x="1016000" y="4989407"/>
              <a:ext cx="986432"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Event Action Consume</a:t>
              </a:r>
            </a:p>
          </p:txBody>
        </p:sp>
        <p:sp>
          <p:nvSpPr>
            <p:cNvPr id="151" name="Rectangle 150"/>
            <p:cNvSpPr/>
            <p:nvPr/>
          </p:nvSpPr>
          <p:spPr>
            <a:xfrm>
              <a:off x="1016000" y="5058357"/>
              <a:ext cx="986432"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60" name="Group 59"/>
          <p:cNvGrpSpPr/>
          <p:nvPr/>
        </p:nvGrpSpPr>
        <p:grpSpPr>
          <a:xfrm>
            <a:off x="4866990" y="4943702"/>
            <a:ext cx="717775" cy="137900"/>
            <a:chOff x="4866990" y="4943702"/>
            <a:chExt cx="717775" cy="137900"/>
          </a:xfrm>
        </p:grpSpPr>
        <p:sp>
          <p:nvSpPr>
            <p:cNvPr id="162" name="Rectangle 161"/>
            <p:cNvSpPr/>
            <p:nvPr/>
          </p:nvSpPr>
          <p:spPr>
            <a:xfrm>
              <a:off x="4866990" y="4943702"/>
              <a:ext cx="717775"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Time Period</a:t>
              </a:r>
            </a:p>
          </p:txBody>
        </p:sp>
        <p:sp>
          <p:nvSpPr>
            <p:cNvPr id="163" name="Rectangle 162"/>
            <p:cNvSpPr/>
            <p:nvPr/>
          </p:nvSpPr>
          <p:spPr>
            <a:xfrm>
              <a:off x="4866990" y="5012652"/>
              <a:ext cx="717775"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74" name="Group 73"/>
          <p:cNvGrpSpPr/>
          <p:nvPr/>
        </p:nvGrpSpPr>
        <p:grpSpPr>
          <a:xfrm>
            <a:off x="4044893" y="5551294"/>
            <a:ext cx="1021343" cy="137900"/>
            <a:chOff x="4044893" y="5551294"/>
            <a:chExt cx="1021343" cy="137900"/>
          </a:xfrm>
        </p:grpSpPr>
        <p:sp>
          <p:nvSpPr>
            <p:cNvPr id="168" name="Rectangle 167"/>
            <p:cNvSpPr/>
            <p:nvPr/>
          </p:nvSpPr>
          <p:spPr>
            <a:xfrm>
              <a:off x="4044893" y="5551294"/>
              <a:ext cx="1021343"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Load Control Event State</a:t>
              </a:r>
            </a:p>
          </p:txBody>
        </p:sp>
        <p:sp>
          <p:nvSpPr>
            <p:cNvPr id="169" name="Rectangle 168"/>
            <p:cNvSpPr/>
            <p:nvPr/>
          </p:nvSpPr>
          <p:spPr>
            <a:xfrm>
              <a:off x="4044893" y="5620244"/>
              <a:ext cx="1021343"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3" name="Group 2"/>
          <p:cNvGrpSpPr/>
          <p:nvPr/>
        </p:nvGrpSpPr>
        <p:grpSpPr>
          <a:xfrm>
            <a:off x="1671715" y="5799302"/>
            <a:ext cx="2881706" cy="137900"/>
            <a:chOff x="1671715" y="5799302"/>
            <a:chExt cx="2881706" cy="137900"/>
          </a:xfrm>
        </p:grpSpPr>
        <p:grpSp>
          <p:nvGrpSpPr>
            <p:cNvPr id="69" name="Group 68"/>
            <p:cNvGrpSpPr/>
            <p:nvPr/>
          </p:nvGrpSpPr>
          <p:grpSpPr>
            <a:xfrm>
              <a:off x="1671715" y="5799302"/>
              <a:ext cx="992146" cy="137900"/>
              <a:chOff x="1671715" y="5799302"/>
              <a:chExt cx="992146" cy="137900"/>
            </a:xfrm>
          </p:grpSpPr>
          <p:sp>
            <p:nvSpPr>
              <p:cNvPr id="156" name="Rectangle 155"/>
              <p:cNvSpPr/>
              <p:nvPr/>
            </p:nvSpPr>
            <p:spPr>
              <a:xfrm>
                <a:off x="1671715" y="5799302"/>
                <a:ext cx="992146"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Load Control State Data</a:t>
                </a:r>
              </a:p>
            </p:txBody>
          </p:sp>
          <p:sp>
            <p:nvSpPr>
              <p:cNvPr id="157" name="Rectangle 156"/>
              <p:cNvSpPr/>
              <p:nvPr/>
            </p:nvSpPr>
            <p:spPr>
              <a:xfrm>
                <a:off x="1671715" y="5868252"/>
                <a:ext cx="992146"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73" name="Group 72"/>
            <p:cNvGrpSpPr/>
            <p:nvPr/>
          </p:nvGrpSpPr>
          <p:grpSpPr>
            <a:xfrm>
              <a:off x="3659929" y="5799302"/>
              <a:ext cx="893492" cy="137900"/>
              <a:chOff x="3659929" y="5811694"/>
              <a:chExt cx="893492" cy="137900"/>
            </a:xfrm>
          </p:grpSpPr>
          <p:sp>
            <p:nvSpPr>
              <p:cNvPr id="171" name="Rectangle 170"/>
              <p:cNvSpPr/>
              <p:nvPr/>
            </p:nvSpPr>
            <p:spPr>
              <a:xfrm>
                <a:off x="3659929" y="5811694"/>
                <a:ext cx="893492"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Event State produce</a:t>
                </a:r>
              </a:p>
            </p:txBody>
          </p:sp>
          <p:sp>
            <p:nvSpPr>
              <p:cNvPr id="172" name="Rectangle 171"/>
              <p:cNvSpPr/>
              <p:nvPr/>
            </p:nvSpPr>
            <p:spPr>
              <a:xfrm>
                <a:off x="3659929" y="5880644"/>
                <a:ext cx="893492"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grpSp>
        <p:nvGrpSpPr>
          <p:cNvPr id="70" name="Group 69"/>
          <p:cNvGrpSpPr/>
          <p:nvPr/>
        </p:nvGrpSpPr>
        <p:grpSpPr>
          <a:xfrm>
            <a:off x="4522793" y="6104091"/>
            <a:ext cx="935401" cy="137900"/>
            <a:chOff x="4522793" y="6015191"/>
            <a:chExt cx="935401" cy="137900"/>
          </a:xfrm>
        </p:grpSpPr>
        <p:sp>
          <p:nvSpPr>
            <p:cNvPr id="174" name="Rectangle 173"/>
            <p:cNvSpPr/>
            <p:nvPr/>
          </p:nvSpPr>
          <p:spPr>
            <a:xfrm>
              <a:off x="4522793" y="6015191"/>
              <a:ext cx="935401"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Event State Consume</a:t>
              </a:r>
            </a:p>
          </p:txBody>
        </p:sp>
        <p:sp>
          <p:nvSpPr>
            <p:cNvPr id="175" name="Rectangle 174"/>
            <p:cNvSpPr/>
            <p:nvPr/>
          </p:nvSpPr>
          <p:spPr>
            <a:xfrm>
              <a:off x="4522793" y="6084141"/>
              <a:ext cx="935401"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sp>
        <p:nvSpPr>
          <p:cNvPr id="189" name="Rectangle 188"/>
          <p:cNvSpPr/>
          <p:nvPr/>
        </p:nvSpPr>
        <p:spPr>
          <a:xfrm>
            <a:off x="5566799" y="5646103"/>
            <a:ext cx="1070948" cy="385603"/>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182880" tIns="9144" rIns="9144" bIns="9144" rtlCol="0" anchor="t"/>
          <a:lstStyle/>
          <a:p>
            <a:r>
              <a:rPr lang="en-US" sz="400" dirty="0">
                <a:solidFill>
                  <a:schemeClr val="tx1"/>
                </a:solidFill>
              </a:rPr>
              <a:t>(“S4ener: Event Accepted”,</a:t>
            </a:r>
            <a:br>
              <a:rPr lang="en-US" sz="400" dirty="0">
                <a:solidFill>
                  <a:schemeClr val="tx1"/>
                </a:solidFill>
              </a:rPr>
            </a:br>
            <a:r>
              <a:rPr lang="en-US" sz="400" dirty="0">
                <a:solidFill>
                  <a:schemeClr val="tx1"/>
                </a:solidFill>
              </a:rPr>
              <a:t>“S4ener : Event Started”,</a:t>
            </a:r>
            <a:br>
              <a:rPr lang="en-US" sz="400" dirty="0">
                <a:solidFill>
                  <a:schemeClr val="tx1"/>
                </a:solidFill>
              </a:rPr>
            </a:br>
            <a:r>
              <a:rPr lang="en-US" sz="400" dirty="0">
                <a:solidFill>
                  <a:schemeClr val="tx1"/>
                </a:solidFill>
              </a:rPr>
              <a:t>“S4ener : Event Stopped”,</a:t>
            </a:r>
            <a:br>
              <a:rPr lang="en-US" sz="400" dirty="0">
                <a:solidFill>
                  <a:schemeClr val="tx1"/>
                </a:solidFill>
              </a:rPr>
            </a:br>
            <a:r>
              <a:rPr lang="en-US" sz="400" dirty="0">
                <a:solidFill>
                  <a:schemeClr val="tx1"/>
                </a:solidFill>
              </a:rPr>
              <a:t>“S4ener : Event Rejected”,</a:t>
            </a:r>
            <a:br>
              <a:rPr lang="en-US" sz="400" dirty="0">
                <a:solidFill>
                  <a:schemeClr val="tx1"/>
                </a:solidFill>
              </a:rPr>
            </a:br>
            <a:r>
              <a:rPr lang="en-US" sz="400" dirty="0">
                <a:solidFill>
                  <a:schemeClr val="tx1"/>
                </a:solidFill>
              </a:rPr>
              <a:t>“S4ener : Event Cancelled”,</a:t>
            </a:r>
            <a:br>
              <a:rPr lang="en-US" sz="400" dirty="0">
                <a:solidFill>
                  <a:schemeClr val="tx1"/>
                </a:solidFill>
              </a:rPr>
            </a:br>
            <a:r>
              <a:rPr lang="en-US" sz="400" dirty="0">
                <a:solidFill>
                  <a:schemeClr val="tx1"/>
                </a:solidFill>
              </a:rPr>
              <a:t>“S4ener : Event Error”,</a:t>
            </a:r>
            <a:br>
              <a:rPr lang="en-US" sz="400" dirty="0">
                <a:solidFill>
                  <a:schemeClr val="tx1"/>
                </a:solidFill>
              </a:rPr>
            </a:br>
            <a:endParaRPr lang="en-US" sz="400" dirty="0">
              <a:solidFill>
                <a:schemeClr val="tx1"/>
              </a:solidFill>
            </a:endParaRPr>
          </a:p>
        </p:txBody>
      </p:sp>
      <p:sp>
        <p:nvSpPr>
          <p:cNvPr id="184" name="Rectangle 183"/>
          <p:cNvSpPr/>
          <p:nvPr/>
        </p:nvSpPr>
        <p:spPr>
          <a:xfrm>
            <a:off x="2714892" y="2698684"/>
            <a:ext cx="1070948" cy="499182"/>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182880" tIns="9144" rIns="9144" bIns="9144" rtlCol="0" anchor="t"/>
          <a:lstStyle/>
          <a:p>
            <a:r>
              <a:rPr lang="en-US" sz="400" dirty="0">
                <a:solidFill>
                  <a:schemeClr val="tx1"/>
                </a:solidFill>
              </a:rPr>
              <a:t>(“S4ener: Running”,</a:t>
            </a:r>
            <a:br>
              <a:rPr lang="en-US" sz="400" dirty="0">
                <a:solidFill>
                  <a:schemeClr val="tx1"/>
                </a:solidFill>
              </a:rPr>
            </a:br>
            <a:r>
              <a:rPr lang="en-US" sz="400" dirty="0">
                <a:solidFill>
                  <a:schemeClr val="tx1"/>
                </a:solidFill>
              </a:rPr>
              <a:t>“S4ener : Paused”,</a:t>
            </a:r>
            <a:br>
              <a:rPr lang="en-US" sz="400" dirty="0">
                <a:solidFill>
                  <a:schemeClr val="tx1"/>
                </a:solidFill>
              </a:rPr>
            </a:br>
            <a:r>
              <a:rPr lang="en-US" sz="400" dirty="0">
                <a:solidFill>
                  <a:schemeClr val="tx1"/>
                </a:solidFill>
              </a:rPr>
              <a:t>“S4ener : Scheduled”,</a:t>
            </a:r>
            <a:br>
              <a:rPr lang="en-US" sz="400" dirty="0">
                <a:solidFill>
                  <a:schemeClr val="tx1"/>
                </a:solidFill>
              </a:rPr>
            </a:br>
            <a:r>
              <a:rPr lang="en-US" sz="400" dirty="0">
                <a:solidFill>
                  <a:schemeClr val="tx1"/>
                </a:solidFill>
              </a:rPr>
              <a:t>“S4ener : Scheduled Paused”,</a:t>
            </a:r>
            <a:br>
              <a:rPr lang="en-US" sz="400" dirty="0">
                <a:solidFill>
                  <a:schemeClr val="tx1"/>
                </a:solidFill>
              </a:rPr>
            </a:br>
            <a:r>
              <a:rPr lang="en-US" sz="400" dirty="0">
                <a:solidFill>
                  <a:schemeClr val="tx1"/>
                </a:solidFill>
              </a:rPr>
              <a:t>“S4ener : Pending”,</a:t>
            </a:r>
            <a:br>
              <a:rPr lang="en-US" sz="400" dirty="0">
                <a:solidFill>
                  <a:schemeClr val="tx1"/>
                </a:solidFill>
              </a:rPr>
            </a:br>
            <a:r>
              <a:rPr lang="en-US" sz="400" dirty="0">
                <a:solidFill>
                  <a:schemeClr val="tx1"/>
                </a:solidFill>
              </a:rPr>
              <a:t>“S4ener : Inactive”,</a:t>
            </a:r>
            <a:br>
              <a:rPr lang="en-US" sz="400" dirty="0">
                <a:solidFill>
                  <a:schemeClr val="tx1"/>
                </a:solidFill>
              </a:rPr>
            </a:br>
            <a:r>
              <a:rPr lang="en-US" sz="400" dirty="0">
                <a:solidFill>
                  <a:schemeClr val="tx1"/>
                </a:solidFill>
              </a:rPr>
              <a:t>“S4ener : Completed”,</a:t>
            </a:r>
            <a:br>
              <a:rPr lang="en-US" sz="400" dirty="0">
                <a:solidFill>
                  <a:schemeClr val="tx1"/>
                </a:solidFill>
              </a:rPr>
            </a:br>
            <a:r>
              <a:rPr lang="en-US" sz="400" dirty="0">
                <a:solidFill>
                  <a:schemeClr val="tx1"/>
                </a:solidFill>
              </a:rPr>
              <a:t>“S4ener : Invalid”,</a:t>
            </a:r>
          </a:p>
          <a:p>
            <a:endParaRPr lang="en-US" sz="400" dirty="0">
              <a:solidFill>
                <a:schemeClr val="tx1"/>
              </a:solidFill>
            </a:endParaRPr>
          </a:p>
        </p:txBody>
      </p:sp>
      <p:cxnSp>
        <p:nvCxnSpPr>
          <p:cNvPr id="170" name="Elbow Connector 35"/>
          <p:cNvCxnSpPr>
            <a:stCxn id="12" idx="2"/>
            <a:endCxn id="37" idx="1"/>
          </p:cNvCxnSpPr>
          <p:nvPr/>
        </p:nvCxnSpPr>
        <p:spPr>
          <a:xfrm rot="16200000" flipH="1">
            <a:off x="6032060" y="3001710"/>
            <a:ext cx="138787" cy="679801"/>
          </a:xfrm>
          <a:prstGeom prst="bentConnector2">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76" name="Elbow Connector 35"/>
          <p:cNvCxnSpPr>
            <a:stCxn id="12" idx="2"/>
            <a:endCxn id="40" idx="1"/>
          </p:cNvCxnSpPr>
          <p:nvPr/>
        </p:nvCxnSpPr>
        <p:spPr>
          <a:xfrm rot="16200000" flipH="1">
            <a:off x="5870012" y="3163759"/>
            <a:ext cx="317533" cy="534450"/>
          </a:xfrm>
          <a:prstGeom prst="bentConnector2">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77" name="Elbow Connector 35"/>
          <p:cNvCxnSpPr>
            <a:stCxn id="12" idx="2"/>
            <a:endCxn id="43" idx="1"/>
          </p:cNvCxnSpPr>
          <p:nvPr/>
        </p:nvCxnSpPr>
        <p:spPr>
          <a:xfrm rot="16200000" flipH="1">
            <a:off x="5837799" y="3195971"/>
            <a:ext cx="496279" cy="648771"/>
          </a:xfrm>
          <a:prstGeom prst="bentConnector2">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80" name="Elbow Connector 35"/>
          <p:cNvCxnSpPr>
            <a:stCxn id="12" idx="2"/>
            <a:endCxn id="46" idx="1"/>
          </p:cNvCxnSpPr>
          <p:nvPr/>
        </p:nvCxnSpPr>
        <p:spPr>
          <a:xfrm rot="16200000" flipH="1">
            <a:off x="5665135" y="3368635"/>
            <a:ext cx="675025" cy="482189"/>
          </a:xfrm>
          <a:prstGeom prst="bentConnector2">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83" name="Elbow Connector 35"/>
          <p:cNvCxnSpPr>
            <a:stCxn id="12" idx="2"/>
            <a:endCxn id="49" idx="1"/>
          </p:cNvCxnSpPr>
          <p:nvPr/>
        </p:nvCxnSpPr>
        <p:spPr>
          <a:xfrm rot="16200000" flipH="1">
            <a:off x="5511252" y="3522518"/>
            <a:ext cx="853771" cy="353169"/>
          </a:xfrm>
          <a:prstGeom prst="bentConnector2">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87" name="Elbow Connector 35"/>
          <p:cNvCxnSpPr>
            <a:stCxn id="104" idx="3"/>
            <a:endCxn id="101" idx="1"/>
          </p:cNvCxnSpPr>
          <p:nvPr/>
        </p:nvCxnSpPr>
        <p:spPr>
          <a:xfrm>
            <a:off x="2810844" y="1158426"/>
            <a:ext cx="1614377" cy="0"/>
          </a:xfrm>
          <a:prstGeom prst="straightConnector1">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91" name="Elbow Connector 35"/>
          <p:cNvCxnSpPr>
            <a:stCxn id="12" idx="2"/>
            <a:endCxn id="71" idx="3"/>
          </p:cNvCxnSpPr>
          <p:nvPr/>
        </p:nvCxnSpPr>
        <p:spPr>
          <a:xfrm rot="5400000">
            <a:off x="5228589" y="3056786"/>
            <a:ext cx="317533" cy="748396"/>
          </a:xfrm>
          <a:prstGeom prst="bentConnector2">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94" name="Elbow Connector 35"/>
          <p:cNvCxnSpPr>
            <a:stCxn id="12" idx="2"/>
            <a:endCxn id="64" idx="3"/>
          </p:cNvCxnSpPr>
          <p:nvPr/>
        </p:nvCxnSpPr>
        <p:spPr>
          <a:xfrm rot="5400000">
            <a:off x="5175963" y="3182906"/>
            <a:ext cx="496279" cy="674902"/>
          </a:xfrm>
          <a:prstGeom prst="bentConnector2">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97" name="Elbow Connector 35"/>
          <p:cNvCxnSpPr>
            <a:stCxn id="12" idx="2"/>
            <a:endCxn id="61" idx="3"/>
          </p:cNvCxnSpPr>
          <p:nvPr/>
        </p:nvCxnSpPr>
        <p:spPr>
          <a:xfrm rot="5400000">
            <a:off x="5233575" y="3419264"/>
            <a:ext cx="675025" cy="380933"/>
          </a:xfrm>
          <a:prstGeom prst="bentConnector2">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01" name="Elbow Connector 35"/>
          <p:cNvCxnSpPr>
            <a:stCxn id="12" idx="2"/>
            <a:endCxn id="58" idx="3"/>
          </p:cNvCxnSpPr>
          <p:nvPr/>
        </p:nvCxnSpPr>
        <p:spPr>
          <a:xfrm rot="5400000">
            <a:off x="5246273" y="3610708"/>
            <a:ext cx="853771" cy="176790"/>
          </a:xfrm>
          <a:prstGeom prst="bentConnector2">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04" name="Elbow Connector 35"/>
          <p:cNvCxnSpPr>
            <a:stCxn id="12" idx="2"/>
          </p:cNvCxnSpPr>
          <p:nvPr/>
        </p:nvCxnSpPr>
        <p:spPr>
          <a:xfrm rot="16200000" flipH="1">
            <a:off x="5375605" y="3658165"/>
            <a:ext cx="1007072" cy="235177"/>
          </a:xfrm>
          <a:prstGeom prst="bentConnector3">
            <a:avLst>
              <a:gd name="adj1" fmla="val 89251"/>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10" name="Elbow Connector 35"/>
          <p:cNvCxnSpPr>
            <a:stCxn id="12" idx="2"/>
          </p:cNvCxnSpPr>
          <p:nvPr/>
        </p:nvCxnSpPr>
        <p:spPr>
          <a:xfrm rot="5400000">
            <a:off x="5209851" y="3718558"/>
            <a:ext cx="998043" cy="105362"/>
          </a:xfrm>
          <a:prstGeom prst="bentConnector3">
            <a:avLst>
              <a:gd name="adj1" fmla="val 90083"/>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73" name="Elbow Connector 35"/>
          <p:cNvCxnSpPr>
            <a:stCxn id="107" idx="3"/>
            <a:endCxn id="94" idx="1"/>
          </p:cNvCxnSpPr>
          <p:nvPr/>
        </p:nvCxnSpPr>
        <p:spPr>
          <a:xfrm>
            <a:off x="2769199" y="1604326"/>
            <a:ext cx="1573955" cy="2548"/>
          </a:xfrm>
          <a:prstGeom prst="straightConnector1">
            <a:avLst/>
          </a:prstGeom>
          <a:ln>
            <a:solidFill>
              <a:schemeClr val="accent5">
                <a:lumMod val="40000"/>
                <a:lumOff val="60000"/>
              </a:schemeClr>
            </a:solidFill>
            <a:prstDash val="solid"/>
            <a:headEnd type="stealth"/>
            <a:tailEnd type="stealth"/>
          </a:ln>
        </p:spPr>
        <p:style>
          <a:lnRef idx="1">
            <a:schemeClr val="accent1"/>
          </a:lnRef>
          <a:fillRef idx="0">
            <a:schemeClr val="accent1"/>
          </a:fillRef>
          <a:effectRef idx="0">
            <a:schemeClr val="accent1"/>
          </a:effectRef>
          <a:fontRef idx="minor">
            <a:schemeClr val="tx1"/>
          </a:fontRef>
        </p:style>
      </p:cxnSp>
      <p:cxnSp>
        <p:nvCxnSpPr>
          <p:cNvPr id="178" name="Elbow Connector 35"/>
          <p:cNvCxnSpPr>
            <a:stCxn id="107" idx="0"/>
            <a:endCxn id="105" idx="2"/>
          </p:cNvCxnSpPr>
          <p:nvPr/>
        </p:nvCxnSpPr>
        <p:spPr>
          <a:xfrm flipV="1">
            <a:off x="2480130" y="1261851"/>
            <a:ext cx="6124" cy="308000"/>
          </a:xfrm>
          <a:prstGeom prst="straightConnector1">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79" name="Elbow Connector 35"/>
          <p:cNvCxnSpPr>
            <a:stCxn id="94" idx="0"/>
            <a:endCxn id="102" idx="2"/>
          </p:cNvCxnSpPr>
          <p:nvPr/>
        </p:nvCxnSpPr>
        <p:spPr>
          <a:xfrm flipV="1">
            <a:off x="4717965" y="1261851"/>
            <a:ext cx="0" cy="310548"/>
          </a:xfrm>
          <a:prstGeom prst="straightConnector1">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81" name="Elbow Connector 35"/>
          <p:cNvCxnSpPr>
            <a:stCxn id="91" idx="0"/>
            <a:endCxn id="95" idx="2"/>
          </p:cNvCxnSpPr>
          <p:nvPr/>
        </p:nvCxnSpPr>
        <p:spPr>
          <a:xfrm flipH="1" flipV="1">
            <a:off x="4717965" y="1710299"/>
            <a:ext cx="259672" cy="279047"/>
          </a:xfrm>
          <a:prstGeom prst="straightConnector1">
            <a:avLst/>
          </a:prstGeom>
          <a:ln>
            <a:solidFill>
              <a:schemeClr val="accent5">
                <a:lumMod val="40000"/>
                <a:lumOff val="60000"/>
              </a:schemeClr>
            </a:solidFill>
            <a:prstDash val="solid"/>
            <a:headEnd type="stealth"/>
            <a:tailEnd type="stealth"/>
          </a:ln>
        </p:spPr>
        <p:style>
          <a:lnRef idx="1">
            <a:schemeClr val="accent1"/>
          </a:lnRef>
          <a:fillRef idx="0">
            <a:schemeClr val="accent1"/>
          </a:fillRef>
          <a:effectRef idx="0">
            <a:schemeClr val="accent1"/>
          </a:effectRef>
          <a:fontRef idx="minor">
            <a:schemeClr val="tx1"/>
          </a:fontRef>
        </p:style>
      </p:cxnSp>
      <p:cxnSp>
        <p:nvCxnSpPr>
          <p:cNvPr id="182" name="Elbow Connector 35"/>
          <p:cNvCxnSpPr>
            <a:stCxn id="11" idx="0"/>
            <a:endCxn id="92" idx="2"/>
          </p:cNvCxnSpPr>
          <p:nvPr/>
        </p:nvCxnSpPr>
        <p:spPr>
          <a:xfrm flipH="1" flipV="1">
            <a:off x="4977637" y="2127246"/>
            <a:ext cx="783916" cy="1007072"/>
          </a:xfrm>
          <a:prstGeom prst="straightConnector1">
            <a:avLst/>
          </a:prstGeom>
          <a:ln>
            <a:solidFill>
              <a:schemeClr val="accent5">
                <a:lumMod val="40000"/>
                <a:lumOff val="60000"/>
              </a:schemeClr>
            </a:solidFill>
            <a:prstDash val="solid"/>
            <a:headEnd type="stealth"/>
            <a:tailEnd type="stealth"/>
          </a:ln>
        </p:spPr>
        <p:style>
          <a:lnRef idx="1">
            <a:schemeClr val="accent1"/>
          </a:lnRef>
          <a:fillRef idx="0">
            <a:schemeClr val="accent1"/>
          </a:fillRef>
          <a:effectRef idx="0">
            <a:schemeClr val="accent1"/>
          </a:effectRef>
          <a:fontRef idx="minor">
            <a:schemeClr val="tx1"/>
          </a:fontRef>
        </p:style>
      </p:cxnSp>
      <p:cxnSp>
        <p:nvCxnSpPr>
          <p:cNvPr id="185" name="Elbow Connector 35"/>
          <p:cNvCxnSpPr>
            <a:stCxn id="12" idx="2"/>
            <a:endCxn id="78" idx="3"/>
          </p:cNvCxnSpPr>
          <p:nvPr/>
        </p:nvCxnSpPr>
        <p:spPr>
          <a:xfrm rot="5400000">
            <a:off x="5268969" y="2918420"/>
            <a:ext cx="138787" cy="846383"/>
          </a:xfrm>
          <a:prstGeom prst="bentConnector2">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92" name="Elbow Connector 35"/>
          <p:cNvCxnSpPr>
            <a:stCxn id="81" idx="0"/>
            <a:endCxn id="85" idx="2"/>
          </p:cNvCxnSpPr>
          <p:nvPr/>
        </p:nvCxnSpPr>
        <p:spPr>
          <a:xfrm flipV="1">
            <a:off x="4564038" y="2704020"/>
            <a:ext cx="0" cy="175305"/>
          </a:xfrm>
          <a:prstGeom prst="straightConnector1">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93" name="Elbow Connector 35"/>
          <p:cNvCxnSpPr>
            <a:stCxn id="113" idx="0"/>
            <a:endCxn id="111" idx="2"/>
          </p:cNvCxnSpPr>
          <p:nvPr/>
        </p:nvCxnSpPr>
        <p:spPr>
          <a:xfrm flipV="1">
            <a:off x="8818417" y="2704020"/>
            <a:ext cx="0" cy="175305"/>
          </a:xfrm>
          <a:prstGeom prst="straightConnector1">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96" name="Elbow Connector 35"/>
          <p:cNvCxnSpPr>
            <a:stCxn id="16" idx="0"/>
            <a:endCxn id="28" idx="2"/>
          </p:cNvCxnSpPr>
          <p:nvPr/>
        </p:nvCxnSpPr>
        <p:spPr>
          <a:xfrm flipV="1">
            <a:off x="6117990" y="2593750"/>
            <a:ext cx="0" cy="114353"/>
          </a:xfrm>
          <a:prstGeom prst="straightConnector1">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99" name="Elbow Connector 35"/>
          <p:cNvCxnSpPr>
            <a:stCxn id="122" idx="0"/>
            <a:endCxn id="120" idx="2"/>
          </p:cNvCxnSpPr>
          <p:nvPr/>
        </p:nvCxnSpPr>
        <p:spPr>
          <a:xfrm flipV="1">
            <a:off x="9806885" y="3017225"/>
            <a:ext cx="0" cy="117093"/>
          </a:xfrm>
          <a:prstGeom prst="straightConnector1">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02" name="Elbow Connector 35"/>
          <p:cNvCxnSpPr>
            <a:stCxn id="117" idx="2"/>
            <a:endCxn id="125" idx="0"/>
          </p:cNvCxnSpPr>
          <p:nvPr/>
        </p:nvCxnSpPr>
        <p:spPr>
          <a:xfrm>
            <a:off x="8348068" y="3272218"/>
            <a:ext cx="814537" cy="249397"/>
          </a:xfrm>
          <a:prstGeom prst="straightConnector1">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05" name="Elbow Connector 35"/>
          <p:cNvCxnSpPr>
            <a:stCxn id="116" idx="3"/>
            <a:endCxn id="122" idx="1"/>
          </p:cNvCxnSpPr>
          <p:nvPr/>
        </p:nvCxnSpPr>
        <p:spPr>
          <a:xfrm>
            <a:off x="8609373" y="3168793"/>
            <a:ext cx="903134" cy="0"/>
          </a:xfrm>
          <a:prstGeom prst="straightConnector1">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08" name="Elbow Connector 35"/>
          <p:cNvCxnSpPr>
            <a:stCxn id="117" idx="2"/>
            <a:endCxn id="128" idx="0"/>
          </p:cNvCxnSpPr>
          <p:nvPr/>
        </p:nvCxnSpPr>
        <p:spPr>
          <a:xfrm>
            <a:off x="8348068" y="3272218"/>
            <a:ext cx="446463" cy="566961"/>
          </a:xfrm>
          <a:prstGeom prst="straightConnector1">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13" name="Elbow Connector 35"/>
          <p:cNvCxnSpPr>
            <a:stCxn id="117" idx="2"/>
            <a:endCxn id="131" idx="0"/>
          </p:cNvCxnSpPr>
          <p:nvPr/>
        </p:nvCxnSpPr>
        <p:spPr>
          <a:xfrm flipH="1">
            <a:off x="7795038" y="3272218"/>
            <a:ext cx="553030" cy="496732"/>
          </a:xfrm>
          <a:prstGeom prst="straightConnector1">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18" name="Elbow Connector 35"/>
          <p:cNvCxnSpPr>
            <a:stCxn id="117" idx="2"/>
          </p:cNvCxnSpPr>
          <p:nvPr/>
        </p:nvCxnSpPr>
        <p:spPr>
          <a:xfrm flipH="1">
            <a:off x="8250283" y="3272218"/>
            <a:ext cx="97785" cy="803033"/>
          </a:xfrm>
          <a:prstGeom prst="straightConnector1">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22" name="Elbow Connector 35"/>
          <p:cNvCxnSpPr>
            <a:stCxn id="117" idx="2"/>
          </p:cNvCxnSpPr>
          <p:nvPr/>
        </p:nvCxnSpPr>
        <p:spPr>
          <a:xfrm>
            <a:off x="8348068" y="3272218"/>
            <a:ext cx="186382" cy="998041"/>
          </a:xfrm>
          <a:prstGeom prst="straightConnector1">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8315811" y="3839179"/>
            <a:ext cx="957440" cy="137900"/>
            <a:chOff x="8315811" y="3839179"/>
            <a:chExt cx="957440" cy="137900"/>
          </a:xfrm>
        </p:grpSpPr>
        <p:sp>
          <p:nvSpPr>
            <p:cNvPr id="128" name="Rectangle 127"/>
            <p:cNvSpPr/>
            <p:nvPr/>
          </p:nvSpPr>
          <p:spPr>
            <a:xfrm>
              <a:off x="8315811" y="3839179"/>
              <a:ext cx="957440" cy="68950"/>
            </a:xfrm>
            <a:prstGeom prst="rect">
              <a:avLst/>
            </a:prstGeom>
            <a:solidFill>
              <a:srgbClr val="FFFFFF"/>
            </a:solidFill>
            <a:ln w="12700" cap="flat" cmpd="sng" algn="ctr">
              <a:solidFill>
                <a:schemeClr val="tx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Duration Uncertainty</a:t>
              </a:r>
            </a:p>
          </p:txBody>
        </p:sp>
        <p:sp>
          <p:nvSpPr>
            <p:cNvPr id="129" name="Rectangle 128"/>
            <p:cNvSpPr/>
            <p:nvPr/>
          </p:nvSpPr>
          <p:spPr>
            <a:xfrm>
              <a:off x="8315811" y="3908129"/>
              <a:ext cx="957440" cy="68950"/>
            </a:xfrm>
            <a:prstGeom prst="rect">
              <a:avLst/>
            </a:prstGeom>
            <a:solidFill>
              <a:srgbClr val="FFFFFF"/>
            </a:solidFill>
            <a:ln w="12700" cap="flat" cmpd="sng" algn="ctr">
              <a:solidFill>
                <a:schemeClr val="tx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cxnSp>
        <p:nvCxnSpPr>
          <p:cNvPr id="226" name="Elbow Connector 35"/>
          <p:cNvCxnSpPr>
            <a:stCxn id="116" idx="1"/>
            <a:endCxn id="11" idx="3"/>
          </p:cNvCxnSpPr>
          <p:nvPr/>
        </p:nvCxnSpPr>
        <p:spPr>
          <a:xfrm flipH="1">
            <a:off x="6198831" y="3168793"/>
            <a:ext cx="1887931" cy="0"/>
          </a:xfrm>
          <a:prstGeom prst="straightConnector1">
            <a:avLst/>
          </a:prstGeom>
          <a:ln>
            <a:solidFill>
              <a:schemeClr val="accent5">
                <a:lumMod val="40000"/>
                <a:lumOff val="60000"/>
              </a:schemeClr>
            </a:solidFill>
            <a:prstDash val="solid"/>
            <a:headEnd type="stealth"/>
            <a:tailEnd type="stealth"/>
          </a:ln>
        </p:spPr>
        <p:style>
          <a:lnRef idx="1">
            <a:schemeClr val="accent1"/>
          </a:lnRef>
          <a:fillRef idx="0">
            <a:schemeClr val="accent1"/>
          </a:fillRef>
          <a:effectRef idx="0">
            <a:schemeClr val="accent1"/>
          </a:effectRef>
          <a:fontRef idx="minor">
            <a:schemeClr val="tx1"/>
          </a:fontRef>
        </p:style>
      </p:cxnSp>
      <p:cxnSp>
        <p:nvCxnSpPr>
          <p:cNvPr id="229" name="Elbow Connector 35"/>
          <p:cNvCxnSpPr>
            <a:stCxn id="116" idx="1"/>
            <a:endCxn id="40" idx="3"/>
          </p:cNvCxnSpPr>
          <p:nvPr/>
        </p:nvCxnSpPr>
        <p:spPr>
          <a:xfrm flipH="1">
            <a:off x="7150145" y="3168793"/>
            <a:ext cx="936617" cy="420958"/>
          </a:xfrm>
          <a:prstGeom prst="straightConnector1">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32" name="Elbow Connector 35"/>
          <p:cNvCxnSpPr>
            <a:stCxn id="116" idx="1"/>
            <a:endCxn id="43" idx="3"/>
          </p:cNvCxnSpPr>
          <p:nvPr/>
        </p:nvCxnSpPr>
        <p:spPr>
          <a:xfrm flipH="1">
            <a:off x="7045624" y="3168793"/>
            <a:ext cx="1041138" cy="599704"/>
          </a:xfrm>
          <a:prstGeom prst="straightConnector1">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35" name="Elbow Connector 35"/>
          <p:cNvCxnSpPr>
            <a:stCxn id="116" idx="1"/>
            <a:endCxn id="46" idx="3"/>
          </p:cNvCxnSpPr>
          <p:nvPr/>
        </p:nvCxnSpPr>
        <p:spPr>
          <a:xfrm flipH="1">
            <a:off x="7045624" y="3168793"/>
            <a:ext cx="1041138" cy="778450"/>
          </a:xfrm>
          <a:prstGeom prst="straightConnector1">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grpSp>
        <p:nvGrpSpPr>
          <p:cNvPr id="18" name="Group 17"/>
          <p:cNvGrpSpPr/>
          <p:nvPr/>
        </p:nvGrpSpPr>
        <p:grpSpPr>
          <a:xfrm>
            <a:off x="7355514" y="3768950"/>
            <a:ext cx="879048" cy="137900"/>
            <a:chOff x="7355514" y="3768950"/>
            <a:chExt cx="879048" cy="137900"/>
          </a:xfrm>
        </p:grpSpPr>
        <p:sp>
          <p:nvSpPr>
            <p:cNvPr id="131" name="Rectangle 130"/>
            <p:cNvSpPr/>
            <p:nvPr/>
          </p:nvSpPr>
          <p:spPr>
            <a:xfrm>
              <a:off x="7355514" y="3768950"/>
              <a:ext cx="879048" cy="68950"/>
            </a:xfrm>
            <a:prstGeom prst="rect">
              <a:avLst/>
            </a:prstGeom>
            <a:solidFill>
              <a:srgbClr val="FFFFFF"/>
            </a:solidFill>
            <a:ln w="12700" cap="flat" cmpd="sng" algn="ctr">
              <a:solidFill>
                <a:schemeClr val="tx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Default Duration</a:t>
              </a:r>
            </a:p>
          </p:txBody>
        </p:sp>
        <p:sp>
          <p:nvSpPr>
            <p:cNvPr id="132" name="Rectangle 131"/>
            <p:cNvSpPr/>
            <p:nvPr/>
          </p:nvSpPr>
          <p:spPr>
            <a:xfrm>
              <a:off x="7355514" y="3837900"/>
              <a:ext cx="879048" cy="68950"/>
            </a:xfrm>
            <a:prstGeom prst="rect">
              <a:avLst/>
            </a:prstGeom>
            <a:solidFill>
              <a:srgbClr val="FFFFFF"/>
            </a:solidFill>
            <a:ln w="12700" cap="flat" cmpd="sng" algn="ctr">
              <a:solidFill>
                <a:schemeClr val="tx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106" name="Group 105"/>
          <p:cNvGrpSpPr/>
          <p:nvPr/>
        </p:nvGrpSpPr>
        <p:grpSpPr>
          <a:xfrm>
            <a:off x="4553421" y="4091514"/>
            <a:ext cx="3896719" cy="137900"/>
            <a:chOff x="4553421" y="4084846"/>
            <a:chExt cx="3896719" cy="137900"/>
          </a:xfrm>
        </p:grpSpPr>
        <p:grpSp>
          <p:nvGrpSpPr>
            <p:cNvPr id="75" name="Group 74"/>
            <p:cNvGrpSpPr/>
            <p:nvPr/>
          </p:nvGrpSpPr>
          <p:grpSpPr>
            <a:xfrm>
              <a:off x="6114722" y="4084846"/>
              <a:ext cx="894972" cy="137900"/>
              <a:chOff x="6114722" y="4062946"/>
              <a:chExt cx="894972" cy="137900"/>
            </a:xfrm>
          </p:grpSpPr>
          <p:sp>
            <p:nvSpPr>
              <p:cNvPr id="49" name="Rectangle 48"/>
              <p:cNvSpPr/>
              <p:nvPr/>
            </p:nvSpPr>
            <p:spPr>
              <a:xfrm>
                <a:off x="6114722" y="4062946"/>
                <a:ext cx="894972" cy="68950"/>
              </a:xfrm>
              <a:prstGeom prst="rect">
                <a:avLst/>
              </a:prstGeom>
              <a:solidFill>
                <a:srgbClr val="FFFFFF"/>
              </a:solidFill>
              <a:ln w="12700" cap="flat" cmpd="sng" algn="ctr">
                <a:solidFill>
                  <a:schemeClr val="tx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Pause Duration Max</a:t>
                </a:r>
              </a:p>
            </p:txBody>
          </p:sp>
          <p:sp>
            <p:nvSpPr>
              <p:cNvPr id="50" name="Rectangle 49"/>
              <p:cNvSpPr/>
              <p:nvPr/>
            </p:nvSpPr>
            <p:spPr>
              <a:xfrm>
                <a:off x="6114722" y="4131896"/>
                <a:ext cx="894972" cy="68950"/>
              </a:xfrm>
              <a:prstGeom prst="rect">
                <a:avLst/>
              </a:prstGeom>
              <a:solidFill>
                <a:srgbClr val="FFFFFF"/>
              </a:solidFill>
              <a:ln w="12700" cap="flat" cmpd="sng" algn="ctr">
                <a:solidFill>
                  <a:schemeClr val="tx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54" name="Group 53"/>
            <p:cNvGrpSpPr/>
            <p:nvPr/>
          </p:nvGrpSpPr>
          <p:grpSpPr>
            <a:xfrm>
              <a:off x="4553421" y="4084846"/>
              <a:ext cx="1031342" cy="137900"/>
              <a:chOff x="4553421" y="4071227"/>
              <a:chExt cx="1031342" cy="137900"/>
            </a:xfrm>
          </p:grpSpPr>
          <p:sp>
            <p:nvSpPr>
              <p:cNvPr id="58" name="Rectangle 57"/>
              <p:cNvSpPr/>
              <p:nvPr/>
            </p:nvSpPr>
            <p:spPr>
              <a:xfrm>
                <a:off x="4553421" y="4071227"/>
                <a:ext cx="1031342" cy="68950"/>
              </a:xfrm>
              <a:prstGeom prst="rect">
                <a:avLst/>
              </a:prstGeom>
              <a:solidFill>
                <a:srgbClr val="FFFFFF"/>
              </a:solidFill>
              <a:ln w="12700" cap="flat" cmpd="sng" algn="ctr">
                <a:solidFill>
                  <a:schemeClr val="tx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Active Duration Sum Max</a:t>
                </a:r>
              </a:p>
            </p:txBody>
          </p:sp>
          <p:sp>
            <p:nvSpPr>
              <p:cNvPr id="59" name="Rectangle 58"/>
              <p:cNvSpPr/>
              <p:nvPr/>
            </p:nvSpPr>
            <p:spPr>
              <a:xfrm>
                <a:off x="4553421" y="4140177"/>
                <a:ext cx="1031342" cy="68950"/>
              </a:xfrm>
              <a:prstGeom prst="rect">
                <a:avLst/>
              </a:prstGeom>
              <a:solidFill>
                <a:srgbClr val="FFFFFF"/>
              </a:solidFill>
              <a:ln w="12700" cap="flat" cmpd="sng" algn="ctr">
                <a:solidFill>
                  <a:schemeClr val="tx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13" name="Group 12"/>
            <p:cNvGrpSpPr/>
            <p:nvPr/>
          </p:nvGrpSpPr>
          <p:grpSpPr>
            <a:xfrm>
              <a:off x="7687862" y="4084846"/>
              <a:ext cx="762278" cy="137900"/>
              <a:chOff x="7687862" y="4056271"/>
              <a:chExt cx="762278" cy="137900"/>
            </a:xfrm>
          </p:grpSpPr>
          <p:sp>
            <p:nvSpPr>
              <p:cNvPr id="134" name="Rectangle 133"/>
              <p:cNvSpPr/>
              <p:nvPr/>
            </p:nvSpPr>
            <p:spPr>
              <a:xfrm>
                <a:off x="7687862" y="4056271"/>
                <a:ext cx="762278" cy="68950"/>
              </a:xfrm>
              <a:prstGeom prst="rect">
                <a:avLst/>
              </a:prstGeom>
              <a:solidFill>
                <a:srgbClr val="FFFFFF"/>
              </a:solidFill>
              <a:ln w="12700" cap="flat" cmpd="sng" algn="ctr">
                <a:solidFill>
                  <a:schemeClr val="tx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Min Duration</a:t>
                </a:r>
              </a:p>
            </p:txBody>
          </p:sp>
          <p:sp>
            <p:nvSpPr>
              <p:cNvPr id="135" name="Rectangle 134"/>
              <p:cNvSpPr/>
              <p:nvPr/>
            </p:nvSpPr>
            <p:spPr>
              <a:xfrm>
                <a:off x="7687862" y="4125221"/>
                <a:ext cx="762278" cy="68950"/>
              </a:xfrm>
              <a:prstGeom prst="rect">
                <a:avLst/>
              </a:prstGeom>
              <a:solidFill>
                <a:srgbClr val="FFFFFF"/>
              </a:solidFill>
              <a:ln w="12700" cap="flat" cmpd="sng" algn="ctr">
                <a:solidFill>
                  <a:schemeClr val="tx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cxnSp>
        <p:nvCxnSpPr>
          <p:cNvPr id="247" name="Elbow Connector 35"/>
          <p:cNvCxnSpPr>
            <a:stCxn id="11" idx="0"/>
            <a:endCxn id="82" idx="3"/>
          </p:cNvCxnSpPr>
          <p:nvPr/>
        </p:nvCxnSpPr>
        <p:spPr>
          <a:xfrm flipH="1" flipV="1">
            <a:off x="5045005" y="2982750"/>
            <a:ext cx="716548" cy="151568"/>
          </a:xfrm>
          <a:prstGeom prst="straightConnector1">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51" name="Elbow Connector 35"/>
          <p:cNvCxnSpPr>
            <a:stCxn id="11" idx="0"/>
            <a:endCxn id="34" idx="1"/>
          </p:cNvCxnSpPr>
          <p:nvPr/>
        </p:nvCxnSpPr>
        <p:spPr>
          <a:xfrm flipV="1">
            <a:off x="5761553" y="2913800"/>
            <a:ext cx="1163216" cy="220518"/>
          </a:xfrm>
          <a:prstGeom prst="straightConnector1">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57" name="Elbow Connector 35"/>
          <p:cNvCxnSpPr>
            <a:stCxn id="82" idx="1"/>
            <a:endCxn id="184" idx="3"/>
          </p:cNvCxnSpPr>
          <p:nvPr/>
        </p:nvCxnSpPr>
        <p:spPr>
          <a:xfrm flipH="1" flipV="1">
            <a:off x="3785840" y="2948275"/>
            <a:ext cx="297231" cy="0"/>
          </a:xfrm>
          <a:prstGeom prst="straightConnector1">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60" name="Elbow Connector 35"/>
          <p:cNvCxnSpPr>
            <a:stCxn id="162" idx="0"/>
            <a:endCxn id="160" idx="2"/>
          </p:cNvCxnSpPr>
          <p:nvPr/>
        </p:nvCxnSpPr>
        <p:spPr>
          <a:xfrm flipH="1" flipV="1">
            <a:off x="5202195" y="4831414"/>
            <a:ext cx="0" cy="112288"/>
          </a:xfrm>
          <a:prstGeom prst="straightConnector1">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63" name="Elbow Connector 35"/>
          <p:cNvCxnSpPr>
            <a:stCxn id="151" idx="2"/>
            <a:endCxn id="190" idx="0"/>
          </p:cNvCxnSpPr>
          <p:nvPr/>
        </p:nvCxnSpPr>
        <p:spPr>
          <a:xfrm flipH="1">
            <a:off x="1501578" y="5081602"/>
            <a:ext cx="229213" cy="195362"/>
          </a:xfrm>
          <a:prstGeom prst="straightConnector1">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72" name="Elbow Connector 35"/>
          <p:cNvCxnSpPr>
            <a:stCxn id="150" idx="0"/>
            <a:endCxn id="148" idx="2"/>
          </p:cNvCxnSpPr>
          <p:nvPr/>
        </p:nvCxnSpPr>
        <p:spPr>
          <a:xfrm rot="5400000" flipH="1" flipV="1">
            <a:off x="1849662" y="4712543"/>
            <a:ext cx="112288" cy="350031"/>
          </a:xfrm>
          <a:prstGeom prst="bentConnector3">
            <a:avLst>
              <a:gd name="adj1" fmla="val 50000"/>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76" name="Elbow Connector 35"/>
          <p:cNvCxnSpPr>
            <a:stCxn id="153" idx="0"/>
            <a:endCxn id="148" idx="2"/>
          </p:cNvCxnSpPr>
          <p:nvPr/>
        </p:nvCxnSpPr>
        <p:spPr>
          <a:xfrm rot="16200000" flipV="1">
            <a:off x="2233027" y="4679209"/>
            <a:ext cx="448478" cy="752887"/>
          </a:xfrm>
          <a:prstGeom prst="bentConnector3">
            <a:avLst>
              <a:gd name="adj1" fmla="val 85398"/>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80" name="Elbow Connector 35"/>
          <p:cNvCxnSpPr>
            <a:stCxn id="153" idx="1"/>
            <a:endCxn id="190" idx="3"/>
          </p:cNvCxnSpPr>
          <p:nvPr/>
        </p:nvCxnSpPr>
        <p:spPr>
          <a:xfrm rot="10800000" flipV="1">
            <a:off x="2022083" y="5314366"/>
            <a:ext cx="287383" cy="155399"/>
          </a:xfrm>
          <a:prstGeom prst="bentConnector3">
            <a:avLst>
              <a:gd name="adj1" fmla="val 50000"/>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83" name="Elbow Connector 35"/>
          <p:cNvCxnSpPr>
            <a:stCxn id="145" idx="2"/>
            <a:endCxn id="151" idx="3"/>
          </p:cNvCxnSpPr>
          <p:nvPr/>
        </p:nvCxnSpPr>
        <p:spPr>
          <a:xfrm flipH="1">
            <a:off x="2224007" y="4831414"/>
            <a:ext cx="1409129" cy="215713"/>
          </a:xfrm>
          <a:prstGeom prst="straightConnector1">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90" name="Elbow Connector 35"/>
          <p:cNvCxnSpPr>
            <a:stCxn id="156" idx="0"/>
          </p:cNvCxnSpPr>
          <p:nvPr/>
        </p:nvCxnSpPr>
        <p:spPr>
          <a:xfrm flipH="1" flipV="1">
            <a:off x="1791201" y="5105665"/>
            <a:ext cx="376587" cy="693637"/>
          </a:xfrm>
          <a:prstGeom prst="straightConnector1">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sp>
        <p:nvSpPr>
          <p:cNvPr id="190" name="Rectangle 189"/>
          <p:cNvSpPr/>
          <p:nvPr/>
        </p:nvSpPr>
        <p:spPr>
          <a:xfrm>
            <a:off x="981074" y="5276964"/>
            <a:ext cx="1041008" cy="385603"/>
          </a:xfrm>
          <a:prstGeom prst="rect">
            <a:avLst/>
          </a:prstGeom>
          <a:solidFill>
            <a:srgbClr val="FFFFFF"/>
          </a:solidFill>
          <a:ln w="12700" cap="flat" cmpd="sng" algn="ctr">
            <a:solidFill>
              <a:schemeClr val="tx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82880" tIns="9144" rIns="9144" bIns="9144" rtlCol="0" anchor="t"/>
          <a:lstStyle/>
          <a:p>
            <a:r>
              <a:rPr lang="en-US" sz="400" dirty="0">
                <a:solidFill>
                  <a:schemeClr val="tx1"/>
                </a:solidFill>
              </a:rPr>
              <a:t>(“S4ener: Pause”,</a:t>
            </a:r>
            <a:br>
              <a:rPr lang="en-US" sz="400" dirty="0">
                <a:solidFill>
                  <a:schemeClr val="tx1"/>
                </a:solidFill>
              </a:rPr>
            </a:br>
            <a:r>
              <a:rPr lang="en-US" sz="400" dirty="0">
                <a:solidFill>
                  <a:schemeClr val="tx1"/>
                </a:solidFill>
              </a:rPr>
              <a:t>“S4ener : Resume”,</a:t>
            </a:r>
            <a:br>
              <a:rPr lang="en-US" sz="400" dirty="0">
                <a:solidFill>
                  <a:schemeClr val="tx1"/>
                </a:solidFill>
              </a:rPr>
            </a:br>
            <a:r>
              <a:rPr lang="en-US" sz="400" dirty="0">
                <a:solidFill>
                  <a:schemeClr val="tx1"/>
                </a:solidFill>
              </a:rPr>
              <a:t>“S4ener : Reduce”,</a:t>
            </a:r>
            <a:br>
              <a:rPr lang="en-US" sz="400" dirty="0">
                <a:solidFill>
                  <a:schemeClr val="tx1"/>
                </a:solidFill>
              </a:rPr>
            </a:br>
            <a:r>
              <a:rPr lang="en-US" sz="400" dirty="0">
                <a:solidFill>
                  <a:schemeClr val="tx1"/>
                </a:solidFill>
              </a:rPr>
              <a:t>“S4ener : Increase”,</a:t>
            </a:r>
            <a:br>
              <a:rPr lang="en-US" sz="400" dirty="0">
                <a:solidFill>
                  <a:schemeClr val="tx1"/>
                </a:solidFill>
              </a:rPr>
            </a:br>
            <a:r>
              <a:rPr lang="en-US" sz="400" dirty="0">
                <a:solidFill>
                  <a:schemeClr val="tx1"/>
                </a:solidFill>
              </a:rPr>
              <a:t>“S4ener : Emergency”,</a:t>
            </a:r>
            <a:br>
              <a:rPr lang="en-US" sz="400" dirty="0">
                <a:solidFill>
                  <a:schemeClr val="tx1"/>
                </a:solidFill>
              </a:rPr>
            </a:br>
            <a:r>
              <a:rPr lang="en-US" sz="400" dirty="0">
                <a:solidFill>
                  <a:schemeClr val="tx1"/>
                </a:solidFill>
              </a:rPr>
              <a:t>“S4ener : Normal”,</a:t>
            </a:r>
            <a:br>
              <a:rPr lang="en-US" sz="400" dirty="0">
                <a:solidFill>
                  <a:schemeClr val="tx1"/>
                </a:solidFill>
              </a:rPr>
            </a:br>
            <a:endParaRPr lang="en-US" sz="400" dirty="0">
              <a:solidFill>
                <a:schemeClr val="tx1"/>
              </a:solidFill>
            </a:endParaRPr>
          </a:p>
        </p:txBody>
      </p:sp>
      <p:cxnSp>
        <p:nvCxnSpPr>
          <p:cNvPr id="293" name="Elbow Connector 35"/>
          <p:cNvCxnSpPr>
            <a:stCxn id="145" idx="2"/>
            <a:endCxn id="156" idx="0"/>
          </p:cNvCxnSpPr>
          <p:nvPr/>
        </p:nvCxnSpPr>
        <p:spPr>
          <a:xfrm flipH="1">
            <a:off x="2167788" y="4831414"/>
            <a:ext cx="1465348" cy="967888"/>
          </a:xfrm>
          <a:prstGeom prst="straightConnector1">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grpSp>
        <p:nvGrpSpPr>
          <p:cNvPr id="87" name="Group 86"/>
          <p:cNvGrpSpPr/>
          <p:nvPr/>
        </p:nvGrpSpPr>
        <p:grpSpPr>
          <a:xfrm>
            <a:off x="2309465" y="5279892"/>
            <a:ext cx="2511797" cy="137900"/>
            <a:chOff x="2309465" y="5279892"/>
            <a:chExt cx="2511797" cy="137900"/>
          </a:xfrm>
        </p:grpSpPr>
        <p:grpSp>
          <p:nvGrpSpPr>
            <p:cNvPr id="188" name="Group 187"/>
            <p:cNvGrpSpPr/>
            <p:nvPr/>
          </p:nvGrpSpPr>
          <p:grpSpPr>
            <a:xfrm>
              <a:off x="2309465" y="5279892"/>
              <a:ext cx="1048487" cy="137900"/>
              <a:chOff x="2628896" y="5279892"/>
              <a:chExt cx="917579" cy="137900"/>
            </a:xfrm>
          </p:grpSpPr>
          <p:sp>
            <p:nvSpPr>
              <p:cNvPr id="153" name="Rectangle 152"/>
              <p:cNvSpPr/>
              <p:nvPr/>
            </p:nvSpPr>
            <p:spPr>
              <a:xfrm>
                <a:off x="2628896" y="5279892"/>
                <a:ext cx="917579"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Event Action Produce</a:t>
                </a:r>
              </a:p>
            </p:txBody>
          </p:sp>
          <p:sp>
            <p:nvSpPr>
              <p:cNvPr id="154" name="Rectangle 153"/>
              <p:cNvSpPr/>
              <p:nvPr/>
            </p:nvSpPr>
            <p:spPr>
              <a:xfrm>
                <a:off x="2628896" y="5348842"/>
                <a:ext cx="917579" cy="68950"/>
              </a:xfrm>
              <a:prstGeom prst="rect">
                <a:avLst/>
              </a:prstGeom>
              <a:solidFill>
                <a:srgbClr val="FFFFFF"/>
              </a:solidFill>
              <a:ln w="12700" cap="flat" cmpd="sng" algn="ctr">
                <a:solidFill>
                  <a:schemeClr val="tx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66" name="Group 65"/>
            <p:cNvGrpSpPr/>
            <p:nvPr/>
          </p:nvGrpSpPr>
          <p:grpSpPr>
            <a:xfrm>
              <a:off x="4292934" y="5279892"/>
              <a:ext cx="528328" cy="137900"/>
              <a:chOff x="4292934" y="5295312"/>
              <a:chExt cx="528328" cy="137900"/>
            </a:xfrm>
          </p:grpSpPr>
          <p:sp>
            <p:nvSpPr>
              <p:cNvPr id="165" name="Rectangle 164"/>
              <p:cNvSpPr/>
              <p:nvPr/>
            </p:nvSpPr>
            <p:spPr>
              <a:xfrm>
                <a:off x="4292934" y="5295312"/>
                <a:ext cx="528328"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State</a:t>
                </a:r>
              </a:p>
            </p:txBody>
          </p:sp>
          <p:sp>
            <p:nvSpPr>
              <p:cNvPr id="166" name="Rectangle 165"/>
              <p:cNvSpPr/>
              <p:nvPr/>
            </p:nvSpPr>
            <p:spPr>
              <a:xfrm>
                <a:off x="4292934" y="5364262"/>
                <a:ext cx="528328"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cxnSp>
        <p:nvCxnSpPr>
          <p:cNvPr id="296" name="Elbow Connector 35"/>
          <p:cNvCxnSpPr>
            <a:endCxn id="162" idx="1"/>
          </p:cNvCxnSpPr>
          <p:nvPr/>
        </p:nvCxnSpPr>
        <p:spPr>
          <a:xfrm>
            <a:off x="3922758" y="4838002"/>
            <a:ext cx="944232" cy="140175"/>
          </a:xfrm>
          <a:prstGeom prst="straightConnector1">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cxnSp>
        <p:nvCxnSpPr>
          <p:cNvPr id="302" name="Elbow Connector 35"/>
          <p:cNvCxnSpPr>
            <a:stCxn id="168" idx="0"/>
            <a:endCxn id="166" idx="2"/>
          </p:cNvCxnSpPr>
          <p:nvPr/>
        </p:nvCxnSpPr>
        <p:spPr>
          <a:xfrm flipV="1">
            <a:off x="4555565" y="5417792"/>
            <a:ext cx="1533" cy="133502"/>
          </a:xfrm>
          <a:prstGeom prst="straightConnector1">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306" name="Elbow Connector 35"/>
          <p:cNvCxnSpPr>
            <a:stCxn id="171" idx="0"/>
            <a:endCxn id="169" idx="2"/>
          </p:cNvCxnSpPr>
          <p:nvPr/>
        </p:nvCxnSpPr>
        <p:spPr>
          <a:xfrm rot="5400000" flipH="1" flipV="1">
            <a:off x="4276066" y="5519803"/>
            <a:ext cx="110108" cy="448890"/>
          </a:xfrm>
          <a:prstGeom prst="bentConnector3">
            <a:avLst>
              <a:gd name="adj1" fmla="val 50000"/>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309" name="Elbow Connector 35"/>
          <p:cNvCxnSpPr>
            <a:stCxn id="174" idx="0"/>
            <a:endCxn id="169" idx="2"/>
          </p:cNvCxnSpPr>
          <p:nvPr/>
        </p:nvCxnSpPr>
        <p:spPr>
          <a:xfrm flipH="1" flipV="1">
            <a:off x="4555565" y="5689194"/>
            <a:ext cx="434929" cy="414897"/>
          </a:xfrm>
          <a:prstGeom prst="straightConnector1">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313" name="Elbow Connector 35"/>
          <p:cNvCxnSpPr>
            <a:stCxn id="171" idx="3"/>
            <a:endCxn id="189" idx="1"/>
          </p:cNvCxnSpPr>
          <p:nvPr/>
        </p:nvCxnSpPr>
        <p:spPr>
          <a:xfrm>
            <a:off x="4553421" y="5833777"/>
            <a:ext cx="1013378" cy="5128"/>
          </a:xfrm>
          <a:prstGeom prst="straightConnector1">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cxnSp>
        <p:nvCxnSpPr>
          <p:cNvPr id="318" name="Elbow Connector 35"/>
          <p:cNvCxnSpPr>
            <a:stCxn id="174" idx="3"/>
            <a:endCxn id="189" idx="2"/>
          </p:cNvCxnSpPr>
          <p:nvPr/>
        </p:nvCxnSpPr>
        <p:spPr>
          <a:xfrm flipV="1">
            <a:off x="5458194" y="6031706"/>
            <a:ext cx="644079" cy="106860"/>
          </a:xfrm>
          <a:prstGeom prst="bentConnector2">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cxnSp>
        <p:nvCxnSpPr>
          <p:cNvPr id="326" name="Elbow Connector 35"/>
          <p:cNvCxnSpPr>
            <a:stCxn id="156" idx="3"/>
            <a:endCxn id="171" idx="1"/>
          </p:cNvCxnSpPr>
          <p:nvPr/>
        </p:nvCxnSpPr>
        <p:spPr>
          <a:xfrm>
            <a:off x="2663861" y="5833777"/>
            <a:ext cx="996068" cy="0"/>
          </a:xfrm>
          <a:prstGeom prst="straightConnector1">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cxnSp>
        <p:nvCxnSpPr>
          <p:cNvPr id="329" name="Elbow Connector 35"/>
          <p:cNvCxnSpPr>
            <a:stCxn id="156" idx="3"/>
            <a:endCxn id="174" idx="1"/>
          </p:cNvCxnSpPr>
          <p:nvPr/>
        </p:nvCxnSpPr>
        <p:spPr>
          <a:xfrm>
            <a:off x="2663861" y="5833777"/>
            <a:ext cx="1858932" cy="304789"/>
          </a:xfrm>
          <a:prstGeom prst="bentConnector3">
            <a:avLst>
              <a:gd name="adj1" fmla="val 16695"/>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sp>
        <p:nvSpPr>
          <p:cNvPr id="338" name="Rectangle 337"/>
          <p:cNvSpPr/>
          <p:nvPr/>
        </p:nvSpPr>
        <p:spPr>
          <a:xfrm>
            <a:off x="3816423" y="1201252"/>
            <a:ext cx="517770" cy="6155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r>
              <a:rPr lang="en-US" sz="400" dirty="0">
                <a:solidFill>
                  <a:schemeClr val="tx1"/>
                </a:solidFill>
              </a:rPr>
              <a:t>Serf: Has profile</a:t>
            </a:r>
          </a:p>
        </p:txBody>
      </p:sp>
      <p:sp>
        <p:nvSpPr>
          <p:cNvPr id="339" name="Rectangle 338"/>
          <p:cNvSpPr/>
          <p:nvPr/>
        </p:nvSpPr>
        <p:spPr>
          <a:xfrm>
            <a:off x="3816423" y="1636552"/>
            <a:ext cx="517770" cy="6155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r>
              <a:rPr lang="en-US" sz="400" dirty="0">
                <a:solidFill>
                  <a:schemeClr val="tx1"/>
                </a:solidFill>
              </a:rPr>
              <a:t>S4ener: Exposes</a:t>
            </a:r>
          </a:p>
        </p:txBody>
      </p:sp>
      <p:sp>
        <p:nvSpPr>
          <p:cNvPr id="340" name="Rectangle 339"/>
          <p:cNvSpPr/>
          <p:nvPr/>
        </p:nvSpPr>
        <p:spPr>
          <a:xfrm>
            <a:off x="2779521" y="1636552"/>
            <a:ext cx="640080" cy="6155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r>
              <a:rPr lang="en-US" sz="400" dirty="0">
                <a:solidFill>
                  <a:schemeClr val="tx1"/>
                </a:solidFill>
              </a:rPr>
              <a:t>S4ener: Belongs to</a:t>
            </a:r>
          </a:p>
        </p:txBody>
      </p:sp>
      <p:sp>
        <p:nvSpPr>
          <p:cNvPr id="341" name="Rectangle 340"/>
          <p:cNvSpPr/>
          <p:nvPr/>
        </p:nvSpPr>
        <p:spPr>
          <a:xfrm>
            <a:off x="4823050" y="1732335"/>
            <a:ext cx="640080" cy="6155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r>
              <a:rPr lang="en-US" sz="400" dirty="0">
                <a:solidFill>
                  <a:schemeClr val="tx1"/>
                </a:solidFill>
              </a:rPr>
              <a:t>S4ener: Belongs to</a:t>
            </a:r>
          </a:p>
        </p:txBody>
      </p:sp>
      <p:sp>
        <p:nvSpPr>
          <p:cNvPr id="342" name="Rectangle 341"/>
          <p:cNvSpPr/>
          <p:nvPr/>
        </p:nvSpPr>
        <p:spPr>
          <a:xfrm>
            <a:off x="4927825" y="1853272"/>
            <a:ext cx="640080" cy="6155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r>
              <a:rPr lang="en-US" sz="400" dirty="0">
                <a:solidFill>
                  <a:schemeClr val="tx1"/>
                </a:solidFill>
              </a:rPr>
              <a:t>Serf: Consist of</a:t>
            </a:r>
          </a:p>
        </p:txBody>
      </p:sp>
      <p:sp>
        <p:nvSpPr>
          <p:cNvPr id="343" name="Rectangle 342"/>
          <p:cNvSpPr/>
          <p:nvPr/>
        </p:nvSpPr>
        <p:spPr>
          <a:xfrm>
            <a:off x="2550318" y="1780387"/>
            <a:ext cx="640080" cy="6155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r>
              <a:rPr lang="en-US" sz="400" dirty="0">
                <a:solidFill>
                  <a:schemeClr val="tx1"/>
                </a:solidFill>
              </a:rPr>
              <a:t>S4ener: Has device</a:t>
            </a:r>
          </a:p>
        </p:txBody>
      </p:sp>
      <p:cxnSp>
        <p:nvCxnSpPr>
          <p:cNvPr id="344" name="Elbow Connector 35"/>
          <p:cNvCxnSpPr>
            <a:stCxn id="147" idx="0"/>
            <a:endCxn id="108" idx="2"/>
          </p:cNvCxnSpPr>
          <p:nvPr/>
        </p:nvCxnSpPr>
        <p:spPr>
          <a:xfrm rot="5400000" flipH="1" flipV="1">
            <a:off x="787595" y="3000979"/>
            <a:ext cx="2985763" cy="399308"/>
          </a:xfrm>
          <a:prstGeom prst="bentConnector3">
            <a:avLst>
              <a:gd name="adj1" fmla="val 50000"/>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sp>
        <p:nvSpPr>
          <p:cNvPr id="348" name="Rectangle 347"/>
          <p:cNvSpPr/>
          <p:nvPr/>
        </p:nvSpPr>
        <p:spPr>
          <a:xfrm>
            <a:off x="5649841" y="2885347"/>
            <a:ext cx="640080" cy="6155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r>
              <a:rPr lang="en-US" sz="400" dirty="0">
                <a:solidFill>
                  <a:schemeClr val="tx1"/>
                </a:solidFill>
              </a:rPr>
              <a:t>Serf: </a:t>
            </a:r>
            <a:br>
              <a:rPr lang="en-US" sz="400" dirty="0">
                <a:solidFill>
                  <a:schemeClr val="tx1"/>
                </a:solidFill>
              </a:rPr>
            </a:br>
            <a:r>
              <a:rPr lang="en-US" sz="400" dirty="0">
                <a:solidFill>
                  <a:schemeClr val="tx1"/>
                </a:solidFill>
              </a:rPr>
              <a:t>Consist of</a:t>
            </a:r>
          </a:p>
        </p:txBody>
      </p:sp>
      <p:sp>
        <p:nvSpPr>
          <p:cNvPr id="349" name="Rectangle 348"/>
          <p:cNvSpPr/>
          <p:nvPr/>
        </p:nvSpPr>
        <p:spPr>
          <a:xfrm>
            <a:off x="5125854" y="2928080"/>
            <a:ext cx="640080" cy="6155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r>
              <a:rPr lang="en-US" sz="400" dirty="0">
                <a:solidFill>
                  <a:schemeClr val="tx1"/>
                </a:solidFill>
              </a:rPr>
              <a:t>Serf: Has state</a:t>
            </a:r>
          </a:p>
        </p:txBody>
      </p:sp>
      <p:sp>
        <p:nvSpPr>
          <p:cNvPr id="350" name="Rectangle 349"/>
          <p:cNvSpPr/>
          <p:nvPr/>
        </p:nvSpPr>
        <p:spPr>
          <a:xfrm>
            <a:off x="6249631" y="3218760"/>
            <a:ext cx="640080" cy="6155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r>
              <a:rPr lang="en-US" sz="400" dirty="0">
                <a:solidFill>
                  <a:schemeClr val="tx1"/>
                </a:solidFill>
              </a:rPr>
              <a:t>S4ener: Belongs to</a:t>
            </a:r>
          </a:p>
        </p:txBody>
      </p:sp>
      <p:sp>
        <p:nvSpPr>
          <p:cNvPr id="351" name="Rectangle 350"/>
          <p:cNvSpPr/>
          <p:nvPr/>
        </p:nvSpPr>
        <p:spPr>
          <a:xfrm>
            <a:off x="6129937" y="2876651"/>
            <a:ext cx="640080" cy="6155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r>
              <a:rPr lang="en-US" sz="400" dirty="0">
                <a:solidFill>
                  <a:schemeClr val="tx1"/>
                </a:solidFill>
              </a:rPr>
              <a:t>Serf: Has price</a:t>
            </a:r>
          </a:p>
        </p:txBody>
      </p:sp>
      <p:cxnSp>
        <p:nvCxnSpPr>
          <p:cNvPr id="352" name="Elbow Connector 35"/>
          <p:cNvCxnSpPr>
            <a:stCxn id="11" idx="0"/>
            <a:endCxn id="17" idx="2"/>
          </p:cNvCxnSpPr>
          <p:nvPr/>
        </p:nvCxnSpPr>
        <p:spPr>
          <a:xfrm flipV="1">
            <a:off x="5761553" y="2846003"/>
            <a:ext cx="356437" cy="288315"/>
          </a:xfrm>
          <a:prstGeom prst="straightConnector1">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sp>
        <p:nvSpPr>
          <p:cNvPr id="355" name="Rectangle 354"/>
          <p:cNvSpPr/>
          <p:nvPr/>
        </p:nvSpPr>
        <p:spPr>
          <a:xfrm>
            <a:off x="6534563" y="3003685"/>
            <a:ext cx="640080" cy="6155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r>
              <a:rPr lang="en-US" sz="400" dirty="0">
                <a:solidFill>
                  <a:schemeClr val="tx1"/>
                </a:solidFill>
              </a:rPr>
              <a:t>S4ener: Has Energy</a:t>
            </a:r>
          </a:p>
        </p:txBody>
      </p:sp>
      <p:sp>
        <p:nvSpPr>
          <p:cNvPr id="356" name="Rectangle 355"/>
          <p:cNvSpPr/>
          <p:nvPr/>
        </p:nvSpPr>
        <p:spPr>
          <a:xfrm>
            <a:off x="5099775" y="2152356"/>
            <a:ext cx="640080" cy="6155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r>
              <a:rPr lang="en-US" sz="400" dirty="0">
                <a:solidFill>
                  <a:schemeClr val="tx1"/>
                </a:solidFill>
              </a:rPr>
              <a:t>S4ener: Belongs to</a:t>
            </a:r>
          </a:p>
        </p:txBody>
      </p:sp>
      <p:sp>
        <p:nvSpPr>
          <p:cNvPr id="357" name="Rectangle 356"/>
          <p:cNvSpPr/>
          <p:nvPr/>
        </p:nvSpPr>
        <p:spPr>
          <a:xfrm>
            <a:off x="7446682" y="3168793"/>
            <a:ext cx="640080" cy="6155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r>
              <a:rPr lang="en-US" sz="400" dirty="0">
                <a:solidFill>
                  <a:schemeClr val="tx1"/>
                </a:solidFill>
              </a:rPr>
              <a:t>Serf: Consist of</a:t>
            </a:r>
          </a:p>
        </p:txBody>
      </p:sp>
      <p:sp>
        <p:nvSpPr>
          <p:cNvPr id="358" name="Rectangle 357"/>
          <p:cNvSpPr/>
          <p:nvPr/>
        </p:nvSpPr>
        <p:spPr>
          <a:xfrm>
            <a:off x="6688676" y="2746275"/>
            <a:ext cx="640080" cy="6155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r>
              <a:rPr lang="en-US" sz="400" dirty="0">
                <a:solidFill>
                  <a:schemeClr val="tx1"/>
                </a:solidFill>
              </a:rPr>
              <a:t>S4ener</a:t>
            </a:r>
          </a:p>
        </p:txBody>
      </p:sp>
      <p:cxnSp>
        <p:nvCxnSpPr>
          <p:cNvPr id="361" name="Elbow Connector 35"/>
          <p:cNvCxnSpPr>
            <a:stCxn id="116" idx="0"/>
            <a:endCxn id="114" idx="2"/>
          </p:cNvCxnSpPr>
          <p:nvPr/>
        </p:nvCxnSpPr>
        <p:spPr>
          <a:xfrm flipV="1">
            <a:off x="8348068" y="3017225"/>
            <a:ext cx="470349" cy="117093"/>
          </a:xfrm>
          <a:prstGeom prst="straightConnector1">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sp>
        <p:nvSpPr>
          <p:cNvPr id="365" name="Rectangle 364"/>
          <p:cNvSpPr/>
          <p:nvPr/>
        </p:nvSpPr>
        <p:spPr>
          <a:xfrm>
            <a:off x="8705404" y="3065474"/>
            <a:ext cx="914400" cy="6155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r>
              <a:rPr lang="en-US" sz="400" dirty="0">
                <a:solidFill>
                  <a:schemeClr val="tx1"/>
                </a:solidFill>
              </a:rPr>
              <a:t>S4ener: Has Energy Value Type</a:t>
            </a:r>
          </a:p>
        </p:txBody>
      </p:sp>
      <p:sp>
        <p:nvSpPr>
          <p:cNvPr id="366" name="Rectangle 365"/>
          <p:cNvSpPr/>
          <p:nvPr/>
        </p:nvSpPr>
        <p:spPr>
          <a:xfrm>
            <a:off x="8794531" y="3329096"/>
            <a:ext cx="914400" cy="6155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r>
              <a:rPr lang="en-US" sz="400" dirty="0">
                <a:solidFill>
                  <a:schemeClr val="tx1"/>
                </a:solidFill>
              </a:rPr>
              <a:t>S4ener: Has Power Value Type</a:t>
            </a:r>
          </a:p>
        </p:txBody>
      </p:sp>
      <p:sp>
        <p:nvSpPr>
          <p:cNvPr id="367" name="Rectangle 366"/>
          <p:cNvSpPr/>
          <p:nvPr/>
        </p:nvSpPr>
        <p:spPr>
          <a:xfrm>
            <a:off x="2105902" y="4483442"/>
            <a:ext cx="914400" cy="6155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r>
              <a:rPr lang="en-US" sz="400" dirty="0">
                <a:solidFill>
                  <a:schemeClr val="tx1"/>
                </a:solidFill>
              </a:rPr>
              <a:t>S4ener: Receives</a:t>
            </a:r>
          </a:p>
        </p:txBody>
      </p:sp>
      <p:sp>
        <p:nvSpPr>
          <p:cNvPr id="368" name="Rectangle 367"/>
          <p:cNvSpPr/>
          <p:nvPr/>
        </p:nvSpPr>
        <p:spPr>
          <a:xfrm>
            <a:off x="3320747" y="4866068"/>
            <a:ext cx="914400" cy="6155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r>
              <a:rPr lang="en-US" sz="400" dirty="0">
                <a:solidFill>
                  <a:schemeClr val="tx1"/>
                </a:solidFill>
              </a:rPr>
              <a:t>S4ener: Trigger Event Action Consume</a:t>
            </a:r>
          </a:p>
        </p:txBody>
      </p:sp>
      <p:sp>
        <p:nvSpPr>
          <p:cNvPr id="369" name="Rectangle 368"/>
          <p:cNvSpPr/>
          <p:nvPr/>
        </p:nvSpPr>
        <p:spPr>
          <a:xfrm>
            <a:off x="2339957" y="5077094"/>
            <a:ext cx="914400" cy="6155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r>
              <a:rPr lang="en-US" sz="400" dirty="0">
                <a:solidFill>
                  <a:schemeClr val="tx1"/>
                </a:solidFill>
              </a:rPr>
              <a:t>S4ener: Has Applied Event Action Consume</a:t>
            </a:r>
          </a:p>
        </p:txBody>
      </p:sp>
      <p:sp>
        <p:nvSpPr>
          <p:cNvPr id="370" name="Rectangle 369"/>
          <p:cNvSpPr/>
          <p:nvPr/>
        </p:nvSpPr>
        <p:spPr>
          <a:xfrm>
            <a:off x="3286814" y="5116373"/>
            <a:ext cx="914400" cy="6155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r>
              <a:rPr lang="en-US" sz="400" dirty="0">
                <a:solidFill>
                  <a:schemeClr val="tx1"/>
                </a:solidFill>
              </a:rPr>
              <a:t>S4ener: Has Applied Event Action Produce</a:t>
            </a:r>
          </a:p>
        </p:txBody>
      </p:sp>
      <p:sp>
        <p:nvSpPr>
          <p:cNvPr id="371" name="Rectangle 370"/>
          <p:cNvSpPr/>
          <p:nvPr/>
        </p:nvSpPr>
        <p:spPr>
          <a:xfrm>
            <a:off x="2694128" y="5484713"/>
            <a:ext cx="914400" cy="6155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r>
              <a:rPr lang="en-US" sz="400" dirty="0">
                <a:solidFill>
                  <a:schemeClr val="tx1"/>
                </a:solidFill>
              </a:rPr>
              <a:t>S4ener: Has Applied Event Action Produce</a:t>
            </a:r>
          </a:p>
        </p:txBody>
      </p:sp>
      <p:sp>
        <p:nvSpPr>
          <p:cNvPr id="372" name="Rectangle 371"/>
          <p:cNvSpPr/>
          <p:nvPr/>
        </p:nvSpPr>
        <p:spPr>
          <a:xfrm>
            <a:off x="2121212" y="5534726"/>
            <a:ext cx="914400" cy="6155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r>
              <a:rPr lang="en-US" sz="400" dirty="0">
                <a:solidFill>
                  <a:schemeClr val="tx1"/>
                </a:solidFill>
              </a:rPr>
              <a:t>Owl: Oneof</a:t>
            </a:r>
          </a:p>
        </p:txBody>
      </p:sp>
      <p:sp>
        <p:nvSpPr>
          <p:cNvPr id="373" name="Rectangle 372"/>
          <p:cNvSpPr/>
          <p:nvPr/>
        </p:nvSpPr>
        <p:spPr>
          <a:xfrm>
            <a:off x="1150083" y="5129759"/>
            <a:ext cx="914400" cy="6155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r>
              <a:rPr lang="en-US" sz="400" dirty="0">
                <a:solidFill>
                  <a:schemeClr val="tx1"/>
                </a:solidFill>
              </a:rPr>
              <a:t>Owl: Oneof</a:t>
            </a:r>
          </a:p>
        </p:txBody>
      </p:sp>
      <p:sp>
        <p:nvSpPr>
          <p:cNvPr id="230" name="Rectangle 229"/>
          <p:cNvSpPr/>
          <p:nvPr/>
        </p:nvSpPr>
        <p:spPr>
          <a:xfrm>
            <a:off x="5535577" y="6172930"/>
            <a:ext cx="304571" cy="6155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spAutoFit/>
          </a:bodyPr>
          <a:lstStyle/>
          <a:p>
            <a:r>
              <a:rPr lang="en-US" sz="400" dirty="0">
                <a:solidFill>
                  <a:schemeClr val="tx1"/>
                </a:solidFill>
              </a:rPr>
              <a:t>owl:one Of</a:t>
            </a:r>
          </a:p>
        </p:txBody>
      </p:sp>
      <p:sp>
        <p:nvSpPr>
          <p:cNvPr id="231" name="Rectangle 230"/>
          <p:cNvSpPr/>
          <p:nvPr/>
        </p:nvSpPr>
        <p:spPr>
          <a:xfrm>
            <a:off x="5088820" y="5857919"/>
            <a:ext cx="304571" cy="6155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spAutoFit/>
          </a:bodyPr>
          <a:lstStyle/>
          <a:p>
            <a:r>
              <a:rPr lang="en-US" sz="400" dirty="0">
                <a:solidFill>
                  <a:schemeClr val="tx1"/>
                </a:solidFill>
              </a:rPr>
              <a:t>owl:one Of</a:t>
            </a:r>
          </a:p>
        </p:txBody>
      </p:sp>
      <p:pic>
        <p:nvPicPr>
          <p:cNvPr id="36" name="Picture 35"/>
          <p:cNvPicPr>
            <a:picLocks noChangeAspect="1"/>
          </p:cNvPicPr>
          <p:nvPr/>
        </p:nvPicPr>
        <p:blipFill rotWithShape="1">
          <a:blip r:embed="rId7"/>
          <a:srcRect t="6813" b="38742"/>
          <a:stretch/>
        </p:blipFill>
        <p:spPr>
          <a:xfrm>
            <a:off x="5587513" y="5795835"/>
            <a:ext cx="140932" cy="119064"/>
          </a:xfrm>
          <a:prstGeom prst="rect">
            <a:avLst/>
          </a:prstGeom>
        </p:spPr>
      </p:pic>
      <p:sp>
        <p:nvSpPr>
          <p:cNvPr id="233" name="Rectangle 232"/>
          <p:cNvSpPr/>
          <p:nvPr/>
        </p:nvSpPr>
        <p:spPr>
          <a:xfrm>
            <a:off x="3539932" y="6193361"/>
            <a:ext cx="944169" cy="6155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spAutoFit/>
          </a:bodyPr>
          <a:lstStyle/>
          <a:p>
            <a:r>
              <a:rPr lang="en-US" sz="400" dirty="0">
                <a:solidFill>
                  <a:schemeClr val="tx1"/>
                </a:solidFill>
              </a:rPr>
              <a:t>s4ener: has Event State Consume</a:t>
            </a:r>
          </a:p>
        </p:txBody>
      </p:sp>
      <p:sp>
        <p:nvSpPr>
          <p:cNvPr id="234" name="Rectangle 233"/>
          <p:cNvSpPr/>
          <p:nvPr/>
        </p:nvSpPr>
        <p:spPr>
          <a:xfrm>
            <a:off x="4383172" y="5031654"/>
            <a:ext cx="456856" cy="6155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spAutoFit/>
          </a:bodyPr>
          <a:lstStyle/>
          <a:p>
            <a:r>
              <a:rPr lang="en-US" sz="400" dirty="0">
                <a:solidFill>
                  <a:schemeClr val="tx1"/>
                </a:solidFill>
              </a:rPr>
              <a:t>Saref: has time</a:t>
            </a:r>
          </a:p>
        </p:txBody>
      </p:sp>
      <p:sp>
        <p:nvSpPr>
          <p:cNvPr id="236" name="Rectangle 235"/>
          <p:cNvSpPr/>
          <p:nvPr/>
        </p:nvSpPr>
        <p:spPr>
          <a:xfrm>
            <a:off x="3865894" y="3059982"/>
            <a:ext cx="304571" cy="6155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spAutoFit/>
          </a:bodyPr>
          <a:lstStyle/>
          <a:p>
            <a:r>
              <a:rPr lang="en-US" sz="400" dirty="0">
                <a:solidFill>
                  <a:schemeClr val="tx1"/>
                </a:solidFill>
              </a:rPr>
              <a:t>owl:one Of</a:t>
            </a:r>
          </a:p>
        </p:txBody>
      </p:sp>
      <p:pic>
        <p:nvPicPr>
          <p:cNvPr id="237" name="Picture 1" descr="image002">
            <a:extLst>
              <a:ext uri="{FF2B5EF4-FFF2-40B4-BE49-F238E27FC236}">
                <a16:creationId xmlns:a16="http://schemas.microsoft.com/office/drawing/2014/main" id="{836A3809-751F-4718-8245-17A39A84EBE4}"/>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8" name="Picture 237">
            <a:extLst>
              <a:ext uri="{FF2B5EF4-FFF2-40B4-BE49-F238E27FC236}">
                <a16:creationId xmlns:a16="http://schemas.microsoft.com/office/drawing/2014/main" id="{890D8EB8-960C-4AC8-B723-5C4CA9B81EF0}"/>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5050" t="25548" r="5027" b="22927"/>
          <a:stretch/>
        </p:blipFill>
        <p:spPr>
          <a:xfrm>
            <a:off x="7981248" y="313232"/>
            <a:ext cx="1270327" cy="406262"/>
          </a:xfrm>
          <a:prstGeom prst="rect">
            <a:avLst/>
          </a:prstGeom>
        </p:spPr>
      </p:pic>
    </p:spTree>
    <p:extLst>
      <p:ext uri="{BB962C8B-B14F-4D97-AF65-F5344CB8AC3E}">
        <p14:creationId xmlns:p14="http://schemas.microsoft.com/office/powerpoint/2010/main" val="273870668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B71C370-D5AD-4285-B597-DF811FF69E0D}"/>
              </a:ext>
            </a:extLst>
          </p:cNvPr>
          <p:cNvSpPr>
            <a:spLocks noGrp="1"/>
          </p:cNvSpPr>
          <p:nvPr>
            <p:ph type="body" sz="quarter" idx="11"/>
          </p:nvPr>
        </p:nvSpPr>
        <p:spPr/>
        <p:txBody>
          <a:bodyPr/>
          <a:lstStyle/>
          <a:p>
            <a:r>
              <a:rPr lang="en-US" dirty="0"/>
              <a:t>SAREF4CITY - General information</a:t>
            </a:r>
          </a:p>
        </p:txBody>
      </p:sp>
      <p:sp>
        <p:nvSpPr>
          <p:cNvPr id="4" name="Slide Number Placeholder 3">
            <a:extLst>
              <a:ext uri="{FF2B5EF4-FFF2-40B4-BE49-F238E27FC236}">
                <a16:creationId xmlns:a16="http://schemas.microsoft.com/office/drawing/2014/main" id="{0BC0E82D-E994-409C-ADF9-120374BDE6FD}"/>
              </a:ext>
            </a:extLst>
          </p:cNvPr>
          <p:cNvSpPr>
            <a:spLocks noGrp="1"/>
          </p:cNvSpPr>
          <p:nvPr>
            <p:ph type="sldNum" sz="quarter" idx="4"/>
          </p:nvPr>
        </p:nvSpPr>
        <p:spPr/>
        <p:txBody>
          <a:bodyPr/>
          <a:lstStyle/>
          <a:p>
            <a:fld id="{EBC262BB-4310-134F-8D24-58475080D942}" type="slidenum">
              <a:rPr lang="en-US" smtClean="0"/>
              <a:pPr/>
              <a:t>26</a:t>
            </a:fld>
            <a:endParaRPr lang="en-US" dirty="0"/>
          </a:p>
        </p:txBody>
      </p:sp>
      <p:sp>
        <p:nvSpPr>
          <p:cNvPr id="13" name="Text Placeholder 2">
            <a:extLst>
              <a:ext uri="{FF2B5EF4-FFF2-40B4-BE49-F238E27FC236}">
                <a16:creationId xmlns:a16="http://schemas.microsoft.com/office/drawing/2014/main" id="{8B931C60-B751-4D40-A679-4B6147277B01}"/>
              </a:ext>
            </a:extLst>
          </p:cNvPr>
          <p:cNvSpPr txBox="1">
            <a:spLocks/>
          </p:cNvSpPr>
          <p:nvPr/>
        </p:nvSpPr>
        <p:spPr>
          <a:xfrm>
            <a:off x="985764" y="1690406"/>
            <a:ext cx="9123324" cy="1446550"/>
          </a:xfrm>
          <a:prstGeom prst="rect">
            <a:avLst/>
          </a:prstGeom>
        </p:spPr>
        <p:txBody>
          <a:bodyPr lIns="0" tIns="0" rIns="0" b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600"/>
              </a:spcBef>
              <a:buNone/>
            </a:pPr>
            <a:r>
              <a:rPr lang="en-US" sz="1400" dirty="0"/>
              <a:t>More info on the current specification of SAREF4CITY can be found at </a:t>
            </a:r>
            <a:r>
              <a:rPr lang="en-US" sz="1400" dirty="0">
                <a:hlinkClick r:id="rId3"/>
              </a:rPr>
              <a:t>https://saref.etsi.org/extensions.html#SAREF4CITY</a:t>
            </a:r>
            <a:r>
              <a:rPr lang="en-US" sz="1400" dirty="0"/>
              <a:t>  </a:t>
            </a:r>
          </a:p>
          <a:p>
            <a:pPr marL="342900" indent="-342900">
              <a:lnSpc>
                <a:spcPct val="100000"/>
              </a:lnSpc>
              <a:spcBef>
                <a:spcPts val="500"/>
              </a:spcBef>
              <a:buClr>
                <a:srgbClr val="EDAE00"/>
              </a:buClr>
              <a:buFont typeface="Arial" charset="0"/>
              <a:buChar char="•"/>
            </a:pPr>
            <a:r>
              <a:rPr lang="en-US" sz="1400" dirty="0"/>
              <a:t>SAREF4CITY requirements Technical Report (September 2018): TR 103 506 </a:t>
            </a:r>
          </a:p>
          <a:p>
            <a:pPr marL="342900" indent="-342900">
              <a:lnSpc>
                <a:spcPct val="100000"/>
              </a:lnSpc>
              <a:spcBef>
                <a:spcPts val="500"/>
              </a:spcBef>
              <a:buClr>
                <a:srgbClr val="EDAE00"/>
              </a:buClr>
              <a:buFont typeface="Arial" charset="0"/>
              <a:buChar char="•"/>
            </a:pPr>
            <a:r>
              <a:rPr lang="en-US" sz="1400" dirty="0"/>
              <a:t>SAREF for City (SAREFCITY) Technical Specification (May 2020): TS 103 410-4</a:t>
            </a:r>
          </a:p>
        </p:txBody>
      </p:sp>
      <p:sp>
        <p:nvSpPr>
          <p:cNvPr id="14" name="Text Placeholder 2">
            <a:extLst>
              <a:ext uri="{FF2B5EF4-FFF2-40B4-BE49-F238E27FC236}">
                <a16:creationId xmlns:a16="http://schemas.microsoft.com/office/drawing/2014/main" id="{8B931C60-B751-4D40-A679-4B6147277B01}"/>
              </a:ext>
            </a:extLst>
          </p:cNvPr>
          <p:cNvSpPr txBox="1">
            <a:spLocks/>
          </p:cNvSpPr>
          <p:nvPr/>
        </p:nvSpPr>
        <p:spPr>
          <a:xfrm>
            <a:off x="985764" y="3326105"/>
            <a:ext cx="9123324" cy="2972460"/>
          </a:xfrm>
          <a:prstGeom prst="rect">
            <a:avLst/>
          </a:prstGeom>
        </p:spPr>
        <p:txBody>
          <a:bodyPr lIns="0" tIns="0" rIns="0" b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500"/>
              </a:spcBef>
              <a:buFont typeface="Arial" panose="020B0604020202020204" pitchFamily="34" charset="0"/>
              <a:buNone/>
            </a:pPr>
            <a:r>
              <a:rPr lang="en-US" sz="1200" dirty="0"/>
              <a:t>SAREF4CITY: Extension for the Smart Cities domain</a:t>
            </a:r>
          </a:p>
          <a:p>
            <a:pPr marL="342900" indent="-342900">
              <a:lnSpc>
                <a:spcPct val="100000"/>
              </a:lnSpc>
              <a:spcBef>
                <a:spcPts val="500"/>
              </a:spcBef>
              <a:buClr>
                <a:srgbClr val="EDAE00"/>
              </a:buClr>
              <a:buFont typeface="Arial" charset="0"/>
              <a:buChar char="•"/>
            </a:pPr>
            <a:r>
              <a:rPr lang="en-US" sz="1200" dirty="0"/>
              <a:t>IRI: </a:t>
            </a:r>
            <a:r>
              <a:rPr lang="en-US" sz="1200" dirty="0">
                <a:hlinkClick r:id="rId4"/>
              </a:rPr>
              <a:t>https://saref.etsi.org/saref4city/</a:t>
            </a:r>
            <a:endParaRPr lang="en-US" sz="1200" dirty="0"/>
          </a:p>
          <a:p>
            <a:pPr marL="342900" indent="-342900">
              <a:lnSpc>
                <a:spcPct val="100000"/>
              </a:lnSpc>
              <a:spcBef>
                <a:spcPts val="500"/>
              </a:spcBef>
              <a:buClr>
                <a:srgbClr val="EDAE00"/>
              </a:buClr>
              <a:buFont typeface="Arial" charset="0"/>
              <a:buChar char="•"/>
            </a:pPr>
            <a:r>
              <a:rPr lang="en-US" sz="1200" dirty="0"/>
              <a:t>ETSI Technical Specification: </a:t>
            </a:r>
            <a:r>
              <a:rPr lang="en-US" sz="1200" dirty="0">
                <a:hlinkClick r:id="rId5"/>
              </a:rPr>
              <a:t>ETSI TS 103 410-4 V1.1.2 (2020-05): “SmartM2M; Extension to SAREF; Part 4: Smart Cities Domain”</a:t>
            </a:r>
            <a:endParaRPr lang="en-US" sz="1200" dirty="0"/>
          </a:p>
          <a:p>
            <a:pPr marL="342900" indent="-342900">
              <a:lnSpc>
                <a:spcPct val="100000"/>
              </a:lnSpc>
              <a:spcBef>
                <a:spcPts val="500"/>
              </a:spcBef>
              <a:buClr>
                <a:srgbClr val="EDAE00"/>
              </a:buClr>
              <a:buFont typeface="Arial" charset="0"/>
              <a:buChar char="•"/>
            </a:pPr>
            <a:r>
              <a:rPr lang="en-US" sz="1200" dirty="0"/>
              <a:t>Sources: </a:t>
            </a:r>
            <a:r>
              <a:rPr lang="en-US" sz="1200" dirty="0">
                <a:hlinkClick r:id="rId6"/>
              </a:rPr>
              <a:t>https://saref.etsi.org/sources/saref4city/</a:t>
            </a:r>
            <a:r>
              <a:rPr lang="en-US" sz="1200" dirty="0"/>
              <a:t> </a:t>
            </a:r>
          </a:p>
          <a:p>
            <a:pPr marL="342900" indent="-342900">
              <a:lnSpc>
                <a:spcPct val="100000"/>
              </a:lnSpc>
              <a:spcBef>
                <a:spcPts val="500"/>
              </a:spcBef>
              <a:buClr>
                <a:srgbClr val="EDAE00"/>
              </a:buClr>
              <a:buFont typeface="Arial" charset="0"/>
              <a:buChar char="•"/>
            </a:pPr>
            <a:r>
              <a:rPr lang="en-US" sz="1200" dirty="0"/>
              <a:t>All versions</a:t>
            </a:r>
          </a:p>
          <a:p>
            <a:pPr marL="630238" indent="-342900">
              <a:lnSpc>
                <a:spcPct val="100000"/>
              </a:lnSpc>
              <a:spcBef>
                <a:spcPts val="500"/>
              </a:spcBef>
              <a:buClr>
                <a:schemeClr val="tx1"/>
              </a:buClr>
              <a:buFont typeface="Arial" charset="0"/>
              <a:buChar char="•"/>
            </a:pPr>
            <a:r>
              <a:rPr lang="en-US" sz="1200" dirty="0"/>
              <a:t>V1.1.2</a:t>
            </a:r>
          </a:p>
          <a:p>
            <a:pPr marL="1030288" indent="-342900">
              <a:lnSpc>
                <a:spcPct val="100000"/>
              </a:lnSpc>
              <a:spcBef>
                <a:spcPts val="500"/>
              </a:spcBef>
              <a:buClr>
                <a:schemeClr val="tx1"/>
              </a:buClr>
              <a:buFont typeface="Arial" charset="0"/>
              <a:buChar char="•"/>
            </a:pPr>
            <a:r>
              <a:rPr lang="en-US" sz="1200" dirty="0"/>
              <a:t>Version IRI: </a:t>
            </a:r>
            <a:r>
              <a:rPr lang="en-US" sz="1200" dirty="0">
                <a:hlinkClick r:id="rId7"/>
              </a:rPr>
              <a:t>https://saref.etsi.org/saref4city/V1.1.2/</a:t>
            </a:r>
            <a:endParaRPr lang="en-US" sz="1200" dirty="0"/>
          </a:p>
          <a:p>
            <a:pPr marL="1030288" indent="-342900">
              <a:lnSpc>
                <a:spcPct val="100000"/>
              </a:lnSpc>
              <a:spcBef>
                <a:spcPts val="500"/>
              </a:spcBef>
              <a:buClr>
                <a:schemeClr val="tx1"/>
              </a:buClr>
              <a:buFont typeface="Arial" charset="0"/>
              <a:buChar char="•"/>
            </a:pPr>
            <a:r>
              <a:rPr lang="en-US" sz="1200" dirty="0"/>
              <a:t>ETSI Technical Specification: </a:t>
            </a:r>
            <a:r>
              <a:rPr lang="en-US" sz="1200" dirty="0">
                <a:hlinkClick r:id="rId8"/>
              </a:rPr>
              <a:t>ETSI TS 103 410-4 V1.1.2 (2020-05): “SmartM2M; Extension to SAREF; Part 4: Smart City Domain”</a:t>
            </a:r>
            <a:endParaRPr lang="en-US" sz="1200" dirty="0"/>
          </a:p>
          <a:p>
            <a:pPr marL="630238" indent="-342900">
              <a:lnSpc>
                <a:spcPct val="100000"/>
              </a:lnSpc>
              <a:spcBef>
                <a:spcPts val="500"/>
              </a:spcBef>
              <a:buClr>
                <a:schemeClr val="tx1"/>
              </a:buClr>
              <a:buFont typeface="Arial" charset="0"/>
              <a:buChar char="•"/>
            </a:pPr>
            <a:r>
              <a:rPr lang="en-US" sz="1200" dirty="0"/>
              <a:t>V1.1.1</a:t>
            </a:r>
          </a:p>
          <a:p>
            <a:pPr marL="1030288" indent="-342900">
              <a:lnSpc>
                <a:spcPct val="100000"/>
              </a:lnSpc>
              <a:spcBef>
                <a:spcPts val="500"/>
              </a:spcBef>
              <a:buClr>
                <a:schemeClr val="tx1"/>
              </a:buClr>
              <a:buFont typeface="Arial" charset="0"/>
              <a:buChar char="•"/>
            </a:pPr>
            <a:r>
              <a:rPr lang="en-US" sz="1200" dirty="0"/>
              <a:t>ETSI Technical Specification: </a:t>
            </a:r>
            <a:r>
              <a:rPr lang="en-US" sz="1200" dirty="0">
                <a:hlinkClick r:id="rId9"/>
              </a:rPr>
              <a:t>ETSI TS 103 410-4 V1.1.1 (2017-01): “SmartM2M; Extension to SAREF; Part 4: Smart Cities Domain”</a:t>
            </a:r>
            <a:endParaRPr lang="en-US" sz="1200" dirty="0"/>
          </a:p>
        </p:txBody>
      </p:sp>
      <p:pic>
        <p:nvPicPr>
          <p:cNvPr id="7" name="Picture 1" descr="image002">
            <a:extLst>
              <a:ext uri="{FF2B5EF4-FFF2-40B4-BE49-F238E27FC236}">
                <a16:creationId xmlns:a16="http://schemas.microsoft.com/office/drawing/2014/main" id="{BE110A98-1524-4353-B9C3-124EEB2B0C13}"/>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a:extLst>
              <a:ext uri="{FF2B5EF4-FFF2-40B4-BE49-F238E27FC236}">
                <a16:creationId xmlns:a16="http://schemas.microsoft.com/office/drawing/2014/main" id="{BEFEF15C-0AD9-469B-8003-AAC22EDC7096}"/>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5050" t="25548" r="5027" b="22927"/>
          <a:stretch/>
        </p:blipFill>
        <p:spPr>
          <a:xfrm>
            <a:off x="7981248" y="313232"/>
            <a:ext cx="1270327" cy="406262"/>
          </a:xfrm>
          <a:prstGeom prst="rect">
            <a:avLst/>
          </a:prstGeom>
        </p:spPr>
      </p:pic>
    </p:spTree>
    <p:extLst>
      <p:ext uri="{BB962C8B-B14F-4D97-AF65-F5344CB8AC3E}">
        <p14:creationId xmlns:p14="http://schemas.microsoft.com/office/powerpoint/2010/main" val="352058131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4B853A-5631-41E0-A77D-D46ED992FBC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85764" y="592236"/>
            <a:ext cx="8829162" cy="5898454"/>
          </a:xfrm>
          <a:prstGeom prst="rect">
            <a:avLst/>
          </a:prstGeom>
        </p:spPr>
      </p:pic>
      <p:sp>
        <p:nvSpPr>
          <p:cNvPr id="4" name="Text Placeholder 3"/>
          <p:cNvSpPr>
            <a:spLocks noGrp="1"/>
          </p:cNvSpPr>
          <p:nvPr>
            <p:ph type="body" sz="quarter" idx="18"/>
          </p:nvPr>
        </p:nvSpPr>
        <p:spPr/>
        <p:txBody>
          <a:bodyPr/>
          <a:lstStyle/>
          <a:p>
            <a:r>
              <a:rPr lang="en-US" dirty="0"/>
              <a:t>SAREF4CITY - Overview</a:t>
            </a:r>
          </a:p>
          <a:p>
            <a:endParaRPr lang="en-US" dirty="0"/>
          </a:p>
        </p:txBody>
      </p:sp>
      <p:sp>
        <p:nvSpPr>
          <p:cNvPr id="2" name="Slide Number Placeholder 1"/>
          <p:cNvSpPr>
            <a:spLocks noGrp="1"/>
          </p:cNvSpPr>
          <p:nvPr>
            <p:ph type="sldNum" sz="quarter" idx="4"/>
          </p:nvPr>
        </p:nvSpPr>
        <p:spPr>
          <a:prstGeom prst="rect">
            <a:avLst/>
          </a:prstGeom>
        </p:spPr>
        <p:txBody>
          <a:bodyPr/>
          <a:lstStyle/>
          <a:p>
            <a:fld id="{EBC262BB-4310-134F-8D24-58475080D942}" type="slidenum">
              <a:rPr lang="en-US" smtClean="0"/>
              <a:pPr/>
              <a:t>27</a:t>
            </a:fld>
            <a:endParaRPr lang="en-US" dirty="0"/>
          </a:p>
        </p:txBody>
      </p:sp>
      <p:pic>
        <p:nvPicPr>
          <p:cNvPr id="7" name="Picture 1" descr="image002">
            <a:extLst>
              <a:ext uri="{FF2B5EF4-FFF2-40B4-BE49-F238E27FC236}">
                <a16:creationId xmlns:a16="http://schemas.microsoft.com/office/drawing/2014/main" id="{5D3E7674-1B04-415A-B7CB-09284BAC24E7}"/>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a:extLst>
              <a:ext uri="{FF2B5EF4-FFF2-40B4-BE49-F238E27FC236}">
                <a16:creationId xmlns:a16="http://schemas.microsoft.com/office/drawing/2014/main" id="{DFE3BAB3-41D4-47FA-8EEE-F9C4F94B6009}"/>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5050" t="25548" r="5027" b="22927"/>
          <a:stretch/>
        </p:blipFill>
        <p:spPr>
          <a:xfrm>
            <a:off x="7981248" y="313232"/>
            <a:ext cx="1270327" cy="406262"/>
          </a:xfrm>
          <a:prstGeom prst="rect">
            <a:avLst/>
          </a:prstGeom>
        </p:spPr>
      </p:pic>
      <p:sp>
        <p:nvSpPr>
          <p:cNvPr id="10" name="ee4pFootnotes">
            <a:extLst>
              <a:ext uri="{FF2B5EF4-FFF2-40B4-BE49-F238E27FC236}">
                <a16:creationId xmlns:a16="http://schemas.microsoft.com/office/drawing/2014/main" id="{17841236-10E2-45DF-9E2B-95A5A7ACB959}"/>
              </a:ext>
            </a:extLst>
          </p:cNvPr>
          <p:cNvSpPr>
            <a:spLocks noChangeArrowheads="1"/>
          </p:cNvSpPr>
          <p:nvPr/>
        </p:nvSpPr>
        <p:spPr bwMode="auto">
          <a:xfrm>
            <a:off x="2374900" y="6421441"/>
            <a:ext cx="7286014"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fr-FR" sz="1000" dirty="0">
                <a:cs typeface="Arial" pitchFamily="34" charset="0"/>
              </a:rPr>
              <a:t>Source: ETSI TS 103 410-4 V1.1.1 </a:t>
            </a:r>
          </a:p>
        </p:txBody>
      </p:sp>
    </p:spTree>
    <p:extLst>
      <p:ext uri="{BB962C8B-B14F-4D97-AF65-F5344CB8AC3E}">
        <p14:creationId xmlns:p14="http://schemas.microsoft.com/office/powerpoint/2010/main" val="37880011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Back to the question…</a:t>
            </a:r>
          </a:p>
          <a:p>
            <a:r>
              <a:rPr lang="en-US" dirty="0"/>
              <a:t>what is SAREF?</a:t>
            </a:r>
          </a:p>
        </p:txBody>
      </p:sp>
      <p:sp>
        <p:nvSpPr>
          <p:cNvPr id="3" name="Slide Number Placeholder 2"/>
          <p:cNvSpPr>
            <a:spLocks noGrp="1"/>
          </p:cNvSpPr>
          <p:nvPr>
            <p:ph type="sldNum" sz="quarter" idx="4"/>
          </p:nvPr>
        </p:nvSpPr>
        <p:spPr>
          <a:prstGeom prst="rect">
            <a:avLst/>
          </a:prstGeom>
        </p:spPr>
        <p:txBody>
          <a:bodyPr/>
          <a:lstStyle/>
          <a:p>
            <a:fld id="{EBC262BB-4310-134F-8D24-58475080D942}" type="slidenum">
              <a:rPr lang="en-US" smtClean="0"/>
              <a:pPr/>
              <a:t>28</a:t>
            </a:fld>
            <a:endParaRPr lang="en-US" dirty="0"/>
          </a:p>
        </p:txBody>
      </p:sp>
    </p:spTree>
    <p:extLst>
      <p:ext uri="{BB962C8B-B14F-4D97-AF65-F5344CB8AC3E}">
        <p14:creationId xmlns:p14="http://schemas.microsoft.com/office/powerpoint/2010/main" val="303293316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B71C370-D5AD-4285-B597-DF811FF69E0D}"/>
              </a:ext>
            </a:extLst>
          </p:cNvPr>
          <p:cNvSpPr>
            <a:spLocks noGrp="1"/>
          </p:cNvSpPr>
          <p:nvPr>
            <p:ph type="body" sz="quarter" idx="11"/>
          </p:nvPr>
        </p:nvSpPr>
        <p:spPr/>
        <p:txBody>
          <a:bodyPr/>
          <a:lstStyle/>
          <a:p>
            <a:r>
              <a:rPr lang="en-US" dirty="0"/>
              <a:t>The way I prefer to show how SAREF looks like is …</a:t>
            </a:r>
          </a:p>
        </p:txBody>
      </p:sp>
      <p:sp>
        <p:nvSpPr>
          <p:cNvPr id="4" name="Slide Number Placeholder 3">
            <a:extLst>
              <a:ext uri="{FF2B5EF4-FFF2-40B4-BE49-F238E27FC236}">
                <a16:creationId xmlns:a16="http://schemas.microsoft.com/office/drawing/2014/main" id="{0BC0E82D-E994-409C-ADF9-120374BDE6FD}"/>
              </a:ext>
            </a:extLst>
          </p:cNvPr>
          <p:cNvSpPr>
            <a:spLocks noGrp="1"/>
          </p:cNvSpPr>
          <p:nvPr>
            <p:ph type="sldNum" sz="quarter" idx="4"/>
          </p:nvPr>
        </p:nvSpPr>
        <p:spPr/>
        <p:txBody>
          <a:bodyPr/>
          <a:lstStyle/>
          <a:p>
            <a:fld id="{EBC262BB-4310-134F-8D24-58475080D942}" type="slidenum">
              <a:rPr lang="en-US" smtClean="0"/>
              <a:pPr/>
              <a:t>29</a:t>
            </a:fld>
            <a:endParaRPr lang="en-US" dirty="0"/>
          </a:p>
        </p:txBody>
      </p:sp>
      <p:sp>
        <p:nvSpPr>
          <p:cNvPr id="13" name="Text Placeholder 2">
            <a:extLst>
              <a:ext uri="{FF2B5EF4-FFF2-40B4-BE49-F238E27FC236}">
                <a16:creationId xmlns:a16="http://schemas.microsoft.com/office/drawing/2014/main" id="{8B931C60-B751-4D40-A679-4B6147277B01}"/>
              </a:ext>
            </a:extLst>
          </p:cNvPr>
          <p:cNvSpPr txBox="1">
            <a:spLocks/>
          </p:cNvSpPr>
          <p:nvPr/>
        </p:nvSpPr>
        <p:spPr>
          <a:xfrm>
            <a:off x="985764" y="1690406"/>
            <a:ext cx="9123324" cy="1446550"/>
          </a:xfrm>
          <a:prstGeom prst="rect">
            <a:avLst/>
          </a:prstGeom>
        </p:spPr>
        <p:txBody>
          <a:bodyPr lIns="0" tIns="0" rIns="0" b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600"/>
              </a:spcBef>
              <a:buNone/>
            </a:pPr>
            <a:endParaRPr lang="en-US" sz="2000" dirty="0"/>
          </a:p>
          <a:p>
            <a:pPr marL="0" indent="0" algn="ctr">
              <a:lnSpc>
                <a:spcPct val="100000"/>
              </a:lnSpc>
              <a:spcBef>
                <a:spcPts val="600"/>
              </a:spcBef>
              <a:buNone/>
            </a:pPr>
            <a:r>
              <a:rPr lang="en-US" sz="2000" dirty="0"/>
              <a:t>Who is SAREF? </a:t>
            </a:r>
          </a:p>
          <a:p>
            <a:pPr marL="0" indent="0" algn="ctr">
              <a:lnSpc>
                <a:spcPct val="100000"/>
              </a:lnSpc>
              <a:spcBef>
                <a:spcPts val="600"/>
              </a:spcBef>
              <a:buNone/>
            </a:pPr>
            <a:endParaRPr lang="en-US" sz="2000" dirty="0"/>
          </a:p>
        </p:txBody>
      </p:sp>
      <p:pic>
        <p:nvPicPr>
          <p:cNvPr id="5" name="Picture 1" descr="image002">
            <a:extLst>
              <a:ext uri="{FF2B5EF4-FFF2-40B4-BE49-F238E27FC236}">
                <a16:creationId xmlns:a16="http://schemas.microsoft.com/office/drawing/2014/main" id="{074A111F-71CC-436E-9901-2C81B8A23961}"/>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223482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Introduction</a:t>
            </a:r>
          </a:p>
        </p:txBody>
      </p:sp>
      <p:sp>
        <p:nvSpPr>
          <p:cNvPr id="3" name="Slide Number Placeholder 2"/>
          <p:cNvSpPr>
            <a:spLocks noGrp="1"/>
          </p:cNvSpPr>
          <p:nvPr>
            <p:ph type="sldNum" sz="quarter" idx="4"/>
          </p:nvPr>
        </p:nvSpPr>
        <p:spPr>
          <a:prstGeom prst="rect">
            <a:avLst/>
          </a:prstGeom>
        </p:spPr>
        <p:txBody>
          <a:bodyPr/>
          <a:lstStyle/>
          <a:p>
            <a:fld id="{EBC262BB-4310-134F-8D24-58475080D942}" type="slidenum">
              <a:rPr lang="en-US" smtClean="0"/>
              <a:pPr/>
              <a:t>3</a:t>
            </a:fld>
            <a:endParaRPr lang="en-US" dirty="0"/>
          </a:p>
        </p:txBody>
      </p:sp>
    </p:spTree>
    <p:extLst>
      <p:ext uri="{BB962C8B-B14F-4D97-AF65-F5344CB8AC3E}">
        <p14:creationId xmlns:p14="http://schemas.microsoft.com/office/powerpoint/2010/main" val="88647088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B71C370-D5AD-4285-B597-DF811FF69E0D}"/>
              </a:ext>
            </a:extLst>
          </p:cNvPr>
          <p:cNvSpPr>
            <a:spLocks noGrp="1"/>
          </p:cNvSpPr>
          <p:nvPr>
            <p:ph type="body" sz="quarter" idx="11"/>
          </p:nvPr>
        </p:nvSpPr>
        <p:spPr/>
        <p:txBody>
          <a:bodyPr/>
          <a:lstStyle/>
          <a:p>
            <a:r>
              <a:rPr lang="en-US" dirty="0"/>
              <a:t>… SAREF is people!</a:t>
            </a:r>
          </a:p>
        </p:txBody>
      </p:sp>
      <p:sp>
        <p:nvSpPr>
          <p:cNvPr id="4" name="Slide Number Placeholder 3">
            <a:extLst>
              <a:ext uri="{FF2B5EF4-FFF2-40B4-BE49-F238E27FC236}">
                <a16:creationId xmlns:a16="http://schemas.microsoft.com/office/drawing/2014/main" id="{0BC0E82D-E994-409C-ADF9-120374BDE6FD}"/>
              </a:ext>
            </a:extLst>
          </p:cNvPr>
          <p:cNvSpPr>
            <a:spLocks noGrp="1"/>
          </p:cNvSpPr>
          <p:nvPr>
            <p:ph type="sldNum" sz="quarter" idx="4"/>
          </p:nvPr>
        </p:nvSpPr>
        <p:spPr/>
        <p:txBody>
          <a:bodyPr/>
          <a:lstStyle/>
          <a:p>
            <a:fld id="{EBC262BB-4310-134F-8D24-58475080D942}" type="slidenum">
              <a:rPr lang="en-US" smtClean="0"/>
              <a:pPr/>
              <a:t>30</a:t>
            </a:fld>
            <a:endParaRPr lang="en-US" dirty="0"/>
          </a:p>
        </p:txBody>
      </p:sp>
      <p:grpSp>
        <p:nvGrpSpPr>
          <p:cNvPr id="3" name="Group 2"/>
          <p:cNvGrpSpPr/>
          <p:nvPr/>
        </p:nvGrpSpPr>
        <p:grpSpPr>
          <a:xfrm>
            <a:off x="950533" y="1651504"/>
            <a:ext cx="5613203" cy="4453082"/>
            <a:chOff x="950533" y="1046197"/>
            <a:chExt cx="6411451" cy="5086350"/>
          </a:xfrm>
        </p:grpSpPr>
        <p:pic>
          <p:nvPicPr>
            <p:cNvPr id="6" name="Picture 5">
              <a:extLst>
                <a:ext uri="{FF2B5EF4-FFF2-40B4-BE49-F238E27FC236}">
                  <a16:creationId xmlns:a16="http://schemas.microsoft.com/office/drawing/2014/main" id="{4E8FA422-73A2-416C-A55C-A71CEEA573B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0533" y="1046197"/>
              <a:ext cx="5086350" cy="5086350"/>
            </a:xfrm>
            <a:prstGeom prst="rect">
              <a:avLst/>
            </a:prstGeom>
          </p:spPr>
        </p:pic>
        <p:pic>
          <p:nvPicPr>
            <p:cNvPr id="7" name="Picture 6">
              <a:extLst>
                <a:ext uri="{FF2B5EF4-FFF2-40B4-BE49-F238E27FC236}">
                  <a16:creationId xmlns:a16="http://schemas.microsoft.com/office/drawing/2014/main" id="{60B1D6C1-983C-48C8-9ECB-9916458ED86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04526" y="3060700"/>
              <a:ext cx="1200804" cy="1250949"/>
            </a:xfrm>
            <a:prstGeom prst="rect">
              <a:avLst/>
            </a:prstGeom>
          </p:spPr>
        </p:pic>
        <p:pic>
          <p:nvPicPr>
            <p:cNvPr id="8" name="Picture 7">
              <a:extLst>
                <a:ext uri="{FF2B5EF4-FFF2-40B4-BE49-F238E27FC236}">
                  <a16:creationId xmlns:a16="http://schemas.microsoft.com/office/drawing/2014/main" id="{970D1A84-AEE8-46E8-8EE8-39F6C8A1328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46541" y="1093780"/>
              <a:ext cx="1272564" cy="1890666"/>
            </a:xfrm>
            <a:prstGeom prst="rect">
              <a:avLst/>
            </a:prstGeom>
          </p:spPr>
        </p:pic>
        <p:pic>
          <p:nvPicPr>
            <p:cNvPr id="9" name="Picture 8">
              <a:extLst>
                <a:ext uri="{FF2B5EF4-FFF2-40B4-BE49-F238E27FC236}">
                  <a16:creationId xmlns:a16="http://schemas.microsoft.com/office/drawing/2014/main" id="{73DAFC0E-AC33-4A90-B387-56F68831C9F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33841" y="4371024"/>
              <a:ext cx="1328143" cy="1712000"/>
            </a:xfrm>
            <a:prstGeom prst="rect">
              <a:avLst/>
            </a:prstGeom>
          </p:spPr>
        </p:pic>
      </p:grpSp>
      <p:sp>
        <p:nvSpPr>
          <p:cNvPr id="10" name="Text Placeholder 5">
            <a:extLst>
              <a:ext uri="{FF2B5EF4-FFF2-40B4-BE49-F238E27FC236}">
                <a16:creationId xmlns:a16="http://schemas.microsoft.com/office/drawing/2014/main" id="{FA073468-6822-4926-ADFF-43EB81727B77}"/>
              </a:ext>
            </a:extLst>
          </p:cNvPr>
          <p:cNvSpPr txBox="1">
            <a:spLocks/>
          </p:cNvSpPr>
          <p:nvPr/>
        </p:nvSpPr>
        <p:spPr>
          <a:xfrm>
            <a:off x="7160654" y="2430550"/>
            <a:ext cx="2972618" cy="2215991"/>
          </a:xfrm>
          <a:prstGeom prst="rect">
            <a:avLst/>
          </a:prstGeom>
        </p:spPr>
        <p:txBody>
          <a:bodyPr wrap="square" lIns="0" tIns="0" rIns="0" bIns="0">
            <a:spAutoFit/>
          </a:bodyPr>
          <a:lstStyle>
            <a:lvl1pPr marL="342900" marR="0" indent="-342900" algn="l" defTabSz="914400" rtl="0" eaLnBrk="1" fontAlgn="auto" latinLnBrk="0" hangingPunct="1">
              <a:lnSpc>
                <a:spcPct val="100000"/>
              </a:lnSpc>
              <a:spcBef>
                <a:spcPts val="2200"/>
              </a:spcBef>
              <a:spcAft>
                <a:spcPts val="0"/>
              </a:spcAft>
              <a:buClr>
                <a:srgbClr val="EDAE00"/>
              </a:buClr>
              <a:buSzTx/>
              <a:buFont typeface="Arial" charset="0"/>
              <a:buChar char="•"/>
              <a:tabLst/>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charset="0"/>
              <a:buNone/>
            </a:pPr>
            <a:r>
              <a:rPr lang="en-US" sz="1600" dirty="0"/>
              <a:t>I used a free tool that allows a limited number of pics…and I had limited time to browse for people’s pics on the web…but there are many more faces behind SAREF than the ones you </a:t>
            </a:r>
            <a:br>
              <a:rPr lang="en-US" sz="1600" dirty="0"/>
            </a:br>
            <a:r>
              <a:rPr lang="en-US" sz="1600" dirty="0"/>
              <a:t>can see here! </a:t>
            </a:r>
          </a:p>
        </p:txBody>
      </p:sp>
      <p:sp>
        <p:nvSpPr>
          <p:cNvPr id="11" name="Text Placeholder 5">
            <a:extLst>
              <a:ext uri="{FF2B5EF4-FFF2-40B4-BE49-F238E27FC236}">
                <a16:creationId xmlns:a16="http://schemas.microsoft.com/office/drawing/2014/main" id="{A845CBAA-B94C-4C02-BB0C-07E1D449B9F2}"/>
              </a:ext>
            </a:extLst>
          </p:cNvPr>
          <p:cNvSpPr txBox="1">
            <a:spLocks/>
          </p:cNvSpPr>
          <p:nvPr/>
        </p:nvSpPr>
        <p:spPr>
          <a:xfrm>
            <a:off x="7160654" y="1651504"/>
            <a:ext cx="2972618" cy="615553"/>
          </a:xfrm>
          <a:prstGeom prst="rect">
            <a:avLst/>
          </a:prstGeom>
        </p:spPr>
        <p:txBody>
          <a:bodyPr wrap="square" lIns="0" tIns="0" rIns="0" bIns="0">
            <a:spAutoFit/>
          </a:bodyPr>
          <a:lstStyle>
            <a:lvl1pPr marL="342900" marR="0" indent="-342900" algn="l" defTabSz="914400" rtl="0" eaLnBrk="1" fontAlgn="auto" latinLnBrk="0" hangingPunct="1">
              <a:lnSpc>
                <a:spcPct val="100000"/>
              </a:lnSpc>
              <a:spcBef>
                <a:spcPts val="2200"/>
              </a:spcBef>
              <a:spcAft>
                <a:spcPts val="0"/>
              </a:spcAft>
              <a:buClr>
                <a:srgbClr val="EDAE00"/>
              </a:buClr>
              <a:buSzTx/>
              <a:buFont typeface="Arial" charset="0"/>
              <a:buChar char="•"/>
              <a:tabLst/>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charset="0"/>
              <a:buNone/>
            </a:pPr>
            <a:r>
              <a:rPr lang="en-US" b="1" dirty="0">
                <a:solidFill>
                  <a:schemeClr val="tx2"/>
                </a:solidFill>
              </a:rPr>
              <a:t>Committed, driven, passionate people</a:t>
            </a:r>
          </a:p>
        </p:txBody>
      </p:sp>
      <p:cxnSp>
        <p:nvCxnSpPr>
          <p:cNvPr id="14" name="Straight Connector 13"/>
          <p:cNvCxnSpPr/>
          <p:nvPr/>
        </p:nvCxnSpPr>
        <p:spPr>
          <a:xfrm>
            <a:off x="7160653" y="2314640"/>
            <a:ext cx="2972618" cy="0"/>
          </a:xfrm>
          <a:prstGeom prst="line">
            <a:avLst/>
          </a:prstGeom>
        </p:spPr>
        <p:style>
          <a:lnRef idx="1">
            <a:schemeClr val="accent1"/>
          </a:lnRef>
          <a:fillRef idx="0">
            <a:schemeClr val="accent1"/>
          </a:fillRef>
          <a:effectRef idx="0">
            <a:schemeClr val="accent1"/>
          </a:effectRef>
          <a:fontRef idx="minor">
            <a:schemeClr val="tx1"/>
          </a:fontRef>
        </p:style>
      </p:cxnSp>
      <p:pic>
        <p:nvPicPr>
          <p:cNvPr id="16" name="Picture 1" descr="image002">
            <a:extLst>
              <a:ext uri="{FF2B5EF4-FFF2-40B4-BE49-F238E27FC236}">
                <a16:creationId xmlns:a16="http://schemas.microsoft.com/office/drawing/2014/main" id="{2ABB324A-AE2A-4D47-9D7F-AC777666729C}"/>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451160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B71C370-D5AD-4285-B597-DF811FF69E0D}"/>
              </a:ext>
            </a:extLst>
          </p:cNvPr>
          <p:cNvSpPr>
            <a:spLocks noGrp="1"/>
          </p:cNvSpPr>
          <p:nvPr>
            <p:ph type="body" sz="quarter" idx="11"/>
          </p:nvPr>
        </p:nvSpPr>
        <p:spPr/>
        <p:txBody>
          <a:bodyPr/>
          <a:lstStyle/>
          <a:p>
            <a:r>
              <a:rPr lang="en-US" dirty="0"/>
              <a:t>People that together went through</a:t>
            </a:r>
            <a:br>
              <a:rPr lang="en-US" dirty="0"/>
            </a:br>
            <a:r>
              <a:rPr lang="en-US" dirty="0"/>
              <a:t>a long way…</a:t>
            </a:r>
          </a:p>
        </p:txBody>
      </p:sp>
      <p:sp>
        <p:nvSpPr>
          <p:cNvPr id="4" name="Slide Number Placeholder 3">
            <a:extLst>
              <a:ext uri="{FF2B5EF4-FFF2-40B4-BE49-F238E27FC236}">
                <a16:creationId xmlns:a16="http://schemas.microsoft.com/office/drawing/2014/main" id="{0BC0E82D-E994-409C-ADF9-120374BDE6FD}"/>
              </a:ext>
            </a:extLst>
          </p:cNvPr>
          <p:cNvSpPr>
            <a:spLocks noGrp="1"/>
          </p:cNvSpPr>
          <p:nvPr>
            <p:ph type="sldNum" sz="quarter" idx="4"/>
          </p:nvPr>
        </p:nvSpPr>
        <p:spPr/>
        <p:txBody>
          <a:bodyPr/>
          <a:lstStyle/>
          <a:p>
            <a:fld id="{EBC262BB-4310-134F-8D24-58475080D942}" type="slidenum">
              <a:rPr lang="en-US" smtClean="0"/>
              <a:pPr/>
              <a:t>31</a:t>
            </a:fld>
            <a:endParaRPr lang="en-US" dirty="0"/>
          </a:p>
        </p:txBody>
      </p:sp>
      <p:sp>
        <p:nvSpPr>
          <p:cNvPr id="96" name="Rectangle 62">
            <a:extLst>
              <a:ext uri="{FF2B5EF4-FFF2-40B4-BE49-F238E27FC236}">
                <a16:creationId xmlns:a16="http://schemas.microsoft.com/office/drawing/2014/main" id="{0150C155-3C45-4E6D-9E89-98D5D4F2E1B8}"/>
              </a:ext>
            </a:extLst>
          </p:cNvPr>
          <p:cNvSpPr/>
          <p:nvPr/>
        </p:nvSpPr>
        <p:spPr>
          <a:xfrm>
            <a:off x="8862860" y="4170531"/>
            <a:ext cx="2929242" cy="1723549"/>
          </a:xfrm>
          <a:prstGeom prst="rect">
            <a:avLst/>
          </a:prstGeom>
          <a:solidFill>
            <a:schemeClr val="bg1"/>
          </a:solidFill>
        </p:spPr>
        <p:txBody>
          <a:bodyPr wrap="square" lIns="0" tIns="0" rIns="0" bIns="0">
            <a:spAutoFit/>
          </a:bodyPr>
          <a:lstStyle/>
          <a:p>
            <a:r>
              <a:rPr lang="en-US" sz="800" dirty="0">
                <a:solidFill>
                  <a:prstClr val="black">
                    <a:lumMod val="65000"/>
                    <a:lumOff val="35000"/>
                  </a:prstClr>
                </a:solidFill>
                <a:cs typeface="Calibri" panose="020F0502020204030204" pitchFamily="34" charset="0"/>
              </a:rPr>
              <a:t>Updated version of SAREF (v3)</a:t>
            </a:r>
            <a:endParaRPr lang="en-US" sz="800" dirty="0">
              <a:solidFill>
                <a:prstClr val="black">
                  <a:lumMod val="75000"/>
                  <a:lumOff val="25000"/>
                </a:prstClr>
              </a:solidFill>
              <a:cs typeface="Calibri" panose="020F0502020204030204" pitchFamily="34" charset="0"/>
            </a:endParaRPr>
          </a:p>
          <a:p>
            <a:pPr marL="182880" indent="-91440">
              <a:buClr>
                <a:schemeClr val="tx2"/>
              </a:buClr>
              <a:buFont typeface="Arial" charset="0"/>
              <a:buChar char="•"/>
            </a:pPr>
            <a:r>
              <a:rPr lang="en-US" sz="800" dirty="0"/>
              <a:t>SAREF </a:t>
            </a:r>
            <a:r>
              <a:rPr lang="en-US" sz="800" dirty="0">
                <a:sym typeface="Wingdings" panose="05000000000000000000" pitchFamily="2" charset="2"/>
              </a:rPr>
              <a:t> </a:t>
            </a:r>
            <a:r>
              <a:rPr lang="en-US" sz="800" dirty="0"/>
              <a:t>S</a:t>
            </a:r>
            <a:r>
              <a:rPr lang="en-US" sz="800" dirty="0">
                <a:sym typeface="Wingdings" panose="05000000000000000000" pitchFamily="2" charset="2"/>
              </a:rPr>
              <a:t>mart Applications REFerence ontology (not anymore Smart Appliances REFerence ontology)</a:t>
            </a:r>
            <a:endParaRPr lang="en-US" sz="800" dirty="0"/>
          </a:p>
          <a:p>
            <a:pPr defTabSz="914400"/>
            <a:endParaRPr lang="en-US" sz="800" dirty="0">
              <a:solidFill>
                <a:prstClr val="black">
                  <a:lumMod val="75000"/>
                  <a:lumOff val="25000"/>
                </a:prstClr>
              </a:solidFill>
              <a:cs typeface="Calibri" panose="020F0502020204030204" pitchFamily="34" charset="0"/>
            </a:endParaRPr>
          </a:p>
          <a:p>
            <a:pPr defTabSz="914400"/>
            <a:r>
              <a:rPr lang="en-US" sz="800" dirty="0">
                <a:solidFill>
                  <a:prstClr val="black">
                    <a:lumMod val="75000"/>
                    <a:lumOff val="25000"/>
                  </a:prstClr>
                </a:solidFill>
                <a:cs typeface="Calibri" panose="020F0502020204030204" pitchFamily="34" charset="0"/>
              </a:rPr>
              <a:t>STF 566 (</a:t>
            </a:r>
            <a:r>
              <a:rPr lang="en-US" sz="800" dirty="0">
                <a:solidFill>
                  <a:prstClr val="black">
                    <a:lumMod val="75000"/>
                    <a:lumOff val="25000"/>
                  </a:prstClr>
                </a:solidFill>
              </a:rPr>
              <a:t>European Commission &amp; ETSI EC SmartM2M) </a:t>
            </a:r>
            <a:endParaRPr lang="en-US" sz="800" dirty="0">
              <a:solidFill>
                <a:prstClr val="black">
                  <a:lumMod val="75000"/>
                  <a:lumOff val="25000"/>
                </a:prstClr>
              </a:solidFill>
              <a:cs typeface="Calibri" panose="020F0502020204030204" pitchFamily="34" charset="0"/>
            </a:endParaRPr>
          </a:p>
          <a:p>
            <a:pPr marL="182880" indent="-91440">
              <a:buClr>
                <a:schemeClr val="tx2"/>
              </a:buClr>
              <a:buFont typeface="Arial" charset="0"/>
              <a:buChar char="•"/>
            </a:pPr>
            <a:r>
              <a:rPr lang="en-US" sz="800" dirty="0"/>
              <a:t>Publication of 4 new SAREF extensions  (SAREF4Automotive, SAREF4Water, SAREF4Health, SAREF4Wearables)</a:t>
            </a:r>
          </a:p>
          <a:p>
            <a:endParaRPr lang="en-US" sz="800" dirty="0">
              <a:solidFill>
                <a:prstClr val="black">
                  <a:lumMod val="65000"/>
                  <a:lumOff val="35000"/>
                </a:prstClr>
              </a:solidFill>
              <a:cs typeface="Calibri" panose="020F0502020204030204" pitchFamily="34" charset="0"/>
            </a:endParaRPr>
          </a:p>
          <a:p>
            <a:r>
              <a:rPr lang="en-US" sz="800" dirty="0">
                <a:solidFill>
                  <a:prstClr val="black">
                    <a:lumMod val="75000"/>
                    <a:lumOff val="25000"/>
                  </a:prstClr>
                </a:solidFill>
                <a:cs typeface="Calibri" panose="020F0502020204030204" pitchFamily="34" charset="0"/>
              </a:rPr>
              <a:t>STF 578 (</a:t>
            </a:r>
            <a:r>
              <a:rPr lang="en-US" sz="800" dirty="0">
                <a:solidFill>
                  <a:prstClr val="black">
                    <a:lumMod val="75000"/>
                    <a:lumOff val="25000"/>
                  </a:prstClr>
                </a:solidFill>
              </a:rPr>
              <a:t>ETSI TC SmartM2M &amp; European Commission) </a:t>
            </a:r>
            <a:endParaRPr lang="en-US" sz="800" dirty="0">
              <a:solidFill>
                <a:prstClr val="black">
                  <a:lumMod val="75000"/>
                  <a:lumOff val="25000"/>
                </a:prstClr>
              </a:solidFill>
              <a:cs typeface="Calibri" panose="020F0502020204030204" pitchFamily="34" charset="0"/>
            </a:endParaRPr>
          </a:p>
          <a:p>
            <a:pPr marL="182880" indent="-91440">
              <a:buClr>
                <a:schemeClr val="tx2"/>
              </a:buClr>
              <a:buFont typeface="Arial" charset="0"/>
              <a:buChar char="•"/>
            </a:pPr>
            <a:r>
              <a:rPr lang="en-US" sz="800" dirty="0"/>
              <a:t>SAREF community portal (</a:t>
            </a:r>
            <a:r>
              <a:rPr lang="nl-NL" sz="800" dirty="0">
                <a:hlinkClick r:id="rId3"/>
              </a:rPr>
              <a:t>https://saref.etsi.org/</a:t>
            </a:r>
            <a:r>
              <a:rPr lang="nl-NL" sz="800" dirty="0"/>
              <a:t>)</a:t>
            </a:r>
            <a:endParaRPr lang="en-US" sz="800" dirty="0"/>
          </a:p>
          <a:p>
            <a:pPr marL="182880" indent="-91440">
              <a:buClr>
                <a:schemeClr val="tx2"/>
              </a:buClr>
              <a:buFont typeface="Arial" charset="0"/>
              <a:buChar char="•"/>
            </a:pPr>
            <a:endParaRPr lang="en-US" sz="800" dirty="0"/>
          </a:p>
        </p:txBody>
      </p:sp>
      <p:cxnSp>
        <p:nvCxnSpPr>
          <p:cNvPr id="50" name="Straight Connector 43">
            <a:extLst>
              <a:ext uri="{FF2B5EF4-FFF2-40B4-BE49-F238E27FC236}">
                <a16:creationId xmlns:a16="http://schemas.microsoft.com/office/drawing/2014/main" id="{1ECF2C72-0EDD-472C-8ED2-3E547E018D38}"/>
              </a:ext>
            </a:extLst>
          </p:cNvPr>
          <p:cNvCxnSpPr>
            <a:cxnSpLocks/>
          </p:cNvCxnSpPr>
          <p:nvPr/>
        </p:nvCxnSpPr>
        <p:spPr>
          <a:xfrm>
            <a:off x="10010617" y="3599189"/>
            <a:ext cx="1247931" cy="0"/>
          </a:xfrm>
          <a:prstGeom prst="line">
            <a:avLst/>
          </a:prstGeom>
          <a:noFill/>
          <a:ln w="38100" cap="flat" cmpd="sng" algn="ctr">
            <a:solidFill>
              <a:sysClr val="window" lastClr="FFFFFF">
                <a:lumMod val="50000"/>
              </a:sysClr>
            </a:solidFill>
            <a:prstDash val="dash"/>
          </a:ln>
          <a:effectLst/>
        </p:spPr>
      </p:cxnSp>
      <p:cxnSp>
        <p:nvCxnSpPr>
          <p:cNvPr id="54" name="Straight Connector 44">
            <a:extLst>
              <a:ext uri="{FF2B5EF4-FFF2-40B4-BE49-F238E27FC236}">
                <a16:creationId xmlns:a16="http://schemas.microsoft.com/office/drawing/2014/main" id="{6069E1C8-E9D3-4E6F-98DE-4F640D3A5304}"/>
              </a:ext>
            </a:extLst>
          </p:cNvPr>
          <p:cNvCxnSpPr>
            <a:cxnSpLocks/>
          </p:cNvCxnSpPr>
          <p:nvPr/>
        </p:nvCxnSpPr>
        <p:spPr>
          <a:xfrm>
            <a:off x="1001210" y="3598828"/>
            <a:ext cx="9045067" cy="0"/>
          </a:xfrm>
          <a:prstGeom prst="line">
            <a:avLst/>
          </a:prstGeom>
          <a:noFill/>
          <a:ln w="38100" cap="flat" cmpd="sng" algn="ctr">
            <a:solidFill>
              <a:sysClr val="window" lastClr="FFFFFF">
                <a:lumMod val="50000"/>
              </a:sysClr>
            </a:solidFill>
            <a:prstDash val="solid"/>
          </a:ln>
          <a:effectLst/>
        </p:spPr>
      </p:cxnSp>
      <p:sp>
        <p:nvSpPr>
          <p:cNvPr id="57" name="Oval 47">
            <a:extLst>
              <a:ext uri="{FF2B5EF4-FFF2-40B4-BE49-F238E27FC236}">
                <a16:creationId xmlns:a16="http://schemas.microsoft.com/office/drawing/2014/main" id="{E4348D5B-D8B6-4F6C-A04E-7934D27668D3}"/>
              </a:ext>
            </a:extLst>
          </p:cNvPr>
          <p:cNvSpPr>
            <a:spLocks/>
          </p:cNvSpPr>
          <p:nvPr/>
        </p:nvSpPr>
        <p:spPr>
          <a:xfrm>
            <a:off x="1001211" y="3546635"/>
            <a:ext cx="118872" cy="118872"/>
          </a:xfrm>
          <a:prstGeom prst="ellipse">
            <a:avLst/>
          </a:prstGeom>
          <a:solidFill>
            <a:sysClr val="window" lastClr="FFFFFF"/>
          </a:solidFill>
          <a:ln w="38100" cap="flat" cmpd="sng" algn="ctr">
            <a:solidFill>
              <a:srgbClr val="F79646">
                <a:lumMod val="75000"/>
              </a:srgbClr>
            </a:solidFill>
            <a:prstDash val="solid"/>
          </a:ln>
          <a:effectLst/>
        </p:spPr>
        <p:txBody>
          <a:bodyPr rtlCol="0" anchor="ctr"/>
          <a:lstStyle/>
          <a:p>
            <a:pPr algn="ctr">
              <a:defRPr/>
            </a:pPr>
            <a:endParaRPr lang="en-US" kern="0" dirty="0">
              <a:solidFill>
                <a:prstClr val="white"/>
              </a:solidFill>
              <a:latin typeface="Calibri"/>
            </a:endParaRPr>
          </a:p>
        </p:txBody>
      </p:sp>
      <p:sp>
        <p:nvSpPr>
          <p:cNvPr id="59" name="Rectangle 49">
            <a:extLst>
              <a:ext uri="{FF2B5EF4-FFF2-40B4-BE49-F238E27FC236}">
                <a16:creationId xmlns:a16="http://schemas.microsoft.com/office/drawing/2014/main" id="{CD143121-6E12-4B74-A81B-00C229185FD7}"/>
              </a:ext>
            </a:extLst>
          </p:cNvPr>
          <p:cNvSpPr/>
          <p:nvPr/>
        </p:nvSpPr>
        <p:spPr>
          <a:xfrm>
            <a:off x="1001211" y="3198596"/>
            <a:ext cx="470248" cy="288147"/>
          </a:xfrm>
          <a:prstGeom prst="rect">
            <a:avLst/>
          </a:prstGeom>
          <a:solidFill>
            <a:sysClr val="window" lastClr="FFFFFF"/>
          </a:solidFill>
          <a:ln w="25400" cap="flat" cmpd="sng" algn="ctr">
            <a:noFill/>
            <a:prstDash val="solid"/>
          </a:ln>
          <a:effectLst/>
        </p:spPr>
        <p:txBody>
          <a:bodyPr wrap="none" lIns="36000" tIns="36000" rIns="36000" bIns="36000" rtlCol="0" anchor="ctr">
            <a:spAutoFit/>
          </a:bodyPr>
          <a:lstStyle/>
          <a:p>
            <a:pPr algn="ctr">
              <a:defRPr/>
            </a:pPr>
            <a:r>
              <a:rPr lang="en-US" sz="1400" b="1" kern="0" dirty="0">
                <a:solidFill>
                  <a:srgbClr val="F79646">
                    <a:lumMod val="75000"/>
                  </a:srgbClr>
                </a:solidFill>
                <a:latin typeface="Helvetica Neue" charset="0"/>
                <a:ea typeface="Helvetica Neue" charset="0"/>
                <a:cs typeface="Helvetica Neue" charset="0"/>
              </a:rPr>
              <a:t>2013</a:t>
            </a:r>
          </a:p>
        </p:txBody>
      </p:sp>
      <p:sp>
        <p:nvSpPr>
          <p:cNvPr id="60" name="Rectangle 50">
            <a:extLst>
              <a:ext uri="{FF2B5EF4-FFF2-40B4-BE49-F238E27FC236}">
                <a16:creationId xmlns:a16="http://schemas.microsoft.com/office/drawing/2014/main" id="{6CEC1D7A-DE1A-4C82-AE3D-8C629F4C7119}"/>
              </a:ext>
            </a:extLst>
          </p:cNvPr>
          <p:cNvSpPr/>
          <p:nvPr/>
        </p:nvSpPr>
        <p:spPr>
          <a:xfrm>
            <a:off x="996289" y="2154022"/>
            <a:ext cx="1427597" cy="984885"/>
          </a:xfrm>
          <a:prstGeom prst="rect">
            <a:avLst/>
          </a:prstGeom>
        </p:spPr>
        <p:txBody>
          <a:bodyPr wrap="square" lIns="0" tIns="0" rIns="0" bIns="0">
            <a:spAutoFit/>
          </a:bodyPr>
          <a:lstStyle/>
          <a:p>
            <a:r>
              <a:rPr lang="en-US" sz="800" dirty="0">
                <a:solidFill>
                  <a:prstClr val="black">
                    <a:lumMod val="75000"/>
                    <a:lumOff val="25000"/>
                  </a:prstClr>
                </a:solidFill>
              </a:rPr>
              <a:t>SMART 2013/007 study launched by European Commission &amp; ETSI TC SmartM2M</a:t>
            </a:r>
          </a:p>
          <a:p>
            <a:pPr marL="182880" indent="-91440">
              <a:buClr>
                <a:schemeClr val="tx2"/>
              </a:buClr>
              <a:buFont typeface="Arial" charset="0"/>
              <a:buChar char="•"/>
            </a:pPr>
            <a:r>
              <a:rPr lang="en-US" sz="800" dirty="0"/>
              <a:t>Agreed semantics for smart appliances</a:t>
            </a:r>
          </a:p>
          <a:p>
            <a:pPr marL="182880" indent="-91440">
              <a:buClr>
                <a:schemeClr val="tx2"/>
              </a:buClr>
              <a:buFont typeface="Arial" charset="0"/>
              <a:buChar char="•"/>
            </a:pPr>
            <a:r>
              <a:rPr lang="en-US" sz="800" dirty="0"/>
              <a:t>Build a reference ontology</a:t>
            </a:r>
          </a:p>
        </p:txBody>
      </p:sp>
      <p:sp>
        <p:nvSpPr>
          <p:cNvPr id="61" name="Oval 51">
            <a:extLst>
              <a:ext uri="{FF2B5EF4-FFF2-40B4-BE49-F238E27FC236}">
                <a16:creationId xmlns:a16="http://schemas.microsoft.com/office/drawing/2014/main" id="{01966F20-56C8-4B62-A526-98881A3D3DC3}"/>
              </a:ext>
            </a:extLst>
          </p:cNvPr>
          <p:cNvSpPr>
            <a:spLocks/>
          </p:cNvSpPr>
          <p:nvPr/>
        </p:nvSpPr>
        <p:spPr>
          <a:xfrm>
            <a:off x="2074555" y="3546635"/>
            <a:ext cx="118872" cy="118872"/>
          </a:xfrm>
          <a:prstGeom prst="ellipse">
            <a:avLst/>
          </a:prstGeom>
          <a:solidFill>
            <a:sysClr val="window" lastClr="FFFFFF"/>
          </a:solidFill>
          <a:ln w="38100" cap="flat" cmpd="sng" algn="ctr">
            <a:solidFill>
              <a:srgbClr val="9BBB59">
                <a:lumMod val="75000"/>
              </a:srgbClr>
            </a:solidFill>
            <a:prstDash val="solid"/>
          </a:ln>
          <a:effectLst/>
        </p:spPr>
        <p:txBody>
          <a:bodyPr rtlCol="0" anchor="ctr"/>
          <a:lstStyle/>
          <a:p>
            <a:pPr algn="ctr">
              <a:defRPr/>
            </a:pPr>
            <a:endParaRPr lang="en-US" kern="0" dirty="0">
              <a:solidFill>
                <a:prstClr val="white"/>
              </a:solidFill>
              <a:latin typeface="Calibri"/>
            </a:endParaRPr>
          </a:p>
        </p:txBody>
      </p:sp>
      <p:sp>
        <p:nvSpPr>
          <p:cNvPr id="63" name="Rectangle 53">
            <a:extLst>
              <a:ext uri="{FF2B5EF4-FFF2-40B4-BE49-F238E27FC236}">
                <a16:creationId xmlns:a16="http://schemas.microsoft.com/office/drawing/2014/main" id="{EC223CFC-F61C-4E18-9BC4-8AD1709F5D19}"/>
              </a:ext>
            </a:extLst>
          </p:cNvPr>
          <p:cNvSpPr/>
          <p:nvPr/>
        </p:nvSpPr>
        <p:spPr>
          <a:xfrm>
            <a:off x="1898867" y="3764913"/>
            <a:ext cx="470248" cy="288147"/>
          </a:xfrm>
          <a:prstGeom prst="rect">
            <a:avLst/>
          </a:prstGeom>
          <a:solidFill>
            <a:sysClr val="window" lastClr="FFFFFF"/>
          </a:solidFill>
          <a:ln w="25400" cap="flat" cmpd="sng" algn="ctr">
            <a:noFill/>
            <a:prstDash val="solid"/>
          </a:ln>
          <a:effectLst/>
        </p:spPr>
        <p:txBody>
          <a:bodyPr wrap="none" lIns="36000" tIns="36000" rIns="36000" bIns="36000" rtlCol="0" anchor="ctr">
            <a:spAutoFit/>
          </a:bodyPr>
          <a:lstStyle/>
          <a:p>
            <a:pPr algn="ctr">
              <a:defRPr/>
            </a:pPr>
            <a:r>
              <a:rPr lang="en-US" sz="1400" b="1" kern="0" dirty="0">
                <a:solidFill>
                  <a:srgbClr val="9BBB59">
                    <a:lumMod val="75000"/>
                  </a:srgbClr>
                </a:solidFill>
                <a:latin typeface="Helvetica Neue" charset="0"/>
                <a:ea typeface="Helvetica Neue" charset="0"/>
                <a:cs typeface="Helvetica Neue" charset="0"/>
              </a:rPr>
              <a:t>2014</a:t>
            </a:r>
          </a:p>
        </p:txBody>
      </p:sp>
      <p:sp>
        <p:nvSpPr>
          <p:cNvPr id="64" name="Rectangle 54">
            <a:extLst>
              <a:ext uri="{FF2B5EF4-FFF2-40B4-BE49-F238E27FC236}">
                <a16:creationId xmlns:a16="http://schemas.microsoft.com/office/drawing/2014/main" id="{BD2645FE-6E66-436D-A4E3-5F66AF547607}"/>
              </a:ext>
            </a:extLst>
          </p:cNvPr>
          <p:cNvSpPr/>
          <p:nvPr/>
        </p:nvSpPr>
        <p:spPr>
          <a:xfrm>
            <a:off x="1613124" y="4170531"/>
            <a:ext cx="1041735" cy="369332"/>
          </a:xfrm>
          <a:prstGeom prst="rect">
            <a:avLst/>
          </a:prstGeom>
        </p:spPr>
        <p:txBody>
          <a:bodyPr wrap="square" lIns="0" tIns="0" rIns="0" bIns="0">
            <a:noAutofit/>
          </a:bodyPr>
          <a:lstStyle/>
          <a:p>
            <a:pPr algn="ctr"/>
            <a:r>
              <a:rPr lang="en-US" sz="800" dirty="0">
                <a:solidFill>
                  <a:prstClr val="black">
                    <a:lumMod val="75000"/>
                    <a:lumOff val="25000"/>
                  </a:prstClr>
                </a:solidFill>
              </a:rPr>
              <a:t>SMART 2013/0077 study conducted by TNO</a:t>
            </a:r>
          </a:p>
        </p:txBody>
      </p:sp>
      <p:sp>
        <p:nvSpPr>
          <p:cNvPr id="65" name="Oval 55">
            <a:extLst>
              <a:ext uri="{FF2B5EF4-FFF2-40B4-BE49-F238E27FC236}">
                <a16:creationId xmlns:a16="http://schemas.microsoft.com/office/drawing/2014/main" id="{8C23288B-9CCF-44EA-8C9D-5C48421E3609}"/>
              </a:ext>
            </a:extLst>
          </p:cNvPr>
          <p:cNvSpPr>
            <a:spLocks/>
          </p:cNvSpPr>
          <p:nvPr/>
        </p:nvSpPr>
        <p:spPr>
          <a:xfrm>
            <a:off x="3147899" y="3546635"/>
            <a:ext cx="118872" cy="118872"/>
          </a:xfrm>
          <a:prstGeom prst="ellipse">
            <a:avLst/>
          </a:prstGeom>
          <a:solidFill>
            <a:sysClr val="window" lastClr="FFFFFF"/>
          </a:solidFill>
          <a:ln w="38100" cap="flat" cmpd="sng" algn="ctr">
            <a:solidFill>
              <a:srgbClr val="7030A0"/>
            </a:solidFill>
            <a:prstDash val="solid"/>
          </a:ln>
          <a:effectLst/>
        </p:spPr>
        <p:txBody>
          <a:bodyPr rtlCol="0" anchor="ctr"/>
          <a:lstStyle/>
          <a:p>
            <a:pPr algn="ctr">
              <a:defRPr/>
            </a:pPr>
            <a:endParaRPr lang="en-US" kern="0" dirty="0">
              <a:solidFill>
                <a:prstClr val="white"/>
              </a:solidFill>
              <a:latin typeface="Calibri"/>
            </a:endParaRPr>
          </a:p>
        </p:txBody>
      </p:sp>
      <p:sp>
        <p:nvSpPr>
          <p:cNvPr id="67" name="Rectangle 57">
            <a:extLst>
              <a:ext uri="{FF2B5EF4-FFF2-40B4-BE49-F238E27FC236}">
                <a16:creationId xmlns:a16="http://schemas.microsoft.com/office/drawing/2014/main" id="{C0C4C348-BB40-455C-A5A4-40310746DAE1}"/>
              </a:ext>
            </a:extLst>
          </p:cNvPr>
          <p:cNvSpPr/>
          <p:nvPr/>
        </p:nvSpPr>
        <p:spPr>
          <a:xfrm>
            <a:off x="2469397" y="2769575"/>
            <a:ext cx="1475876" cy="369332"/>
          </a:xfrm>
          <a:prstGeom prst="rect">
            <a:avLst/>
          </a:prstGeom>
        </p:spPr>
        <p:txBody>
          <a:bodyPr wrap="square" lIns="0" tIns="0" rIns="0" bIns="0">
            <a:spAutoFit/>
          </a:bodyPr>
          <a:lstStyle/>
          <a:p>
            <a:pPr algn="ctr"/>
            <a:r>
              <a:rPr lang="en-US" sz="800" dirty="0">
                <a:solidFill>
                  <a:prstClr val="black">
                    <a:lumMod val="75000"/>
                    <a:lumOff val="25000"/>
                  </a:prstClr>
                </a:solidFill>
              </a:rPr>
              <a:t>Publication of SAREF (v1) as ETSI </a:t>
            </a:r>
          </a:p>
          <a:p>
            <a:pPr algn="ctr"/>
            <a:r>
              <a:rPr lang="en-US" sz="800" dirty="0">
                <a:solidFill>
                  <a:prstClr val="black">
                    <a:lumMod val="75000"/>
                    <a:lumOff val="25000"/>
                  </a:prstClr>
                </a:solidFill>
              </a:rPr>
              <a:t>TS 103 264   </a:t>
            </a:r>
          </a:p>
        </p:txBody>
      </p:sp>
      <p:sp>
        <p:nvSpPr>
          <p:cNvPr id="68" name="Rectangle 58">
            <a:extLst>
              <a:ext uri="{FF2B5EF4-FFF2-40B4-BE49-F238E27FC236}">
                <a16:creationId xmlns:a16="http://schemas.microsoft.com/office/drawing/2014/main" id="{50397559-6E41-4BBB-9577-4164EB12B363}"/>
              </a:ext>
            </a:extLst>
          </p:cNvPr>
          <p:cNvSpPr/>
          <p:nvPr/>
        </p:nvSpPr>
        <p:spPr>
          <a:xfrm>
            <a:off x="2972210" y="3198596"/>
            <a:ext cx="470249" cy="288147"/>
          </a:xfrm>
          <a:prstGeom prst="rect">
            <a:avLst/>
          </a:prstGeom>
          <a:solidFill>
            <a:sysClr val="window" lastClr="FFFFFF"/>
          </a:solidFill>
          <a:ln w="25400" cap="flat" cmpd="sng" algn="ctr">
            <a:noFill/>
            <a:prstDash val="solid"/>
          </a:ln>
          <a:effectLst/>
        </p:spPr>
        <p:txBody>
          <a:bodyPr wrap="none" lIns="36000" tIns="36000" rIns="36000" bIns="36000" rtlCol="0" anchor="ctr">
            <a:spAutoFit/>
          </a:bodyPr>
          <a:lstStyle/>
          <a:p>
            <a:pPr algn="ctr">
              <a:defRPr/>
            </a:pPr>
            <a:r>
              <a:rPr lang="en-US" sz="1400" b="1" kern="0" dirty="0">
                <a:solidFill>
                  <a:srgbClr val="7030A0"/>
                </a:solidFill>
                <a:latin typeface="Helvetica Neue" charset="0"/>
                <a:ea typeface="Helvetica Neue" charset="0"/>
                <a:cs typeface="Helvetica Neue" charset="0"/>
              </a:rPr>
              <a:t>2015</a:t>
            </a:r>
          </a:p>
        </p:txBody>
      </p:sp>
      <p:sp>
        <p:nvSpPr>
          <p:cNvPr id="69" name="Oval 59">
            <a:extLst>
              <a:ext uri="{FF2B5EF4-FFF2-40B4-BE49-F238E27FC236}">
                <a16:creationId xmlns:a16="http://schemas.microsoft.com/office/drawing/2014/main" id="{7CE92919-AB44-4504-A5C1-AB538654F3FA}"/>
              </a:ext>
            </a:extLst>
          </p:cNvPr>
          <p:cNvSpPr>
            <a:spLocks/>
          </p:cNvSpPr>
          <p:nvPr/>
        </p:nvSpPr>
        <p:spPr>
          <a:xfrm>
            <a:off x="5294587" y="3546635"/>
            <a:ext cx="118872" cy="118872"/>
          </a:xfrm>
          <a:prstGeom prst="ellipse">
            <a:avLst/>
          </a:prstGeom>
          <a:solidFill>
            <a:sysClr val="window" lastClr="FFFFFF"/>
          </a:solidFill>
          <a:ln w="38100" cap="flat" cmpd="sng" algn="ctr">
            <a:solidFill>
              <a:srgbClr val="4BACC6">
                <a:lumMod val="75000"/>
              </a:srgbClr>
            </a:solidFill>
            <a:prstDash val="solid"/>
          </a:ln>
          <a:effectLst/>
        </p:spPr>
        <p:txBody>
          <a:bodyPr rtlCol="0" anchor="ctr"/>
          <a:lstStyle/>
          <a:p>
            <a:pPr algn="ctr">
              <a:defRPr/>
            </a:pPr>
            <a:endParaRPr lang="en-US" kern="0" dirty="0">
              <a:ln>
                <a:solidFill>
                  <a:srgbClr val="C0504D">
                    <a:lumMod val="75000"/>
                  </a:srgbClr>
                </a:solidFill>
              </a:ln>
              <a:solidFill>
                <a:prstClr val="white"/>
              </a:solidFill>
              <a:latin typeface="Calibri"/>
            </a:endParaRPr>
          </a:p>
        </p:txBody>
      </p:sp>
      <p:sp>
        <p:nvSpPr>
          <p:cNvPr id="71" name="Rectangle 61">
            <a:extLst>
              <a:ext uri="{FF2B5EF4-FFF2-40B4-BE49-F238E27FC236}">
                <a16:creationId xmlns:a16="http://schemas.microsoft.com/office/drawing/2014/main" id="{79F89FF8-144F-4FD1-A220-DE4E0954D6D8}"/>
              </a:ext>
            </a:extLst>
          </p:cNvPr>
          <p:cNvSpPr/>
          <p:nvPr/>
        </p:nvSpPr>
        <p:spPr>
          <a:xfrm>
            <a:off x="5118899" y="3198596"/>
            <a:ext cx="470248" cy="288147"/>
          </a:xfrm>
          <a:prstGeom prst="rect">
            <a:avLst/>
          </a:prstGeom>
          <a:solidFill>
            <a:sysClr val="window" lastClr="FFFFFF"/>
          </a:solidFill>
          <a:ln w="25400" cap="flat" cmpd="sng" algn="ctr">
            <a:noFill/>
            <a:prstDash val="solid"/>
          </a:ln>
          <a:effectLst/>
        </p:spPr>
        <p:txBody>
          <a:bodyPr wrap="none" lIns="36000" tIns="36000" rIns="36000" bIns="36000" rtlCol="0" anchor="ctr">
            <a:spAutoFit/>
          </a:bodyPr>
          <a:lstStyle/>
          <a:p>
            <a:pPr algn="ctr">
              <a:defRPr/>
            </a:pPr>
            <a:r>
              <a:rPr lang="en-US" sz="1400" b="1" kern="0" dirty="0">
                <a:solidFill>
                  <a:srgbClr val="4BACC6">
                    <a:lumMod val="75000"/>
                  </a:srgbClr>
                </a:solidFill>
                <a:latin typeface="Helvetica Neue" charset="0"/>
                <a:ea typeface="Helvetica Neue" charset="0"/>
                <a:cs typeface="Helvetica Neue" charset="0"/>
              </a:rPr>
              <a:t>2017</a:t>
            </a:r>
          </a:p>
        </p:txBody>
      </p:sp>
      <p:sp>
        <p:nvSpPr>
          <p:cNvPr id="72" name="Rectangle 62">
            <a:extLst>
              <a:ext uri="{FF2B5EF4-FFF2-40B4-BE49-F238E27FC236}">
                <a16:creationId xmlns:a16="http://schemas.microsoft.com/office/drawing/2014/main" id="{CB93E789-0C63-4116-9526-09747931E6B9}"/>
              </a:ext>
            </a:extLst>
          </p:cNvPr>
          <p:cNvSpPr/>
          <p:nvPr/>
        </p:nvSpPr>
        <p:spPr>
          <a:xfrm>
            <a:off x="4059565" y="2769575"/>
            <a:ext cx="2588915" cy="369332"/>
          </a:xfrm>
          <a:prstGeom prst="rect">
            <a:avLst/>
          </a:prstGeom>
        </p:spPr>
        <p:txBody>
          <a:bodyPr wrap="square" lIns="0" tIns="0" rIns="0" bIns="0">
            <a:spAutoFit/>
          </a:bodyPr>
          <a:lstStyle/>
          <a:p>
            <a:r>
              <a:rPr lang="en-US" sz="800" dirty="0">
                <a:solidFill>
                  <a:prstClr val="black">
                    <a:lumMod val="75000"/>
                    <a:lumOff val="25000"/>
                  </a:prstClr>
                </a:solidFill>
                <a:cs typeface="Calibri" panose="020F0502020204030204" pitchFamily="34" charset="0"/>
              </a:rPr>
              <a:t>STF 513 (</a:t>
            </a:r>
            <a:r>
              <a:rPr lang="en-US" sz="800" dirty="0">
                <a:solidFill>
                  <a:prstClr val="black">
                    <a:lumMod val="75000"/>
                    <a:lumOff val="25000"/>
                  </a:prstClr>
                </a:solidFill>
              </a:rPr>
              <a:t>ETSI TC SmartM2M &amp; EC) </a:t>
            </a:r>
            <a:endParaRPr lang="en-US" sz="800" dirty="0">
              <a:solidFill>
                <a:prstClr val="black">
                  <a:lumMod val="75000"/>
                  <a:lumOff val="25000"/>
                </a:prstClr>
              </a:solidFill>
              <a:cs typeface="Calibri" panose="020F0502020204030204" pitchFamily="34" charset="0"/>
            </a:endParaRPr>
          </a:p>
          <a:p>
            <a:pPr marL="182880" indent="-91440">
              <a:buClr>
                <a:schemeClr val="tx2"/>
              </a:buClr>
              <a:buFont typeface="Arial" charset="0"/>
              <a:buChar char="•"/>
            </a:pPr>
            <a:r>
              <a:rPr lang="en-US" sz="800" dirty="0"/>
              <a:t>Publication of first 3 SAREF extensions (SAREF4ENER, SAREF4ENVI, SAREF4BLDG)</a:t>
            </a:r>
          </a:p>
        </p:txBody>
      </p:sp>
      <p:sp>
        <p:nvSpPr>
          <p:cNvPr id="73" name="Oval 64">
            <a:extLst>
              <a:ext uri="{FF2B5EF4-FFF2-40B4-BE49-F238E27FC236}">
                <a16:creationId xmlns:a16="http://schemas.microsoft.com/office/drawing/2014/main" id="{25D8B06D-A063-4336-A524-EC1C4C10E20D}"/>
              </a:ext>
            </a:extLst>
          </p:cNvPr>
          <p:cNvSpPr>
            <a:spLocks/>
          </p:cNvSpPr>
          <p:nvPr/>
        </p:nvSpPr>
        <p:spPr>
          <a:xfrm>
            <a:off x="9587961" y="3546635"/>
            <a:ext cx="118872" cy="118872"/>
          </a:xfrm>
          <a:prstGeom prst="ellipse">
            <a:avLst/>
          </a:prstGeom>
          <a:solidFill>
            <a:sysClr val="window" lastClr="FFFFFF"/>
          </a:solidFill>
          <a:ln w="38100" cap="flat" cmpd="sng" algn="ctr">
            <a:solidFill>
              <a:srgbClr val="1F497D"/>
            </a:solidFill>
            <a:prstDash val="solid"/>
          </a:ln>
          <a:effectLst/>
        </p:spPr>
        <p:txBody>
          <a:bodyPr rtlCol="0" anchor="ctr"/>
          <a:lstStyle/>
          <a:p>
            <a:pPr algn="ctr">
              <a:defRPr/>
            </a:pPr>
            <a:endParaRPr lang="en-US" kern="0" dirty="0">
              <a:solidFill>
                <a:prstClr val="white"/>
              </a:solidFill>
              <a:latin typeface="Calibri"/>
            </a:endParaRPr>
          </a:p>
        </p:txBody>
      </p:sp>
      <p:sp>
        <p:nvSpPr>
          <p:cNvPr id="75" name="Rectangle 67">
            <a:extLst>
              <a:ext uri="{FF2B5EF4-FFF2-40B4-BE49-F238E27FC236}">
                <a16:creationId xmlns:a16="http://schemas.microsoft.com/office/drawing/2014/main" id="{B52958F1-A563-44EA-9B40-2E0CD337D5D9}"/>
              </a:ext>
            </a:extLst>
          </p:cNvPr>
          <p:cNvSpPr/>
          <p:nvPr/>
        </p:nvSpPr>
        <p:spPr>
          <a:xfrm>
            <a:off x="9412274" y="3762504"/>
            <a:ext cx="470248" cy="288147"/>
          </a:xfrm>
          <a:prstGeom prst="rect">
            <a:avLst/>
          </a:prstGeom>
          <a:solidFill>
            <a:sysClr val="window" lastClr="FFFFFF"/>
          </a:solidFill>
          <a:ln w="25400" cap="flat" cmpd="sng" algn="ctr">
            <a:noFill/>
            <a:prstDash val="solid"/>
          </a:ln>
          <a:effectLst/>
        </p:spPr>
        <p:txBody>
          <a:bodyPr wrap="none" lIns="36000" tIns="36000" rIns="36000" bIns="36000" rtlCol="0" anchor="ctr">
            <a:spAutoFit/>
          </a:bodyPr>
          <a:lstStyle/>
          <a:p>
            <a:pPr algn="ctr">
              <a:defRPr/>
            </a:pPr>
            <a:r>
              <a:rPr lang="en-US" sz="1400" b="1" kern="0" dirty="0">
                <a:solidFill>
                  <a:srgbClr val="1F497D"/>
                </a:solidFill>
                <a:latin typeface="Helvetica Neue" charset="0"/>
                <a:ea typeface="Helvetica Neue" charset="0"/>
                <a:cs typeface="Helvetica Neue" charset="0"/>
              </a:rPr>
              <a:t>2020</a:t>
            </a:r>
          </a:p>
        </p:txBody>
      </p:sp>
      <p:sp>
        <p:nvSpPr>
          <p:cNvPr id="76" name="Oval 68">
            <a:extLst>
              <a:ext uri="{FF2B5EF4-FFF2-40B4-BE49-F238E27FC236}">
                <a16:creationId xmlns:a16="http://schemas.microsoft.com/office/drawing/2014/main" id="{214CE2F4-4A23-4722-A5E4-EEDF78EA8E82}"/>
              </a:ext>
            </a:extLst>
          </p:cNvPr>
          <p:cNvSpPr>
            <a:spLocks/>
          </p:cNvSpPr>
          <p:nvPr/>
        </p:nvSpPr>
        <p:spPr>
          <a:xfrm>
            <a:off x="6367931" y="3546635"/>
            <a:ext cx="118872" cy="118872"/>
          </a:xfrm>
          <a:prstGeom prst="ellipse">
            <a:avLst/>
          </a:prstGeom>
          <a:solidFill>
            <a:sysClr val="window" lastClr="FFFFFF"/>
          </a:solidFill>
          <a:ln w="38100" cap="flat" cmpd="sng" algn="ctr">
            <a:solidFill>
              <a:srgbClr val="FC5954"/>
            </a:solidFill>
            <a:prstDash val="solid"/>
          </a:ln>
          <a:effectLst/>
        </p:spPr>
        <p:txBody>
          <a:bodyPr rtlCol="0" anchor="ctr"/>
          <a:lstStyle/>
          <a:p>
            <a:pPr algn="ctr">
              <a:defRPr/>
            </a:pPr>
            <a:endParaRPr lang="en-US" kern="0" dirty="0">
              <a:solidFill>
                <a:prstClr val="white"/>
              </a:solidFill>
              <a:latin typeface="Calibri"/>
            </a:endParaRPr>
          </a:p>
        </p:txBody>
      </p:sp>
      <p:sp>
        <p:nvSpPr>
          <p:cNvPr id="78" name="Rectangle 71">
            <a:extLst>
              <a:ext uri="{FF2B5EF4-FFF2-40B4-BE49-F238E27FC236}">
                <a16:creationId xmlns:a16="http://schemas.microsoft.com/office/drawing/2014/main" id="{EEC524D8-ED9B-4403-86F6-6B2F7A3768B6}"/>
              </a:ext>
            </a:extLst>
          </p:cNvPr>
          <p:cNvSpPr/>
          <p:nvPr/>
        </p:nvSpPr>
        <p:spPr>
          <a:xfrm>
            <a:off x="6192243" y="3749075"/>
            <a:ext cx="470248" cy="288147"/>
          </a:xfrm>
          <a:prstGeom prst="rect">
            <a:avLst/>
          </a:prstGeom>
          <a:solidFill>
            <a:sysClr val="window" lastClr="FFFFFF"/>
          </a:solidFill>
          <a:ln w="25400" cap="flat" cmpd="sng" algn="ctr">
            <a:noFill/>
            <a:prstDash val="solid"/>
          </a:ln>
          <a:effectLst/>
        </p:spPr>
        <p:txBody>
          <a:bodyPr wrap="none" lIns="36000" tIns="36000" rIns="36000" bIns="36000" rtlCol="0" anchor="ctr">
            <a:spAutoFit/>
          </a:bodyPr>
          <a:lstStyle/>
          <a:p>
            <a:pPr algn="ctr">
              <a:defRPr/>
            </a:pPr>
            <a:r>
              <a:rPr lang="en-US" sz="1400" b="1" kern="0" dirty="0">
                <a:solidFill>
                  <a:srgbClr val="FC5954"/>
                </a:solidFill>
                <a:latin typeface="Helvetica Neue" charset="0"/>
                <a:ea typeface="Helvetica Neue" charset="0"/>
                <a:cs typeface="Helvetica Neue" charset="0"/>
              </a:rPr>
              <a:t>2017</a:t>
            </a:r>
          </a:p>
        </p:txBody>
      </p:sp>
      <p:sp>
        <p:nvSpPr>
          <p:cNvPr id="79" name="Oval 72">
            <a:extLst>
              <a:ext uri="{FF2B5EF4-FFF2-40B4-BE49-F238E27FC236}">
                <a16:creationId xmlns:a16="http://schemas.microsoft.com/office/drawing/2014/main" id="{63F762DE-DC7D-474D-8345-2A612D909EE8}"/>
              </a:ext>
            </a:extLst>
          </p:cNvPr>
          <p:cNvSpPr>
            <a:spLocks/>
          </p:cNvSpPr>
          <p:nvPr/>
        </p:nvSpPr>
        <p:spPr>
          <a:xfrm>
            <a:off x="8514619" y="3546635"/>
            <a:ext cx="118872" cy="118872"/>
          </a:xfrm>
          <a:prstGeom prst="ellipse">
            <a:avLst/>
          </a:prstGeom>
          <a:solidFill>
            <a:sysClr val="window" lastClr="FFFFFF"/>
          </a:solidFill>
          <a:ln w="38100" cap="flat" cmpd="sng" algn="ctr">
            <a:solidFill>
              <a:srgbClr val="E7C60C"/>
            </a:solidFill>
            <a:prstDash val="solid"/>
          </a:ln>
          <a:effectLst/>
        </p:spPr>
        <p:txBody>
          <a:bodyPr rtlCol="0" anchor="ctr"/>
          <a:lstStyle/>
          <a:p>
            <a:pPr algn="ctr">
              <a:defRPr/>
            </a:pPr>
            <a:endParaRPr lang="en-US" kern="0" dirty="0">
              <a:ln>
                <a:solidFill>
                  <a:srgbClr val="C0504D">
                    <a:lumMod val="75000"/>
                  </a:srgbClr>
                </a:solidFill>
              </a:ln>
              <a:solidFill>
                <a:srgbClr val="E7C60C"/>
              </a:solidFill>
              <a:latin typeface="Calibri"/>
            </a:endParaRPr>
          </a:p>
        </p:txBody>
      </p:sp>
      <p:sp>
        <p:nvSpPr>
          <p:cNvPr id="81" name="Rectangle 74">
            <a:extLst>
              <a:ext uri="{FF2B5EF4-FFF2-40B4-BE49-F238E27FC236}">
                <a16:creationId xmlns:a16="http://schemas.microsoft.com/office/drawing/2014/main" id="{58B4CD55-BFE0-403E-AC4F-E28AF54FE7D0}"/>
              </a:ext>
            </a:extLst>
          </p:cNvPr>
          <p:cNvSpPr/>
          <p:nvPr/>
        </p:nvSpPr>
        <p:spPr>
          <a:xfrm>
            <a:off x="8338931" y="3198596"/>
            <a:ext cx="470248" cy="288147"/>
          </a:xfrm>
          <a:prstGeom prst="rect">
            <a:avLst/>
          </a:prstGeom>
          <a:solidFill>
            <a:sysClr val="window" lastClr="FFFFFF"/>
          </a:solidFill>
          <a:ln w="25400" cap="flat" cmpd="sng" algn="ctr">
            <a:noFill/>
            <a:prstDash val="solid"/>
          </a:ln>
          <a:effectLst/>
        </p:spPr>
        <p:txBody>
          <a:bodyPr wrap="none" lIns="36000" tIns="36000" rIns="36000" bIns="36000" rtlCol="0" anchor="ctr">
            <a:spAutoFit/>
          </a:bodyPr>
          <a:lstStyle/>
          <a:p>
            <a:pPr algn="ctr">
              <a:defRPr/>
            </a:pPr>
            <a:r>
              <a:rPr lang="en-US" sz="1400" b="1" kern="0" dirty="0">
                <a:solidFill>
                  <a:srgbClr val="E7C60C"/>
                </a:solidFill>
                <a:latin typeface="Helvetica Neue" charset="0"/>
                <a:ea typeface="Helvetica Neue" charset="0"/>
                <a:cs typeface="Helvetica Neue" charset="0"/>
              </a:rPr>
              <a:t>2019</a:t>
            </a:r>
          </a:p>
        </p:txBody>
      </p:sp>
      <p:sp>
        <p:nvSpPr>
          <p:cNvPr id="82" name="Oval 59">
            <a:extLst>
              <a:ext uri="{FF2B5EF4-FFF2-40B4-BE49-F238E27FC236}">
                <a16:creationId xmlns:a16="http://schemas.microsoft.com/office/drawing/2014/main" id="{CC20F9D3-C30D-49DF-A56E-30FF32FEA0C8}"/>
              </a:ext>
            </a:extLst>
          </p:cNvPr>
          <p:cNvSpPr>
            <a:spLocks/>
          </p:cNvSpPr>
          <p:nvPr/>
        </p:nvSpPr>
        <p:spPr>
          <a:xfrm>
            <a:off x="4221243" y="3546635"/>
            <a:ext cx="118872" cy="118872"/>
          </a:xfrm>
          <a:prstGeom prst="ellipse">
            <a:avLst/>
          </a:prstGeom>
          <a:solidFill>
            <a:sysClr val="window" lastClr="FFFFFF"/>
          </a:solidFill>
          <a:ln w="38100" cap="flat" cmpd="sng" algn="ctr">
            <a:solidFill>
              <a:srgbClr val="FB138D"/>
            </a:solidFill>
            <a:prstDash val="solid"/>
          </a:ln>
          <a:effectLst/>
        </p:spPr>
        <p:txBody>
          <a:bodyPr rtlCol="0" anchor="ctr"/>
          <a:lstStyle/>
          <a:p>
            <a:pPr algn="ctr">
              <a:defRPr/>
            </a:pPr>
            <a:endParaRPr lang="en-US" kern="0" dirty="0">
              <a:ln>
                <a:solidFill>
                  <a:srgbClr val="C0504D">
                    <a:lumMod val="75000"/>
                  </a:srgbClr>
                </a:solidFill>
              </a:ln>
              <a:solidFill>
                <a:prstClr val="white"/>
              </a:solidFill>
              <a:latin typeface="Calibri"/>
            </a:endParaRPr>
          </a:p>
        </p:txBody>
      </p:sp>
      <p:sp>
        <p:nvSpPr>
          <p:cNvPr id="84" name="Rectangle 61">
            <a:extLst>
              <a:ext uri="{FF2B5EF4-FFF2-40B4-BE49-F238E27FC236}">
                <a16:creationId xmlns:a16="http://schemas.microsoft.com/office/drawing/2014/main" id="{5295F75F-8550-47B9-8F2B-0EFC0412EFB1}"/>
              </a:ext>
            </a:extLst>
          </p:cNvPr>
          <p:cNvSpPr/>
          <p:nvPr/>
        </p:nvSpPr>
        <p:spPr>
          <a:xfrm>
            <a:off x="4045555" y="3710362"/>
            <a:ext cx="470248" cy="288147"/>
          </a:xfrm>
          <a:prstGeom prst="rect">
            <a:avLst/>
          </a:prstGeom>
          <a:solidFill>
            <a:sysClr val="window" lastClr="FFFFFF"/>
          </a:solidFill>
          <a:ln w="25400" cap="flat" cmpd="sng" algn="ctr">
            <a:noFill/>
            <a:prstDash val="solid"/>
          </a:ln>
          <a:effectLst/>
        </p:spPr>
        <p:txBody>
          <a:bodyPr wrap="none" lIns="36000" tIns="36000" rIns="36000" bIns="36000" rtlCol="0" anchor="ctr">
            <a:spAutoFit/>
          </a:bodyPr>
          <a:lstStyle/>
          <a:p>
            <a:pPr algn="ctr">
              <a:defRPr/>
            </a:pPr>
            <a:r>
              <a:rPr lang="en-US" sz="1400" b="1" kern="0" dirty="0">
                <a:solidFill>
                  <a:srgbClr val="FB138D"/>
                </a:solidFill>
                <a:latin typeface="Helvetica Neue" charset="0"/>
                <a:ea typeface="Helvetica Neue" charset="0"/>
                <a:cs typeface="Helvetica Neue" charset="0"/>
              </a:rPr>
              <a:t>2016</a:t>
            </a:r>
          </a:p>
        </p:txBody>
      </p:sp>
      <p:sp>
        <p:nvSpPr>
          <p:cNvPr id="85" name="Rectangle 75">
            <a:extLst>
              <a:ext uri="{FF2B5EF4-FFF2-40B4-BE49-F238E27FC236}">
                <a16:creationId xmlns:a16="http://schemas.microsoft.com/office/drawing/2014/main" id="{5DFDC7D8-58A6-40C0-BA7A-8F14D12B58BC}"/>
              </a:ext>
            </a:extLst>
          </p:cNvPr>
          <p:cNvSpPr/>
          <p:nvPr/>
        </p:nvSpPr>
        <p:spPr>
          <a:xfrm>
            <a:off x="3275011" y="4556572"/>
            <a:ext cx="2011335" cy="492443"/>
          </a:xfrm>
          <a:prstGeom prst="rect">
            <a:avLst/>
          </a:prstGeom>
        </p:spPr>
        <p:txBody>
          <a:bodyPr wrap="square" lIns="0" tIns="0" rIns="0" bIns="0">
            <a:spAutoFit/>
          </a:bodyPr>
          <a:lstStyle/>
          <a:p>
            <a:pPr defTabSz="457200"/>
            <a:r>
              <a:rPr lang="en-US" sz="800" dirty="0">
                <a:solidFill>
                  <a:prstClr val="black">
                    <a:lumMod val="75000"/>
                    <a:lumOff val="25000"/>
                  </a:prstClr>
                </a:solidFill>
                <a:cs typeface="Calibri" panose="020F0502020204030204" pitchFamily="34" charset="0"/>
              </a:rPr>
              <a:t>Follow-up SMART 2016/0082 study launched by European Commission:</a:t>
            </a:r>
          </a:p>
          <a:p>
            <a:pPr marL="182880" indent="-91440">
              <a:buClr>
                <a:schemeClr val="tx2"/>
              </a:buClr>
              <a:buFont typeface="Arial" charset="0"/>
              <a:buChar char="•"/>
            </a:pPr>
            <a:r>
              <a:rPr lang="en-US" sz="800" dirty="0"/>
              <a:t>Interoperability for Demand Side Flexibility (DSF)</a:t>
            </a:r>
          </a:p>
        </p:txBody>
      </p:sp>
      <p:sp>
        <p:nvSpPr>
          <p:cNvPr id="86" name="Rectangle 75">
            <a:extLst>
              <a:ext uri="{FF2B5EF4-FFF2-40B4-BE49-F238E27FC236}">
                <a16:creationId xmlns:a16="http://schemas.microsoft.com/office/drawing/2014/main" id="{534ADEFA-8533-4736-AF8F-B1D3C3BAEFA7}"/>
              </a:ext>
            </a:extLst>
          </p:cNvPr>
          <p:cNvSpPr/>
          <p:nvPr/>
        </p:nvSpPr>
        <p:spPr>
          <a:xfrm>
            <a:off x="5748493" y="4170531"/>
            <a:ext cx="1357749" cy="492443"/>
          </a:xfrm>
          <a:prstGeom prst="rect">
            <a:avLst/>
          </a:prstGeom>
        </p:spPr>
        <p:txBody>
          <a:bodyPr wrap="square" lIns="0" tIns="0" rIns="0" bIns="0">
            <a:noAutofit/>
          </a:bodyPr>
          <a:lstStyle/>
          <a:p>
            <a:pPr algn="ctr" defTabSz="457200"/>
            <a:r>
              <a:rPr lang="en-US" sz="800" dirty="0">
                <a:solidFill>
                  <a:prstClr val="black">
                    <a:lumMod val="75000"/>
                    <a:lumOff val="25000"/>
                  </a:prstClr>
                </a:solidFill>
                <a:cs typeface="Calibri" panose="020F0502020204030204" pitchFamily="34" charset="0"/>
              </a:rPr>
              <a:t>SMART 2016/0082 interop demo DSF @European Commission based on SAREF4ENER </a:t>
            </a:r>
          </a:p>
        </p:txBody>
      </p:sp>
      <p:sp>
        <p:nvSpPr>
          <p:cNvPr id="87" name="Rectangle 62">
            <a:extLst>
              <a:ext uri="{FF2B5EF4-FFF2-40B4-BE49-F238E27FC236}">
                <a16:creationId xmlns:a16="http://schemas.microsoft.com/office/drawing/2014/main" id="{E9EC65FB-35D7-485F-9C1B-D5A1E645F54F}"/>
              </a:ext>
            </a:extLst>
          </p:cNvPr>
          <p:cNvSpPr/>
          <p:nvPr/>
        </p:nvSpPr>
        <p:spPr>
          <a:xfrm>
            <a:off x="7265587" y="2284684"/>
            <a:ext cx="3646520" cy="854223"/>
          </a:xfrm>
          <a:prstGeom prst="rect">
            <a:avLst/>
          </a:prstGeom>
        </p:spPr>
        <p:txBody>
          <a:bodyPr wrap="square" lIns="0" tIns="0" rIns="0" bIns="0">
            <a:noAutofit/>
          </a:bodyPr>
          <a:lstStyle/>
          <a:p>
            <a:r>
              <a:rPr lang="en-US" sz="800" dirty="0">
                <a:solidFill>
                  <a:prstClr val="black">
                    <a:lumMod val="75000"/>
                    <a:lumOff val="25000"/>
                  </a:prstClr>
                </a:solidFill>
                <a:cs typeface="Calibri" panose="020F0502020204030204" pitchFamily="34" charset="0"/>
              </a:rPr>
              <a:t>STF 534 (</a:t>
            </a:r>
            <a:r>
              <a:rPr lang="en-US" sz="800" dirty="0">
                <a:solidFill>
                  <a:prstClr val="black">
                    <a:lumMod val="75000"/>
                    <a:lumOff val="25000"/>
                  </a:prstClr>
                </a:solidFill>
              </a:rPr>
              <a:t>ETSI TC SmartM2M &amp; European Commission) </a:t>
            </a:r>
            <a:endParaRPr lang="en-US" sz="800" dirty="0">
              <a:solidFill>
                <a:prstClr val="black">
                  <a:lumMod val="75000"/>
                  <a:lumOff val="25000"/>
                </a:prstClr>
              </a:solidFill>
              <a:cs typeface="Calibri" panose="020F0502020204030204" pitchFamily="34" charset="0"/>
            </a:endParaRPr>
          </a:p>
          <a:p>
            <a:pPr marL="182880" indent="-91440">
              <a:buClr>
                <a:schemeClr val="tx2"/>
              </a:buClr>
              <a:buFont typeface="Arial" charset="0"/>
              <a:buChar char="•"/>
            </a:pPr>
            <a:r>
              <a:rPr lang="en-US" sz="800" dirty="0"/>
              <a:t>Publication of 3 new SAREF extensions (SAREF4CITY, SAREF4INMA, SAREF4AGRI)</a:t>
            </a:r>
          </a:p>
          <a:p>
            <a:pPr marL="285750" indent="-285750" defTabSz="457200">
              <a:buFont typeface="Arial" charset="0"/>
              <a:buChar char="•"/>
            </a:pPr>
            <a:endParaRPr lang="en-US" sz="800" dirty="0">
              <a:solidFill>
                <a:prstClr val="black">
                  <a:lumMod val="65000"/>
                  <a:lumOff val="35000"/>
                </a:prstClr>
              </a:solidFill>
              <a:cs typeface="Calibri" panose="020F0502020204030204" pitchFamily="34" charset="0"/>
            </a:endParaRPr>
          </a:p>
          <a:p>
            <a:r>
              <a:rPr lang="en-US" sz="800" dirty="0">
                <a:solidFill>
                  <a:prstClr val="black">
                    <a:lumMod val="75000"/>
                    <a:lumOff val="25000"/>
                  </a:prstClr>
                </a:solidFill>
                <a:cs typeface="Calibri" panose="020F0502020204030204" pitchFamily="34" charset="0"/>
              </a:rPr>
              <a:t>STF 556 (</a:t>
            </a:r>
            <a:r>
              <a:rPr lang="en-US" sz="800" dirty="0">
                <a:solidFill>
                  <a:prstClr val="black">
                    <a:lumMod val="75000"/>
                    <a:lumOff val="25000"/>
                  </a:prstClr>
                </a:solidFill>
              </a:rPr>
              <a:t>ETSI TC SmartM2M &amp; European Commission) </a:t>
            </a:r>
            <a:endParaRPr lang="en-US" sz="800" dirty="0">
              <a:solidFill>
                <a:prstClr val="black">
                  <a:lumMod val="75000"/>
                  <a:lumOff val="25000"/>
                </a:prstClr>
              </a:solidFill>
              <a:cs typeface="Calibri" panose="020F0502020204030204" pitchFamily="34" charset="0"/>
            </a:endParaRPr>
          </a:p>
          <a:p>
            <a:pPr marL="182880" indent="-91440">
              <a:buClr>
                <a:schemeClr val="tx2"/>
              </a:buClr>
              <a:buFont typeface="Arial" charset="0"/>
              <a:buChar char="•"/>
            </a:pPr>
            <a:r>
              <a:rPr lang="en-US" sz="800" dirty="0"/>
              <a:t>SAREF publication framework: a uniform documentation website for SAREF and its extensions  (prototype)</a:t>
            </a:r>
          </a:p>
          <a:p>
            <a:pPr marL="182880" indent="-91440">
              <a:buClr>
                <a:schemeClr val="tx2"/>
              </a:buClr>
              <a:buFont typeface="Arial" charset="0"/>
              <a:buChar char="•"/>
            </a:pPr>
            <a:endParaRPr lang="en-US" sz="800" dirty="0"/>
          </a:p>
        </p:txBody>
      </p:sp>
      <p:sp>
        <p:nvSpPr>
          <p:cNvPr id="89" name="Rectangle 62">
            <a:extLst>
              <a:ext uri="{FF2B5EF4-FFF2-40B4-BE49-F238E27FC236}">
                <a16:creationId xmlns:a16="http://schemas.microsoft.com/office/drawing/2014/main" id="{E3E01570-9703-41B6-98A1-54F16E700CFF}"/>
              </a:ext>
            </a:extLst>
          </p:cNvPr>
          <p:cNvSpPr/>
          <p:nvPr/>
        </p:nvSpPr>
        <p:spPr>
          <a:xfrm>
            <a:off x="4882633" y="3765367"/>
            <a:ext cx="942781" cy="246221"/>
          </a:xfrm>
          <a:prstGeom prst="rect">
            <a:avLst/>
          </a:prstGeom>
        </p:spPr>
        <p:txBody>
          <a:bodyPr wrap="square" lIns="0" tIns="0" rIns="0" bIns="0">
            <a:noAutofit/>
          </a:bodyPr>
          <a:lstStyle/>
          <a:p>
            <a:pPr algn="ctr" defTabSz="457200"/>
            <a:r>
              <a:rPr lang="en-US" sz="800" dirty="0">
                <a:solidFill>
                  <a:prstClr val="black">
                    <a:lumMod val="75000"/>
                    <a:lumOff val="25000"/>
                  </a:prstClr>
                </a:solidFill>
                <a:cs typeface="Calibri" panose="020F0502020204030204" pitchFamily="34" charset="0"/>
              </a:rPr>
              <a:t>Updated version of SAREF (v2)               </a:t>
            </a:r>
          </a:p>
        </p:txBody>
      </p:sp>
      <p:sp>
        <p:nvSpPr>
          <p:cNvPr id="111" name="Oval 72">
            <a:extLst>
              <a:ext uri="{FF2B5EF4-FFF2-40B4-BE49-F238E27FC236}">
                <a16:creationId xmlns:a16="http://schemas.microsoft.com/office/drawing/2014/main" id="{A84ECCB0-15E7-4E1E-B15A-B123A3138D9C}"/>
              </a:ext>
            </a:extLst>
          </p:cNvPr>
          <p:cNvSpPr>
            <a:spLocks/>
          </p:cNvSpPr>
          <p:nvPr/>
        </p:nvSpPr>
        <p:spPr>
          <a:xfrm>
            <a:off x="7441275" y="3546635"/>
            <a:ext cx="118872" cy="118872"/>
          </a:xfrm>
          <a:prstGeom prst="ellipse">
            <a:avLst/>
          </a:prstGeom>
          <a:solidFill>
            <a:sysClr val="window" lastClr="FFFFFF"/>
          </a:solidFill>
          <a:ln w="38100" cap="flat" cmpd="sng" algn="ctr">
            <a:solidFill>
              <a:srgbClr val="F47B1E"/>
            </a:solidFill>
            <a:prstDash val="solid"/>
          </a:ln>
          <a:effectLst/>
        </p:spPr>
        <p:txBody>
          <a:bodyPr rtlCol="0" anchor="ctr"/>
          <a:lstStyle/>
          <a:p>
            <a:pPr algn="ctr">
              <a:defRPr/>
            </a:pPr>
            <a:endParaRPr lang="en-US" kern="0" dirty="0">
              <a:ln>
                <a:solidFill>
                  <a:srgbClr val="C0504D">
                    <a:lumMod val="75000"/>
                  </a:srgbClr>
                </a:solidFill>
              </a:ln>
              <a:solidFill>
                <a:srgbClr val="E7C60C"/>
              </a:solidFill>
              <a:latin typeface="Calibri"/>
            </a:endParaRPr>
          </a:p>
        </p:txBody>
      </p:sp>
      <p:sp>
        <p:nvSpPr>
          <p:cNvPr id="113" name="Rectangle 74">
            <a:extLst>
              <a:ext uri="{FF2B5EF4-FFF2-40B4-BE49-F238E27FC236}">
                <a16:creationId xmlns:a16="http://schemas.microsoft.com/office/drawing/2014/main" id="{ECCC1BC8-FC0F-4F62-8FCA-C90D74A74C0C}"/>
              </a:ext>
            </a:extLst>
          </p:cNvPr>
          <p:cNvSpPr/>
          <p:nvPr/>
        </p:nvSpPr>
        <p:spPr>
          <a:xfrm>
            <a:off x="7265587" y="3198596"/>
            <a:ext cx="470248" cy="288147"/>
          </a:xfrm>
          <a:prstGeom prst="rect">
            <a:avLst/>
          </a:prstGeom>
          <a:solidFill>
            <a:sysClr val="window" lastClr="FFFFFF"/>
          </a:solidFill>
          <a:ln w="25400" cap="flat" cmpd="sng" algn="ctr">
            <a:noFill/>
            <a:prstDash val="solid"/>
          </a:ln>
          <a:effectLst/>
        </p:spPr>
        <p:txBody>
          <a:bodyPr wrap="none" lIns="36000" tIns="36000" rIns="36000" bIns="36000" rtlCol="0" anchor="ctr">
            <a:spAutoFit/>
          </a:bodyPr>
          <a:lstStyle/>
          <a:p>
            <a:pPr algn="ctr">
              <a:defRPr/>
            </a:pPr>
            <a:r>
              <a:rPr lang="en-US" sz="1400" b="1" kern="0" dirty="0">
                <a:solidFill>
                  <a:srgbClr val="F47B1E"/>
                </a:solidFill>
                <a:latin typeface="Helvetica Neue" charset="0"/>
                <a:ea typeface="Helvetica Neue" charset="0"/>
                <a:cs typeface="Helvetica Neue" charset="0"/>
              </a:rPr>
              <a:t>2018</a:t>
            </a:r>
          </a:p>
        </p:txBody>
      </p:sp>
      <p:pic>
        <p:nvPicPr>
          <p:cNvPr id="52" name="Picture 1" descr="image002">
            <a:extLst>
              <a:ext uri="{FF2B5EF4-FFF2-40B4-BE49-F238E27FC236}">
                <a16:creationId xmlns:a16="http://schemas.microsoft.com/office/drawing/2014/main" id="{2ABB324A-AE2A-4D47-9D7F-AC777666729C}"/>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 name="ee4pFootnotes"/>
          <p:cNvSpPr>
            <a:spLocks noChangeArrowheads="1"/>
          </p:cNvSpPr>
          <p:nvPr/>
        </p:nvSpPr>
        <p:spPr bwMode="auto">
          <a:xfrm>
            <a:off x="2467992" y="6421441"/>
            <a:ext cx="7641096"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pt-BR" sz="1000" dirty="0">
                <a:cs typeface="Arial" pitchFamily="34" charset="0"/>
              </a:rPr>
              <a:t>Adapted from UPM, image by Raul Garcia Castro &amp; Maria Poveda-Villalon </a:t>
            </a:r>
          </a:p>
        </p:txBody>
      </p:sp>
    </p:spTree>
    <p:extLst>
      <p:ext uri="{BB962C8B-B14F-4D97-AF65-F5344CB8AC3E}">
        <p14:creationId xmlns:p14="http://schemas.microsoft.com/office/powerpoint/2010/main" val="60642121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a way that was everything</a:t>
            </a:r>
            <a:br>
              <a:rPr lang="en-US" dirty="0"/>
            </a:br>
            <a:r>
              <a:rPr lang="en-US" dirty="0"/>
              <a:t>but straight!</a:t>
            </a:r>
          </a:p>
        </p:txBody>
      </p:sp>
      <p:sp>
        <p:nvSpPr>
          <p:cNvPr id="3" name="Slide Number Placeholder 2"/>
          <p:cNvSpPr>
            <a:spLocks noGrp="1"/>
          </p:cNvSpPr>
          <p:nvPr>
            <p:ph type="sldNum" sz="quarter" idx="4"/>
          </p:nvPr>
        </p:nvSpPr>
        <p:spPr/>
        <p:txBody>
          <a:bodyPr/>
          <a:lstStyle/>
          <a:p>
            <a:fld id="{EBC262BB-4310-134F-8D24-58475080D942}" type="slidenum">
              <a:rPr lang="en-US" smtClean="0"/>
              <a:pPr/>
              <a:t>32</a:t>
            </a:fld>
            <a:endParaRPr lang="en-US" dirty="0"/>
          </a:p>
        </p:txBody>
      </p:sp>
      <p:grpSp>
        <p:nvGrpSpPr>
          <p:cNvPr id="26" name="Group 25">
            <a:extLst>
              <a:ext uri="{FF2B5EF4-FFF2-40B4-BE49-F238E27FC236}">
                <a16:creationId xmlns:a16="http://schemas.microsoft.com/office/drawing/2014/main" id="{E78591AF-9491-4040-B42E-054F9C9E798A}"/>
              </a:ext>
            </a:extLst>
          </p:cNvPr>
          <p:cNvGrpSpPr/>
          <p:nvPr/>
        </p:nvGrpSpPr>
        <p:grpSpPr>
          <a:xfrm>
            <a:off x="1593850" y="1575663"/>
            <a:ext cx="7410450" cy="4477264"/>
            <a:chOff x="952500" y="1104899"/>
            <a:chExt cx="6526794" cy="4059084"/>
          </a:xfrm>
        </p:grpSpPr>
        <p:grpSp>
          <p:nvGrpSpPr>
            <p:cNvPr id="24" name="Group 23">
              <a:extLst>
                <a:ext uri="{FF2B5EF4-FFF2-40B4-BE49-F238E27FC236}">
                  <a16:creationId xmlns:a16="http://schemas.microsoft.com/office/drawing/2014/main" id="{C73D8E28-AEFB-4A5D-B623-C30AD8DAF44B}"/>
                </a:ext>
              </a:extLst>
            </p:cNvPr>
            <p:cNvGrpSpPr/>
            <p:nvPr/>
          </p:nvGrpSpPr>
          <p:grpSpPr>
            <a:xfrm>
              <a:off x="1073908" y="1104899"/>
              <a:ext cx="6405386" cy="4059084"/>
              <a:chOff x="1200908" y="1371599"/>
              <a:chExt cx="6405386" cy="4059084"/>
            </a:xfrm>
          </p:grpSpPr>
          <p:sp>
            <p:nvSpPr>
              <p:cNvPr id="17" name="TextBox 16">
                <a:extLst>
                  <a:ext uri="{FF2B5EF4-FFF2-40B4-BE49-F238E27FC236}">
                    <a16:creationId xmlns:a16="http://schemas.microsoft.com/office/drawing/2014/main" id="{710CF08E-BA87-4222-A1DF-CE2D9F1849BC}"/>
                  </a:ext>
                </a:extLst>
              </p:cNvPr>
              <p:cNvSpPr txBox="1"/>
              <p:nvPr/>
            </p:nvSpPr>
            <p:spPr>
              <a:xfrm>
                <a:off x="5638800" y="2971800"/>
                <a:ext cx="914400" cy="914400"/>
              </a:xfrm>
              <a:prstGeom prst="rect">
                <a:avLst/>
              </a:prstGeom>
            </p:spPr>
            <p:txBody>
              <a:bodyPr wrap="square" rtlCol="0">
                <a:noAutofit/>
              </a:bodyPr>
              <a:lstStyle/>
              <a:p>
                <a:pPr marL="0" indent="0">
                  <a:lnSpc>
                    <a:spcPct val="100000"/>
                  </a:lnSpc>
                  <a:spcBef>
                    <a:spcPts val="2200"/>
                  </a:spcBef>
                  <a:buClr>
                    <a:schemeClr val="accent3"/>
                  </a:buClr>
                  <a:buSzPct val="150000"/>
                  <a:buFontTx/>
                  <a:buNone/>
                </a:pPr>
                <a:endParaRPr lang="nl-NL" sz="2000" b="0" spc="0" dirty="0" err="1"/>
              </a:p>
            </p:txBody>
          </p:sp>
          <p:pic>
            <p:nvPicPr>
              <p:cNvPr id="8" name="Picture 7">
                <a:extLst>
                  <a:ext uri="{FF2B5EF4-FFF2-40B4-BE49-F238E27FC236}">
                    <a16:creationId xmlns:a16="http://schemas.microsoft.com/office/drawing/2014/main" id="{F09FF318-5F6D-428E-837C-68882D87332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00909" y="1427317"/>
                <a:ext cx="6405385" cy="4003366"/>
              </a:xfrm>
              <a:prstGeom prst="rect">
                <a:avLst/>
              </a:prstGeom>
            </p:spPr>
          </p:pic>
          <p:sp>
            <p:nvSpPr>
              <p:cNvPr id="21" name="Rectangle 20">
                <a:extLst>
                  <a:ext uri="{FF2B5EF4-FFF2-40B4-BE49-F238E27FC236}">
                    <a16:creationId xmlns:a16="http://schemas.microsoft.com/office/drawing/2014/main" id="{B13F69F9-CF5C-4332-8F37-A0BAE521D90C}"/>
                  </a:ext>
                </a:extLst>
              </p:cNvPr>
              <p:cNvSpPr/>
              <p:nvPr/>
            </p:nvSpPr>
            <p:spPr>
              <a:xfrm>
                <a:off x="1200908" y="1427317"/>
                <a:ext cx="608841" cy="5689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2" name="Rectangle 21">
                <a:extLst>
                  <a:ext uri="{FF2B5EF4-FFF2-40B4-BE49-F238E27FC236}">
                    <a16:creationId xmlns:a16="http://schemas.microsoft.com/office/drawing/2014/main" id="{727FBFD3-9E5F-4B6B-B7E0-FE1A89734FCB}"/>
                  </a:ext>
                </a:extLst>
              </p:cNvPr>
              <p:cNvSpPr/>
              <p:nvPr/>
            </p:nvSpPr>
            <p:spPr>
              <a:xfrm>
                <a:off x="6331708" y="1371599"/>
                <a:ext cx="1274586" cy="3937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3" name="Rectangle 22">
                <a:extLst>
                  <a:ext uri="{FF2B5EF4-FFF2-40B4-BE49-F238E27FC236}">
                    <a16:creationId xmlns:a16="http://schemas.microsoft.com/office/drawing/2014/main" id="{2422A3A5-6A4F-4EF9-A6D8-9A9EBC9E7EEA}"/>
                  </a:ext>
                </a:extLst>
              </p:cNvPr>
              <p:cNvSpPr/>
              <p:nvPr/>
            </p:nvSpPr>
            <p:spPr>
              <a:xfrm>
                <a:off x="6331708" y="1409699"/>
                <a:ext cx="151642" cy="3937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pSp>
        <p:sp>
          <p:nvSpPr>
            <p:cNvPr id="25" name="Rectangle 24">
              <a:extLst>
                <a:ext uri="{FF2B5EF4-FFF2-40B4-BE49-F238E27FC236}">
                  <a16:creationId xmlns:a16="http://schemas.microsoft.com/office/drawing/2014/main" id="{BF16B5E1-1738-4857-B6ED-CA7B3628E41D}"/>
                </a:ext>
              </a:extLst>
            </p:cNvPr>
            <p:cNvSpPr/>
            <p:nvPr/>
          </p:nvSpPr>
          <p:spPr>
            <a:xfrm>
              <a:off x="952500" y="1466850"/>
              <a:ext cx="317500" cy="4000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pic>
        <p:nvPicPr>
          <p:cNvPr id="14" name="Picture 1" descr="image002">
            <a:extLst>
              <a:ext uri="{FF2B5EF4-FFF2-40B4-BE49-F238E27FC236}">
                <a16:creationId xmlns:a16="http://schemas.microsoft.com/office/drawing/2014/main" id="{2ABB324A-AE2A-4D47-9D7F-AC777666729C}"/>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ee4pFootnotes"/>
          <p:cNvSpPr>
            <a:spLocks noChangeArrowheads="1"/>
          </p:cNvSpPr>
          <p:nvPr/>
        </p:nvSpPr>
        <p:spPr bwMode="auto">
          <a:xfrm>
            <a:off x="2467992" y="6421441"/>
            <a:ext cx="7641096"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fr-FR" sz="1000" dirty="0">
                <a:cs typeface="Arial" pitchFamily="34" charset="0"/>
              </a:rPr>
              <a:t>Image </a:t>
            </a:r>
            <a:r>
              <a:rPr lang="fr-FR" sz="1000" dirty="0" err="1">
                <a:cs typeface="Arial" pitchFamily="34" charset="0"/>
              </a:rPr>
              <a:t>Retrieved</a:t>
            </a:r>
            <a:r>
              <a:rPr lang="fr-FR" sz="1000" dirty="0">
                <a:cs typeface="Arial" pitchFamily="34" charset="0"/>
              </a:rPr>
              <a:t> </a:t>
            </a:r>
            <a:r>
              <a:rPr lang="fr-FR" sz="1000" dirty="0" err="1">
                <a:cs typeface="Arial" pitchFamily="34" charset="0"/>
              </a:rPr>
              <a:t>from</a:t>
            </a:r>
            <a:r>
              <a:rPr lang="fr-FR" sz="1000" dirty="0">
                <a:cs typeface="Arial" pitchFamily="34" charset="0"/>
              </a:rPr>
              <a:t> https://fitterest.com</a:t>
            </a:r>
          </a:p>
        </p:txBody>
      </p:sp>
    </p:spTree>
    <p:extLst>
      <p:ext uri="{BB962C8B-B14F-4D97-AF65-F5344CB8AC3E}">
        <p14:creationId xmlns:p14="http://schemas.microsoft.com/office/powerpoint/2010/main" val="327148020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5FD30CB-183D-44CE-8555-A30333FD43A4}"/>
              </a:ext>
            </a:extLst>
          </p:cNvPr>
          <p:cNvSpPr>
            <a:spLocks noGrp="1"/>
          </p:cNvSpPr>
          <p:nvPr>
            <p:ph type="body" sz="quarter" idx="10"/>
          </p:nvPr>
        </p:nvSpPr>
        <p:spPr/>
        <p:txBody>
          <a:bodyPr/>
          <a:lstStyle/>
          <a:p>
            <a:r>
              <a:rPr lang="en-US" dirty="0"/>
              <a:t>… towards which destination? </a:t>
            </a:r>
          </a:p>
          <a:p>
            <a:r>
              <a:rPr lang="en-US" dirty="0"/>
              <a:t> </a:t>
            </a:r>
          </a:p>
        </p:txBody>
      </p:sp>
      <p:sp>
        <p:nvSpPr>
          <p:cNvPr id="13" name="Text Placeholder 12"/>
          <p:cNvSpPr>
            <a:spLocks noGrp="1"/>
          </p:cNvSpPr>
          <p:nvPr>
            <p:ph type="body" sz="quarter" idx="11"/>
          </p:nvPr>
        </p:nvSpPr>
        <p:spPr>
          <a:xfrm>
            <a:off x="985071" y="1884743"/>
            <a:ext cx="9290586" cy="3508653"/>
          </a:xfrm>
        </p:spPr>
        <p:txBody>
          <a:bodyPr lIns="0" tIns="0" rIns="0" bIns="0">
            <a:noAutofit/>
          </a:bodyPr>
          <a:lstStyle/>
          <a:p>
            <a:pPr marL="0" indent="0">
              <a:spcBef>
                <a:spcPts val="600"/>
              </a:spcBef>
              <a:buNone/>
            </a:pPr>
            <a:r>
              <a:rPr lang="en-US" sz="1600" dirty="0"/>
              <a:t>Seven years after the first study lunched by the EC, SAREF is </a:t>
            </a:r>
          </a:p>
          <a:p>
            <a:pPr>
              <a:spcBef>
                <a:spcPts val="600"/>
              </a:spcBef>
            </a:pPr>
            <a:r>
              <a:rPr lang="en-US" sz="1600" dirty="0"/>
              <a:t>a series of technical specifications published by the European Telecommunication Standardization Institute (ETSI)</a:t>
            </a:r>
          </a:p>
          <a:p>
            <a:pPr>
              <a:spcBef>
                <a:spcPts val="600"/>
              </a:spcBef>
            </a:pPr>
            <a:r>
              <a:rPr lang="en-US" sz="1600" dirty="0"/>
              <a:t>consisting of a modular framework that comprises a generic core ontology for IoT and 10 domain-specific extensions, including SAREF for Energy, Buildings and Cities, which are of particular interest for the LDAC community </a:t>
            </a:r>
          </a:p>
          <a:p>
            <a:pPr>
              <a:spcBef>
                <a:spcPts val="600"/>
              </a:spcBef>
            </a:pPr>
            <a:r>
              <a:rPr lang="en-US" sz="1600" dirty="0"/>
              <a:t>The SAREF framework is maintained and evolved by experts from several European organizations that successfully collaborate with each other and can count on the continuous support of ETSI and the European Commission</a:t>
            </a:r>
          </a:p>
          <a:p>
            <a:pPr>
              <a:spcBef>
                <a:spcPts val="600"/>
              </a:spcBef>
            </a:pPr>
            <a:r>
              <a:rPr lang="en-US" sz="1600" dirty="0"/>
              <a:t>One of the latest supported initiatives is the development of an ETSI open portal for the SAREF community and industry stakeholders, so that they can contribute directly to the SAREF evolution</a:t>
            </a:r>
          </a:p>
        </p:txBody>
      </p:sp>
      <p:sp>
        <p:nvSpPr>
          <p:cNvPr id="4" name="Slide Number Placeholder 3">
            <a:extLst>
              <a:ext uri="{FF2B5EF4-FFF2-40B4-BE49-F238E27FC236}">
                <a16:creationId xmlns:a16="http://schemas.microsoft.com/office/drawing/2014/main" id="{0D9C590F-DB8E-40B8-A5C2-94B1C6D903BB}"/>
              </a:ext>
            </a:extLst>
          </p:cNvPr>
          <p:cNvSpPr>
            <a:spLocks noGrp="1"/>
          </p:cNvSpPr>
          <p:nvPr>
            <p:ph type="sldNum" sz="quarter" idx="4"/>
          </p:nvPr>
        </p:nvSpPr>
        <p:spPr/>
        <p:txBody>
          <a:bodyPr/>
          <a:lstStyle/>
          <a:p>
            <a:fld id="{EBC262BB-4310-134F-8D24-58475080D942}" type="slidenum">
              <a:rPr lang="en-US" smtClean="0"/>
              <a:pPr/>
              <a:t>33</a:t>
            </a:fld>
            <a:endParaRPr lang="en-US" dirty="0"/>
          </a:p>
        </p:txBody>
      </p:sp>
      <p:pic>
        <p:nvPicPr>
          <p:cNvPr id="14" name="Picture 1" descr="image002">
            <a:extLst>
              <a:ext uri="{FF2B5EF4-FFF2-40B4-BE49-F238E27FC236}">
                <a16:creationId xmlns:a16="http://schemas.microsoft.com/office/drawing/2014/main" id="{2ABB324A-AE2A-4D47-9D7F-AC777666729C}"/>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12"/>
          <p:cNvSpPr txBox="1">
            <a:spLocks/>
          </p:cNvSpPr>
          <p:nvPr/>
        </p:nvSpPr>
        <p:spPr>
          <a:xfrm>
            <a:off x="985071" y="5168187"/>
            <a:ext cx="9290586" cy="276999"/>
          </a:xfrm>
          <a:prstGeom prst="rect">
            <a:avLst/>
          </a:prstGeom>
        </p:spPr>
        <p:txBody>
          <a:bodyPr lIns="0" tIns="0" rIns="0" bIns="0">
            <a:spAutoFit/>
          </a:bodyPr>
          <a:lstStyle>
            <a:lvl1pPr marL="342900" marR="0" indent="-342900" algn="l" defTabSz="914400" rtl="0" eaLnBrk="1" fontAlgn="auto" latinLnBrk="0" hangingPunct="1">
              <a:lnSpc>
                <a:spcPct val="100000"/>
              </a:lnSpc>
              <a:spcBef>
                <a:spcPts val="2200"/>
              </a:spcBef>
              <a:spcAft>
                <a:spcPts val="0"/>
              </a:spcAft>
              <a:buClr>
                <a:srgbClr val="EDAE00"/>
              </a:buClr>
              <a:buSzTx/>
              <a:buFont typeface="Arial" charset="0"/>
              <a:buChar char="•"/>
              <a:tabLst/>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600"/>
              </a:spcBef>
              <a:buNone/>
            </a:pPr>
            <a:r>
              <a:rPr lang="en-US" sz="1800" b="1" dirty="0">
                <a:solidFill>
                  <a:schemeClr val="tx2"/>
                </a:solidFill>
              </a:rPr>
              <a:t>Still not the final destination, only a new beginning!</a:t>
            </a:r>
          </a:p>
        </p:txBody>
      </p:sp>
      <p:sp>
        <p:nvSpPr>
          <p:cNvPr id="8" name="Rectangle: Single Corner Snipped 10">
            <a:extLst>
              <a:ext uri="{FF2B5EF4-FFF2-40B4-BE49-F238E27FC236}">
                <a16:creationId xmlns:a16="http://schemas.microsoft.com/office/drawing/2014/main" id="{8F4AD3A5-6C57-473D-A01F-AD2F4CC9E3EF}"/>
              </a:ext>
            </a:extLst>
          </p:cNvPr>
          <p:cNvSpPr/>
          <p:nvPr/>
        </p:nvSpPr>
        <p:spPr>
          <a:xfrm>
            <a:off x="9055215" y="1503396"/>
            <a:ext cx="1220442" cy="318659"/>
          </a:xfrm>
          <a:prstGeom prst="rect">
            <a:avLst/>
          </a:prstGeom>
          <a:solidFill>
            <a:schemeClr val="tx2"/>
          </a:solidFill>
        </p:spPr>
        <p:style>
          <a:lnRef idx="3">
            <a:schemeClr val="lt1"/>
          </a:lnRef>
          <a:fillRef idx="1">
            <a:schemeClr val="accent2"/>
          </a:fillRef>
          <a:effectRef idx="1">
            <a:schemeClr val="accent2"/>
          </a:effectRef>
          <a:fontRef idx="minor">
            <a:schemeClr val="lt1"/>
          </a:fontRef>
        </p:style>
        <p:txBody>
          <a:bodyPr lIns="0" tIns="0" rIns="0" bIns="0" rtlCol="0" anchor="ctr"/>
          <a:lstStyle/>
          <a:p>
            <a:pPr algn="ctr"/>
            <a:r>
              <a:rPr lang="en-US" sz="1600" dirty="0">
                <a:solidFill>
                  <a:schemeClr val="tx1"/>
                </a:solidFill>
              </a:rPr>
              <a:t>2013</a:t>
            </a:r>
          </a:p>
        </p:txBody>
      </p:sp>
    </p:spTree>
    <p:extLst>
      <p:ext uri="{BB962C8B-B14F-4D97-AF65-F5344CB8AC3E}">
        <p14:creationId xmlns:p14="http://schemas.microsoft.com/office/powerpoint/2010/main" val="113470871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Curiosity</a:t>
            </a:r>
          </a:p>
        </p:txBody>
      </p:sp>
      <p:sp>
        <p:nvSpPr>
          <p:cNvPr id="3" name="Slide Number Placeholder 2"/>
          <p:cNvSpPr>
            <a:spLocks noGrp="1"/>
          </p:cNvSpPr>
          <p:nvPr>
            <p:ph type="sldNum" sz="quarter" idx="4"/>
          </p:nvPr>
        </p:nvSpPr>
        <p:spPr>
          <a:prstGeom prst="rect">
            <a:avLst/>
          </a:prstGeom>
        </p:spPr>
        <p:txBody>
          <a:bodyPr/>
          <a:lstStyle/>
          <a:p>
            <a:fld id="{EBC262BB-4310-134F-8D24-58475080D942}" type="slidenum">
              <a:rPr lang="en-US" smtClean="0"/>
              <a:pPr/>
              <a:t>34</a:t>
            </a:fld>
            <a:endParaRPr lang="en-US" dirty="0"/>
          </a:p>
        </p:txBody>
      </p:sp>
    </p:spTree>
    <p:extLst>
      <p:ext uri="{BB962C8B-B14F-4D97-AF65-F5344CB8AC3E}">
        <p14:creationId xmlns:p14="http://schemas.microsoft.com/office/powerpoint/2010/main" val="171221588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5FD30CB-183D-44CE-8555-A30333FD43A4}"/>
              </a:ext>
            </a:extLst>
          </p:cNvPr>
          <p:cNvSpPr>
            <a:spLocks noGrp="1"/>
          </p:cNvSpPr>
          <p:nvPr>
            <p:ph type="body" sz="quarter" idx="10"/>
          </p:nvPr>
        </p:nvSpPr>
        <p:spPr/>
        <p:txBody>
          <a:bodyPr/>
          <a:lstStyle/>
          <a:p>
            <a:r>
              <a:rPr lang="en-US" dirty="0"/>
              <a:t>Back in 2015 …</a:t>
            </a:r>
          </a:p>
        </p:txBody>
      </p:sp>
      <p:sp>
        <p:nvSpPr>
          <p:cNvPr id="13" name="Text Placeholder 12"/>
          <p:cNvSpPr>
            <a:spLocks noGrp="1"/>
          </p:cNvSpPr>
          <p:nvPr>
            <p:ph type="body" sz="quarter" idx="11"/>
          </p:nvPr>
        </p:nvSpPr>
        <p:spPr>
          <a:xfrm>
            <a:off x="985070" y="1884743"/>
            <a:ext cx="10076629" cy="3447098"/>
          </a:xfrm>
        </p:spPr>
        <p:txBody>
          <a:bodyPr wrap="square" lIns="0" tIns="0" rIns="0" bIns="0">
            <a:spAutoFit/>
          </a:bodyPr>
          <a:lstStyle/>
          <a:p>
            <a:pPr marL="0" indent="0">
              <a:spcBef>
                <a:spcPts val="0"/>
              </a:spcBef>
              <a:buNone/>
            </a:pPr>
            <a:r>
              <a:rPr lang="en-US" sz="1600" dirty="0"/>
              <a:t>One of the main questions after the creation of the first version of SAREF was about its maintenance, versioning, extension and governance. Some excerpts from a publication of 2015*</a:t>
            </a:r>
          </a:p>
          <a:p>
            <a:pPr>
              <a:spcBef>
                <a:spcPts val="0"/>
              </a:spcBef>
            </a:pPr>
            <a:r>
              <a:rPr lang="en-US" sz="1600" dirty="0"/>
              <a:t>Need for user-friendly solution to promote the adoption of SAREF and allow third-party developers and users to utilize the ontology</a:t>
            </a:r>
          </a:p>
          <a:p>
            <a:pPr>
              <a:spcBef>
                <a:spcPts val="0"/>
              </a:spcBef>
            </a:pPr>
            <a:r>
              <a:rPr lang="en-US" sz="1600" dirty="0"/>
              <a:t>Need for suitable mechanisms to define SAREF extension and maintenance workflow, manage SAREF extensions and changes submitted by its users, possibly exploiting state-of-the art versioning and consistency checking</a:t>
            </a:r>
          </a:p>
          <a:p>
            <a:pPr>
              <a:spcBef>
                <a:spcPts val="0"/>
              </a:spcBef>
            </a:pPr>
            <a:r>
              <a:rPr lang="en-US" sz="1600" dirty="0"/>
              <a:t>Which organization(s) should be responsible for the maintenance, extension and governance of the SAREF network of ontologies?</a:t>
            </a:r>
          </a:p>
          <a:p>
            <a:pPr>
              <a:spcBef>
                <a:spcPts val="0"/>
              </a:spcBef>
            </a:pPr>
            <a:r>
              <a:rPr lang="en-US" sz="1600" dirty="0"/>
              <a:t>We believe that the maintenance of SAREF should be delegated to a single party (e.g., an individual organization or a group of organizations) who should also take care of aligning SAREF with new ontologies in the network when necessary</a:t>
            </a:r>
          </a:p>
          <a:p>
            <a:pPr>
              <a:spcBef>
                <a:spcPts val="0"/>
              </a:spcBef>
            </a:pPr>
            <a:r>
              <a:rPr lang="en-US" sz="1600" dirty="0"/>
              <a:t>Which organization is going to implement the necessary updates and create the new versions of SAREF? TNO? EC? ETSI? Industrial stakeholders who have closely collaborate as domain experts? New parties (e.g., W3C?)</a:t>
            </a:r>
          </a:p>
          <a:p>
            <a:pPr marL="0" indent="0">
              <a:spcBef>
                <a:spcPts val="0"/>
              </a:spcBef>
              <a:buNone/>
            </a:pPr>
            <a:endParaRPr lang="en-US" sz="1600" dirty="0"/>
          </a:p>
        </p:txBody>
      </p:sp>
      <p:sp>
        <p:nvSpPr>
          <p:cNvPr id="4" name="Slide Number Placeholder 3">
            <a:extLst>
              <a:ext uri="{FF2B5EF4-FFF2-40B4-BE49-F238E27FC236}">
                <a16:creationId xmlns:a16="http://schemas.microsoft.com/office/drawing/2014/main" id="{0D9C590F-DB8E-40B8-A5C2-94B1C6D903BB}"/>
              </a:ext>
            </a:extLst>
          </p:cNvPr>
          <p:cNvSpPr>
            <a:spLocks noGrp="1"/>
          </p:cNvSpPr>
          <p:nvPr>
            <p:ph type="sldNum" sz="quarter" idx="4"/>
          </p:nvPr>
        </p:nvSpPr>
        <p:spPr/>
        <p:txBody>
          <a:bodyPr/>
          <a:lstStyle/>
          <a:p>
            <a:fld id="{EBC262BB-4310-134F-8D24-58475080D942}" type="slidenum">
              <a:rPr lang="en-US" smtClean="0"/>
              <a:pPr/>
              <a:t>35</a:t>
            </a:fld>
            <a:endParaRPr lang="en-US" dirty="0"/>
          </a:p>
        </p:txBody>
      </p:sp>
      <p:pic>
        <p:nvPicPr>
          <p:cNvPr id="14" name="Picture 1" descr="image002">
            <a:extLst>
              <a:ext uri="{FF2B5EF4-FFF2-40B4-BE49-F238E27FC236}">
                <a16:creationId xmlns:a16="http://schemas.microsoft.com/office/drawing/2014/main" id="{2ABB324A-AE2A-4D47-9D7F-AC777666729C}"/>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ee4pFootnotes">
            <a:extLst>
              <a:ext uri="{FF2B5EF4-FFF2-40B4-BE49-F238E27FC236}">
                <a16:creationId xmlns:a16="http://schemas.microsoft.com/office/drawing/2014/main" id="{7437D406-9045-4B18-835C-C7697172FABC}"/>
              </a:ext>
            </a:extLst>
          </p:cNvPr>
          <p:cNvSpPr>
            <a:spLocks noChangeArrowheads="1"/>
          </p:cNvSpPr>
          <p:nvPr/>
        </p:nvSpPr>
        <p:spPr bwMode="auto">
          <a:xfrm>
            <a:off x="2467992" y="6102893"/>
            <a:ext cx="7662126" cy="457048"/>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nl-NL" sz="1100" dirty="0"/>
              <a:t>*Daniele L., den Hartog F., Roes J. (2016) How </a:t>
            </a:r>
            <a:r>
              <a:rPr lang="nl-NL" sz="1100" dirty="0" err="1"/>
              <a:t>to</a:t>
            </a:r>
            <a:r>
              <a:rPr lang="nl-NL" sz="1100" dirty="0"/>
              <a:t> Keep a Reference </a:t>
            </a:r>
            <a:r>
              <a:rPr lang="nl-NL" sz="1100" dirty="0" err="1"/>
              <a:t>Ontology</a:t>
            </a:r>
            <a:r>
              <a:rPr lang="nl-NL" sz="1100" dirty="0"/>
              <a:t> Relevant </a:t>
            </a:r>
            <a:r>
              <a:rPr lang="nl-NL" sz="1100" dirty="0" err="1"/>
              <a:t>to</a:t>
            </a:r>
            <a:r>
              <a:rPr lang="nl-NL" sz="1100" dirty="0"/>
              <a:t> </a:t>
            </a:r>
            <a:r>
              <a:rPr lang="nl-NL" sz="1100" dirty="0" err="1"/>
              <a:t>the</a:t>
            </a:r>
            <a:r>
              <a:rPr lang="nl-NL" sz="1100" dirty="0"/>
              <a:t> </a:t>
            </a:r>
            <a:r>
              <a:rPr lang="nl-NL" sz="1100" dirty="0" err="1"/>
              <a:t>Industry</a:t>
            </a:r>
            <a:r>
              <a:rPr lang="nl-NL" sz="1100" dirty="0"/>
              <a:t>: A Case </a:t>
            </a:r>
            <a:r>
              <a:rPr lang="nl-NL" sz="1100" dirty="0" err="1"/>
              <a:t>Study</a:t>
            </a:r>
            <a:r>
              <a:rPr lang="nl-NL" sz="1100" dirty="0"/>
              <a:t> </a:t>
            </a:r>
            <a:r>
              <a:rPr lang="nl-NL" sz="1100" dirty="0" err="1"/>
              <a:t>from</a:t>
            </a:r>
            <a:r>
              <a:rPr lang="nl-NL" sz="1100" dirty="0"/>
              <a:t> </a:t>
            </a:r>
            <a:r>
              <a:rPr lang="nl-NL" sz="1100" dirty="0" err="1"/>
              <a:t>the</a:t>
            </a:r>
            <a:r>
              <a:rPr lang="nl-NL" sz="1100" dirty="0"/>
              <a:t> Smart Home. In: </a:t>
            </a:r>
            <a:r>
              <a:rPr lang="nl-NL" sz="1100" dirty="0" err="1"/>
              <a:t>Tamma</a:t>
            </a:r>
            <a:r>
              <a:rPr lang="nl-NL" sz="1100" dirty="0"/>
              <a:t> V., </a:t>
            </a:r>
            <a:r>
              <a:rPr lang="nl-NL" sz="1100" dirty="0" err="1"/>
              <a:t>Dragoni</a:t>
            </a:r>
            <a:r>
              <a:rPr lang="nl-NL" sz="1100" dirty="0"/>
              <a:t> M., </a:t>
            </a:r>
            <a:r>
              <a:rPr lang="nl-NL" sz="1100" dirty="0" err="1"/>
              <a:t>Gonçalves</a:t>
            </a:r>
            <a:r>
              <a:rPr lang="nl-NL" sz="1100" dirty="0"/>
              <a:t> R., </a:t>
            </a:r>
            <a:r>
              <a:rPr lang="nl-NL" sz="1100" dirty="0" err="1"/>
              <a:t>Ławrynowicz</a:t>
            </a:r>
            <a:r>
              <a:rPr lang="nl-NL" sz="1100" dirty="0"/>
              <a:t> A. (</a:t>
            </a:r>
            <a:r>
              <a:rPr lang="nl-NL" sz="1100" dirty="0" err="1"/>
              <a:t>eds</a:t>
            </a:r>
            <a:r>
              <a:rPr lang="nl-NL" sz="1100" dirty="0"/>
              <a:t>) </a:t>
            </a:r>
            <a:r>
              <a:rPr lang="nl-NL" sz="1100" dirty="0" err="1"/>
              <a:t>Ontology</a:t>
            </a:r>
            <a:r>
              <a:rPr lang="nl-NL" sz="1100" dirty="0"/>
              <a:t> Engineering. OWLED 2015. </a:t>
            </a:r>
            <a:r>
              <a:rPr lang="nl-NL" sz="1100" dirty="0" err="1"/>
              <a:t>Lecture</a:t>
            </a:r>
            <a:r>
              <a:rPr lang="nl-NL" sz="1100" dirty="0"/>
              <a:t> </a:t>
            </a:r>
            <a:r>
              <a:rPr lang="nl-NL" sz="1100" dirty="0" err="1"/>
              <a:t>Notes</a:t>
            </a:r>
            <a:r>
              <a:rPr lang="nl-NL" sz="1100" dirty="0"/>
              <a:t> in Computer </a:t>
            </a:r>
            <a:r>
              <a:rPr lang="nl-NL" sz="1100" dirty="0" err="1"/>
              <a:t>Science</a:t>
            </a:r>
            <a:r>
              <a:rPr lang="nl-NL" sz="1100" dirty="0"/>
              <a:t>, vol 9557. Springer, </a:t>
            </a:r>
            <a:r>
              <a:rPr lang="nl-NL" sz="1100" dirty="0" err="1"/>
              <a:t>Cham</a:t>
            </a:r>
            <a:endParaRPr lang="en-US" sz="600" dirty="0">
              <a:cs typeface="Arial" pitchFamily="34" charset="0"/>
            </a:endParaRPr>
          </a:p>
        </p:txBody>
      </p:sp>
    </p:spTree>
    <p:extLst>
      <p:ext uri="{BB962C8B-B14F-4D97-AF65-F5344CB8AC3E}">
        <p14:creationId xmlns:p14="http://schemas.microsoft.com/office/powerpoint/2010/main" val="166788726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10"/>
          </p:nvPr>
        </p:nvSpPr>
        <p:spPr>
          <a:xfrm>
            <a:off x="908767" y="362663"/>
            <a:ext cx="9289200" cy="826313"/>
          </a:xfrm>
        </p:spPr>
        <p:txBody>
          <a:bodyPr/>
          <a:lstStyle/>
          <a:p>
            <a:r>
              <a:rPr lang="en-US" sz="2400" dirty="0"/>
              <a:t>How to keep a reference Ontology relevant to the industry: </a:t>
            </a:r>
          </a:p>
          <a:p>
            <a:r>
              <a:rPr lang="en-US" sz="2400" dirty="0"/>
              <a:t>A case study from the smart home</a:t>
            </a:r>
          </a:p>
        </p:txBody>
      </p:sp>
      <p:sp>
        <p:nvSpPr>
          <p:cNvPr id="4" name="Slide Number Placeholder 3">
            <a:extLst>
              <a:ext uri="{FF2B5EF4-FFF2-40B4-BE49-F238E27FC236}">
                <a16:creationId xmlns:a16="http://schemas.microsoft.com/office/drawing/2014/main" id="{0C4BBF75-2106-40DB-A415-4394C0F92E15}"/>
              </a:ext>
            </a:extLst>
          </p:cNvPr>
          <p:cNvSpPr>
            <a:spLocks noGrp="1"/>
          </p:cNvSpPr>
          <p:nvPr>
            <p:ph type="sldNum" sz="quarter" idx="4"/>
          </p:nvPr>
        </p:nvSpPr>
        <p:spPr/>
        <p:txBody>
          <a:bodyPr/>
          <a:lstStyle/>
          <a:p>
            <a:fld id="{EBC262BB-4310-134F-8D24-58475080D942}" type="slidenum">
              <a:rPr lang="en-US" smtClean="0"/>
              <a:pPr/>
              <a:t>36</a:t>
            </a:fld>
            <a:endParaRPr lang="en-US" dirty="0"/>
          </a:p>
        </p:txBody>
      </p:sp>
      <p:sp>
        <p:nvSpPr>
          <p:cNvPr id="16" name="Rectangle 15">
            <a:extLst>
              <a:ext uri="{FF2B5EF4-FFF2-40B4-BE49-F238E27FC236}">
                <a16:creationId xmlns:a16="http://schemas.microsoft.com/office/drawing/2014/main" id="{3B5F2428-A663-4FB4-AF23-766591C01BDC}"/>
              </a:ext>
            </a:extLst>
          </p:cNvPr>
          <p:cNvSpPr/>
          <p:nvPr/>
        </p:nvSpPr>
        <p:spPr>
          <a:xfrm>
            <a:off x="8736124" y="3092487"/>
            <a:ext cx="1931756" cy="1921528"/>
          </a:xfrm>
          <a:prstGeom prst="rect">
            <a:avLst/>
          </a:prstGeom>
        </p:spPr>
        <p:txBody>
          <a:bodyPr wrap="square" lIns="0" tIns="0" rIns="0" bIns="0">
            <a:noAutofit/>
          </a:bodyPr>
          <a:lstStyle/>
          <a:p>
            <a:pPr algn="ctr"/>
            <a:r>
              <a:rPr lang="en-US" sz="1400" dirty="0"/>
              <a:t>One of the latest supported initiatives is the development of an ETSI open portal for the SAREF community and industry stakeholders, so that they can contribute directly to the SAREF evolution</a:t>
            </a:r>
          </a:p>
        </p:txBody>
      </p:sp>
      <p:pic>
        <p:nvPicPr>
          <p:cNvPr id="11" name="Picture 10">
            <a:extLst>
              <a:ext uri="{FF2B5EF4-FFF2-40B4-BE49-F238E27FC236}">
                <a16:creationId xmlns:a16="http://schemas.microsoft.com/office/drawing/2014/main" id="{263E1EA3-4168-446D-9A16-FB2BDF76383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1905" t="1804" r="88042" b="80895"/>
          <a:stretch/>
        </p:blipFill>
        <p:spPr>
          <a:xfrm>
            <a:off x="3958086" y="1997342"/>
            <a:ext cx="915283" cy="1383743"/>
          </a:xfrm>
          <a:prstGeom prst="rect">
            <a:avLst/>
          </a:prstGeom>
          <a:ln>
            <a:solidFill>
              <a:schemeClr val="bg1">
                <a:lumMod val="50000"/>
              </a:schemeClr>
            </a:solidFill>
          </a:ln>
        </p:spPr>
      </p:pic>
      <p:sp>
        <p:nvSpPr>
          <p:cNvPr id="10" name="Rectangle 9">
            <a:extLst>
              <a:ext uri="{FF2B5EF4-FFF2-40B4-BE49-F238E27FC236}">
                <a16:creationId xmlns:a16="http://schemas.microsoft.com/office/drawing/2014/main" id="{3B5F2428-A663-4FB4-AF23-766591C01BDC}"/>
              </a:ext>
            </a:extLst>
          </p:cNvPr>
          <p:cNvSpPr/>
          <p:nvPr/>
        </p:nvSpPr>
        <p:spPr>
          <a:xfrm>
            <a:off x="986457" y="2024909"/>
            <a:ext cx="697563" cy="184666"/>
          </a:xfrm>
          <a:prstGeom prst="rect">
            <a:avLst/>
          </a:prstGeom>
        </p:spPr>
        <p:txBody>
          <a:bodyPr wrap="square" lIns="0" tIns="0" rIns="0" bIns="0">
            <a:noAutofit/>
          </a:bodyPr>
          <a:lstStyle/>
          <a:p>
            <a:r>
              <a:rPr lang="en-US" sz="1200" b="1" dirty="0"/>
              <a:t>Authors</a:t>
            </a:r>
          </a:p>
        </p:txBody>
      </p:sp>
      <p:sp>
        <p:nvSpPr>
          <p:cNvPr id="15" name="Rectangle 14">
            <a:extLst>
              <a:ext uri="{FF2B5EF4-FFF2-40B4-BE49-F238E27FC236}">
                <a16:creationId xmlns:a16="http://schemas.microsoft.com/office/drawing/2014/main" id="{3B5F2428-A663-4FB4-AF23-766591C01BDC}"/>
              </a:ext>
            </a:extLst>
          </p:cNvPr>
          <p:cNvSpPr/>
          <p:nvPr/>
        </p:nvSpPr>
        <p:spPr>
          <a:xfrm>
            <a:off x="985764" y="2235623"/>
            <a:ext cx="7159011" cy="184666"/>
          </a:xfrm>
          <a:prstGeom prst="rect">
            <a:avLst/>
          </a:prstGeom>
        </p:spPr>
        <p:txBody>
          <a:bodyPr wrap="square" lIns="0" tIns="0" rIns="0" bIns="0">
            <a:noAutofit/>
          </a:bodyPr>
          <a:lstStyle/>
          <a:p>
            <a:r>
              <a:rPr lang="en-US" sz="1200" dirty="0"/>
              <a:t>Laura Daniele, Frank den Hartog, Jasper Roes</a:t>
            </a:r>
          </a:p>
        </p:txBody>
      </p:sp>
      <p:sp>
        <p:nvSpPr>
          <p:cNvPr id="22" name="Rectangle 21">
            <a:extLst>
              <a:ext uri="{FF2B5EF4-FFF2-40B4-BE49-F238E27FC236}">
                <a16:creationId xmlns:a16="http://schemas.microsoft.com/office/drawing/2014/main" id="{3B5F2428-A663-4FB4-AF23-766591C01BDC}"/>
              </a:ext>
            </a:extLst>
          </p:cNvPr>
          <p:cNvSpPr/>
          <p:nvPr/>
        </p:nvSpPr>
        <p:spPr>
          <a:xfrm>
            <a:off x="986457" y="3475121"/>
            <a:ext cx="6059479" cy="553998"/>
          </a:xfrm>
          <a:prstGeom prst="rect">
            <a:avLst/>
          </a:prstGeom>
        </p:spPr>
        <p:txBody>
          <a:bodyPr wrap="none" lIns="0" tIns="0" rIns="0" bIns="0">
            <a:spAutoFit/>
          </a:bodyPr>
          <a:lstStyle/>
          <a:p>
            <a:r>
              <a:rPr lang="en-US" sz="1200" dirty="0"/>
              <a:t>Part of the Lecture Notes in computer Science book series (LNCS, volume 9557)</a:t>
            </a:r>
          </a:p>
          <a:p>
            <a:r>
              <a:rPr lang="en-US" sz="1200" dirty="0">
                <a:solidFill>
                  <a:schemeClr val="bg1">
                    <a:lumMod val="50000"/>
                  </a:schemeClr>
                </a:solidFill>
                <a:cs typeface="Arial" pitchFamily="34" charset="0"/>
              </a:rPr>
              <a:t>International Experiences and Directions on OWL </a:t>
            </a:r>
            <a:r>
              <a:rPr lang="en-US" sz="1200" dirty="0" err="1">
                <a:solidFill>
                  <a:schemeClr val="bg1">
                    <a:lumMod val="50000"/>
                  </a:schemeClr>
                </a:solidFill>
                <a:cs typeface="Arial" pitchFamily="34" charset="0"/>
              </a:rPr>
              <a:t>Owled</a:t>
            </a:r>
            <a:r>
              <a:rPr lang="en-US" sz="1200" dirty="0">
                <a:solidFill>
                  <a:schemeClr val="bg1">
                    <a:lumMod val="50000"/>
                  </a:schemeClr>
                </a:solidFill>
                <a:cs typeface="Arial" pitchFamily="34" charset="0"/>
              </a:rPr>
              <a:t> 2015:Ontology Engineering pp117-123 </a:t>
            </a:r>
          </a:p>
          <a:p>
            <a:endParaRPr lang="en-US" sz="1200" dirty="0"/>
          </a:p>
        </p:txBody>
      </p:sp>
      <p:sp>
        <p:nvSpPr>
          <p:cNvPr id="19" name="Rectangle 18">
            <a:extLst>
              <a:ext uri="{FF2B5EF4-FFF2-40B4-BE49-F238E27FC236}">
                <a16:creationId xmlns:a16="http://schemas.microsoft.com/office/drawing/2014/main" id="{3B5F2428-A663-4FB4-AF23-766591C01BDC}"/>
              </a:ext>
            </a:extLst>
          </p:cNvPr>
          <p:cNvSpPr/>
          <p:nvPr/>
        </p:nvSpPr>
        <p:spPr>
          <a:xfrm>
            <a:off x="1001741" y="2658570"/>
            <a:ext cx="2510303" cy="369332"/>
          </a:xfrm>
          <a:prstGeom prst="rect">
            <a:avLst/>
          </a:prstGeom>
        </p:spPr>
        <p:txBody>
          <a:bodyPr wrap="none" lIns="0" tIns="0" rIns="0" bIns="0">
            <a:spAutoFit/>
          </a:bodyPr>
          <a:lstStyle/>
          <a:p>
            <a:r>
              <a:rPr lang="en-US" sz="1200" dirty="0"/>
              <a:t>Conference paper</a:t>
            </a:r>
            <a:br>
              <a:rPr lang="en-US" sz="1200" dirty="0"/>
            </a:br>
            <a:r>
              <a:rPr lang="en-US" sz="1200" b="1" dirty="0"/>
              <a:t>First online: 20 April 2016</a:t>
            </a:r>
          </a:p>
        </p:txBody>
      </p:sp>
      <p:sp>
        <p:nvSpPr>
          <p:cNvPr id="30" name="Rectangle 29">
            <a:extLst>
              <a:ext uri="{FF2B5EF4-FFF2-40B4-BE49-F238E27FC236}">
                <a16:creationId xmlns:a16="http://schemas.microsoft.com/office/drawing/2014/main" id="{3B5F2428-A663-4FB4-AF23-766591C01BDC}"/>
              </a:ext>
            </a:extLst>
          </p:cNvPr>
          <p:cNvSpPr/>
          <p:nvPr/>
        </p:nvSpPr>
        <p:spPr>
          <a:xfrm>
            <a:off x="986457" y="3985464"/>
            <a:ext cx="859210" cy="215444"/>
          </a:xfrm>
          <a:prstGeom prst="rect">
            <a:avLst/>
          </a:prstGeom>
        </p:spPr>
        <p:txBody>
          <a:bodyPr wrap="none" lIns="0" tIns="0" rIns="0" bIns="0">
            <a:spAutoFit/>
          </a:bodyPr>
          <a:lstStyle/>
          <a:p>
            <a:r>
              <a:rPr lang="en-US" sz="1400" b="1" dirty="0">
                <a:solidFill>
                  <a:schemeClr val="accent2"/>
                </a:solidFill>
              </a:rPr>
              <a:t>Abstract</a:t>
            </a:r>
          </a:p>
        </p:txBody>
      </p:sp>
      <p:sp>
        <p:nvSpPr>
          <p:cNvPr id="31" name="Rectangle 30">
            <a:extLst>
              <a:ext uri="{FF2B5EF4-FFF2-40B4-BE49-F238E27FC236}">
                <a16:creationId xmlns:a16="http://schemas.microsoft.com/office/drawing/2014/main" id="{3B5F2428-A663-4FB4-AF23-766591C01BDC}"/>
              </a:ext>
            </a:extLst>
          </p:cNvPr>
          <p:cNvSpPr/>
          <p:nvPr/>
        </p:nvSpPr>
        <p:spPr>
          <a:xfrm>
            <a:off x="986456" y="4269005"/>
            <a:ext cx="7159011" cy="2400657"/>
          </a:xfrm>
          <a:prstGeom prst="rect">
            <a:avLst/>
          </a:prstGeom>
        </p:spPr>
        <p:txBody>
          <a:bodyPr wrap="square" lIns="0" tIns="0" rIns="0" bIns="0">
            <a:spAutoFit/>
          </a:bodyPr>
          <a:lstStyle/>
          <a:p>
            <a:r>
              <a:rPr lang="en-US" sz="1200" dirty="0"/>
              <a:t>The Smart Appliance Reference ontology (SAREF) is a shared model of consensus developed in close interaction with the industry to enable semantic interoperability for smart appliances. Smart appliances are intelligent and networked devices that accomplish some household functions, such as cleaning or cooking. This paper focuses on specific aspects of SAREF’s development cycle, such as the design principles on which the ontology is based and the stakeholders’ requirements from which certain modelling decisions originated. Moreover, we discuss the work to be done in the immediate future for SAREF to evolve concerning its </a:t>
            </a:r>
            <a:r>
              <a:rPr lang="en-US" sz="1200" dirty="0">
                <a:solidFill>
                  <a:schemeClr val="accent3">
                    <a:lumMod val="50000"/>
                  </a:schemeClr>
                </a:solidFill>
              </a:rPr>
              <a:t>maintenance, versioning, extension and governance. Open questions include how to guarantee the correct usage of SAREF, how to systematically manage the growth of extensions and specializations of SAREF in a consistent network of ontologies, and who should be responsible for these activities</a:t>
            </a:r>
          </a:p>
        </p:txBody>
      </p:sp>
      <p:cxnSp>
        <p:nvCxnSpPr>
          <p:cNvPr id="40" name="Straight Connector 39"/>
          <p:cNvCxnSpPr/>
          <p:nvPr/>
        </p:nvCxnSpPr>
        <p:spPr>
          <a:xfrm>
            <a:off x="986456" y="3936176"/>
            <a:ext cx="7159011" cy="0"/>
          </a:xfrm>
          <a:prstGeom prst="line">
            <a:avLst/>
          </a:prstGeom>
          <a:ln>
            <a:prstDash val="sysDot"/>
          </a:ln>
        </p:spPr>
        <p:style>
          <a:lnRef idx="1">
            <a:schemeClr val="accent1"/>
          </a:lnRef>
          <a:fillRef idx="0">
            <a:schemeClr val="accent1"/>
          </a:fillRef>
          <a:effectRef idx="0">
            <a:schemeClr val="accent1"/>
          </a:effectRef>
          <a:fontRef idx="minor">
            <a:schemeClr val="tx1"/>
          </a:fontRef>
        </p:style>
      </p:cxnSp>
      <p:pic>
        <p:nvPicPr>
          <p:cNvPr id="29" name="Picture 1" descr="image002">
            <a:extLst>
              <a:ext uri="{FF2B5EF4-FFF2-40B4-BE49-F238E27FC236}">
                <a16:creationId xmlns:a16="http://schemas.microsoft.com/office/drawing/2014/main" id="{B7121B6F-4FBA-4CD2-96D7-DD188F861C0A}"/>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Rectangle: Single Corner Snipped 10">
            <a:extLst>
              <a:ext uri="{FF2B5EF4-FFF2-40B4-BE49-F238E27FC236}">
                <a16:creationId xmlns:a16="http://schemas.microsoft.com/office/drawing/2014/main" id="{43F2C889-45D6-4E24-9707-3E7883D80F2F}"/>
              </a:ext>
            </a:extLst>
          </p:cNvPr>
          <p:cNvSpPr/>
          <p:nvPr/>
        </p:nvSpPr>
        <p:spPr>
          <a:xfrm>
            <a:off x="6372354" y="2963084"/>
            <a:ext cx="1220442" cy="318659"/>
          </a:xfrm>
          <a:prstGeom prst="rect">
            <a:avLst/>
          </a:prstGeom>
          <a:solidFill>
            <a:schemeClr val="tx2"/>
          </a:solidFill>
        </p:spPr>
        <p:style>
          <a:lnRef idx="3">
            <a:schemeClr val="lt1"/>
          </a:lnRef>
          <a:fillRef idx="1">
            <a:schemeClr val="accent2"/>
          </a:fillRef>
          <a:effectRef idx="1">
            <a:schemeClr val="accent2"/>
          </a:effectRef>
          <a:fontRef idx="minor">
            <a:schemeClr val="lt1"/>
          </a:fontRef>
        </p:style>
        <p:txBody>
          <a:bodyPr lIns="0" tIns="0" rIns="0" bIns="0" rtlCol="0" anchor="ctr"/>
          <a:lstStyle/>
          <a:p>
            <a:pPr algn="ctr"/>
            <a:r>
              <a:rPr lang="en-US" sz="1600" dirty="0">
                <a:solidFill>
                  <a:schemeClr val="tx1"/>
                </a:solidFill>
              </a:rPr>
              <a:t>2015</a:t>
            </a:r>
          </a:p>
        </p:txBody>
      </p:sp>
      <p:sp>
        <p:nvSpPr>
          <p:cNvPr id="36" name="Rectangle: Single Corner Snipped 10">
            <a:extLst>
              <a:ext uri="{FF2B5EF4-FFF2-40B4-BE49-F238E27FC236}">
                <a16:creationId xmlns:a16="http://schemas.microsoft.com/office/drawing/2014/main" id="{3F384911-7CE1-4B51-BF51-7E43D190D03A}"/>
              </a:ext>
            </a:extLst>
          </p:cNvPr>
          <p:cNvSpPr/>
          <p:nvPr/>
        </p:nvSpPr>
        <p:spPr>
          <a:xfrm>
            <a:off x="9091781" y="2499240"/>
            <a:ext cx="1220442" cy="318659"/>
          </a:xfrm>
          <a:prstGeom prst="rect">
            <a:avLst/>
          </a:prstGeom>
          <a:solidFill>
            <a:schemeClr val="tx2"/>
          </a:solidFill>
        </p:spPr>
        <p:style>
          <a:lnRef idx="3">
            <a:schemeClr val="lt1"/>
          </a:lnRef>
          <a:fillRef idx="1">
            <a:schemeClr val="accent2"/>
          </a:fillRef>
          <a:effectRef idx="1">
            <a:schemeClr val="accent2"/>
          </a:effectRef>
          <a:fontRef idx="minor">
            <a:schemeClr val="lt1"/>
          </a:fontRef>
        </p:style>
        <p:txBody>
          <a:bodyPr lIns="0" tIns="0" rIns="0" bIns="0" rtlCol="0" anchor="ctr"/>
          <a:lstStyle/>
          <a:p>
            <a:pPr algn="ctr"/>
            <a:r>
              <a:rPr lang="en-US" sz="1600" dirty="0">
                <a:solidFill>
                  <a:schemeClr val="tx1"/>
                </a:solidFill>
              </a:rPr>
              <a:t>2020</a:t>
            </a:r>
          </a:p>
        </p:txBody>
      </p:sp>
    </p:spTree>
    <p:extLst>
      <p:ext uri="{BB962C8B-B14F-4D97-AF65-F5344CB8AC3E}">
        <p14:creationId xmlns:p14="http://schemas.microsoft.com/office/powerpoint/2010/main" val="256796322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0BA9536A-1928-40EA-8719-A61BF54ED0D2}"/>
              </a:ext>
            </a:extLst>
          </p:cNvPr>
          <p:cNvSpPr/>
          <p:nvPr/>
        </p:nvSpPr>
        <p:spPr>
          <a:xfrm>
            <a:off x="1236775" y="1159723"/>
            <a:ext cx="4467286" cy="3231654"/>
          </a:xfrm>
          <a:prstGeom prst="rect">
            <a:avLst/>
          </a:prstGeom>
          <a:solidFill>
            <a:schemeClr val="bg1"/>
          </a:solidFill>
        </p:spPr>
        <p:txBody>
          <a:bodyPr wrap="square" lIns="0" tIns="0" rIns="0" bIns="0">
            <a:spAutoFit/>
          </a:bodyPr>
          <a:lstStyle/>
          <a:p>
            <a:r>
              <a:rPr lang="en-US" sz="1000" dirty="0"/>
              <a:t>An additional and essential point of discussion concerns who should be responsible for the extension of SAREF, its maintenance and, more in general, the governance of the envisioned network of ontologies. Not only SAREF, but also the network of ontologies needs to be maintained in order to identify and correct defects, accomodate new requirements, and cope with changes overtime. In principle, anybody can create a new ontology that makes use of SAREF and the creator of such ontology is responsible for its maintenance and versioning, independent from SAREF. In this way, the maintenence of the network will be distributed over </a:t>
            </a:r>
            <a:r>
              <a:rPr lang="en-US" sz="1000" dirty="0">
                <a:solidFill>
                  <a:schemeClr val="accent3">
                    <a:lumMod val="50000"/>
                  </a:schemeClr>
                </a:solidFill>
              </a:rPr>
              <a:t>the creators of the new ontologies sprouting from SAREF. To avoid inconsistency and confusion, we in contrast believe that the maintenance of SAREF should be delegated to a single party (E.g., and individual organization or a group of organizations) who should also take care of aligning SAREF with new ontologies in the network when necessary. Consider, for</a:t>
            </a:r>
            <a:r>
              <a:rPr lang="en-US" sz="1000" dirty="0"/>
              <a:t> example, the casr in which several extensions, like the one created for EEBus and Energy@home, are developed to accomodate different use cases, but present common recurringconcepts or properties that could be “Promoted” as core-upper concepts in SAREF. </a:t>
            </a:r>
            <a:r>
              <a:rPr lang="en-US" sz="1000" dirty="0">
                <a:solidFill>
                  <a:schemeClr val="accent3">
                    <a:lumMod val="50000"/>
                  </a:schemeClr>
                </a:solidFill>
              </a:rPr>
              <a:t>Which organization is going to implement the necessary updates and create the new version of SAREF? TNO could be a natural candidate as the creator of thr=e first version of SAREF, but it is the EC who is the official ownwr of SAREF, ETSI is given the responsibilty to adopt SAREF as a Technical Specification (TS) [8], and a large number of industrial stakeholders have closely collaborates as domain experts in SAREF’s development. Also new parties such as W3C could play a role</a:t>
            </a:r>
          </a:p>
        </p:txBody>
      </p:sp>
      <p:graphicFrame>
        <p:nvGraphicFramePr>
          <p:cNvPr id="25" name="Object 2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286" imgH="286" progId="TCLayout.ActiveDocument.1">
                  <p:embed/>
                </p:oleObj>
              </mc:Choice>
              <mc:Fallback>
                <p:oleObj name="think-cell Slide" r:id="rId5" imgW="286" imgH="286" progId="TCLayout.ActiveDocument.1">
                  <p:embed/>
                  <p:pic>
                    <p:nvPicPr>
                      <p:cNvPr id="25" name="Object 2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0C4BBF75-2106-40DB-A415-4394C0F92E15}"/>
              </a:ext>
            </a:extLst>
          </p:cNvPr>
          <p:cNvSpPr>
            <a:spLocks noGrp="1"/>
          </p:cNvSpPr>
          <p:nvPr>
            <p:ph type="sldNum" sz="quarter" idx="4"/>
          </p:nvPr>
        </p:nvSpPr>
        <p:spPr/>
        <p:txBody>
          <a:bodyPr/>
          <a:lstStyle/>
          <a:p>
            <a:fld id="{EBC262BB-4310-134F-8D24-58475080D942}" type="slidenum">
              <a:rPr lang="en-US" smtClean="0"/>
              <a:pPr/>
              <a:t>37</a:t>
            </a:fld>
            <a:endParaRPr lang="en-US" dirty="0"/>
          </a:p>
        </p:txBody>
      </p:sp>
      <p:sp>
        <p:nvSpPr>
          <p:cNvPr id="11" name="Rectangle 10">
            <a:extLst>
              <a:ext uri="{FF2B5EF4-FFF2-40B4-BE49-F238E27FC236}">
                <a16:creationId xmlns:a16="http://schemas.microsoft.com/office/drawing/2014/main" id="{66BA3C99-C58C-4C61-B3C3-EEA308AC1992}"/>
              </a:ext>
            </a:extLst>
          </p:cNvPr>
          <p:cNvSpPr/>
          <p:nvPr/>
        </p:nvSpPr>
        <p:spPr>
          <a:xfrm>
            <a:off x="6824099" y="2835362"/>
            <a:ext cx="4115792" cy="1384995"/>
          </a:xfrm>
          <a:prstGeom prst="rect">
            <a:avLst/>
          </a:prstGeom>
        </p:spPr>
        <p:txBody>
          <a:bodyPr wrap="square" lIns="0" tIns="0" rIns="0" bIns="0">
            <a:spAutoFit/>
          </a:bodyPr>
          <a:lstStyle/>
          <a:p>
            <a:r>
              <a:rPr lang="en-US" sz="1000" b="1" dirty="0"/>
              <a:t>ETSI STF 578: The value of SAREF is strongly correlated with the size of its community of users, and also to the agility of the SAREF developers to improve the SAREF ontology and react to raised issues. As such, SAREF users’ community and the industry actors need be attracted to SAREF with clear Web documentation and a clear indication about how to provide</a:t>
            </a:r>
            <a:br>
              <a:rPr lang="en-US" sz="1000" b="1" dirty="0"/>
            </a:br>
            <a:r>
              <a:rPr lang="en-US" sz="1000" b="1" dirty="0"/>
              <a:t>their input and the kind of input that they</a:t>
            </a:r>
            <a:br>
              <a:rPr lang="en-US" sz="1000" b="1" dirty="0"/>
            </a:br>
            <a:r>
              <a:rPr lang="en-US" sz="1000" b="1" dirty="0"/>
              <a:t>can provide</a:t>
            </a:r>
          </a:p>
          <a:p>
            <a:endParaRPr lang="en-US" sz="1000" b="1" dirty="0"/>
          </a:p>
          <a:p>
            <a:r>
              <a:rPr lang="en-US" sz="1000" b="1" dirty="0">
                <a:hlinkClick r:id="rId7"/>
              </a:rPr>
              <a:t>https://portal.etsi.org/STF/STFs/STF-HomePages/STF578</a:t>
            </a:r>
            <a:r>
              <a:rPr lang="en-US" sz="1000" b="1" dirty="0"/>
              <a:t> </a:t>
            </a:r>
          </a:p>
        </p:txBody>
      </p:sp>
      <p:sp>
        <p:nvSpPr>
          <p:cNvPr id="19" name="Rectangle 18">
            <a:extLst>
              <a:ext uri="{FF2B5EF4-FFF2-40B4-BE49-F238E27FC236}">
                <a16:creationId xmlns:a16="http://schemas.microsoft.com/office/drawing/2014/main" id="{66BA3C99-C58C-4C61-B3C3-EEA308AC1992}"/>
              </a:ext>
            </a:extLst>
          </p:cNvPr>
          <p:cNvSpPr/>
          <p:nvPr/>
        </p:nvSpPr>
        <p:spPr>
          <a:xfrm>
            <a:off x="1236775" y="4747552"/>
            <a:ext cx="4526777" cy="1384995"/>
          </a:xfrm>
          <a:prstGeom prst="rect">
            <a:avLst/>
          </a:prstGeom>
        </p:spPr>
        <p:txBody>
          <a:bodyPr wrap="square" lIns="0" tIns="0" rIns="0" bIns="0">
            <a:spAutoFit/>
          </a:bodyPr>
          <a:lstStyle/>
          <a:p>
            <a:r>
              <a:rPr lang="en-US" sz="1000" dirty="0"/>
              <a:t>We concluded that </a:t>
            </a:r>
            <a:r>
              <a:rPr lang="en-US" sz="1000" dirty="0">
                <a:solidFill>
                  <a:schemeClr val="accent3">
                    <a:lumMod val="50000"/>
                  </a:schemeClr>
                </a:solidFill>
              </a:rPr>
              <a:t>there is a need for flexible and user-friendly solutions to further promote the adoption of SAREF allow third-party developers and users to utilize the ontology, either the whole model or a relevant subset of it. Moreover, we identified the need for suitable mechanisms to define the SAREF extension and maintenance workflow, manage SAREF extensions and changes submitted by its users, possibly exploiting state-of-the-art versioning and consistency checking. </a:t>
            </a:r>
            <a:r>
              <a:rPr lang="en-US" sz="1000" dirty="0"/>
              <a:t>The question of which organization(s) should be responsible for the maintenance, extension and governance of the SAREF network of ontologies remains open and needs special attention in the immediate future</a:t>
            </a:r>
          </a:p>
        </p:txBody>
      </p:sp>
      <p:sp>
        <p:nvSpPr>
          <p:cNvPr id="13" name="Rectangle: Single Corner Snipped 10">
            <a:extLst>
              <a:ext uri="{FF2B5EF4-FFF2-40B4-BE49-F238E27FC236}">
                <a16:creationId xmlns:a16="http://schemas.microsoft.com/office/drawing/2014/main" id="{9C78AA8D-886D-4CAF-9571-656A08B90672}"/>
              </a:ext>
            </a:extLst>
          </p:cNvPr>
          <p:cNvSpPr/>
          <p:nvPr/>
        </p:nvSpPr>
        <p:spPr>
          <a:xfrm>
            <a:off x="1236775" y="731452"/>
            <a:ext cx="1220442" cy="318659"/>
          </a:xfrm>
          <a:prstGeom prst="rect">
            <a:avLst/>
          </a:prstGeom>
          <a:solidFill>
            <a:schemeClr val="tx2"/>
          </a:solidFill>
        </p:spPr>
        <p:style>
          <a:lnRef idx="3">
            <a:schemeClr val="lt1"/>
          </a:lnRef>
          <a:fillRef idx="1">
            <a:schemeClr val="accent2"/>
          </a:fillRef>
          <a:effectRef idx="1">
            <a:schemeClr val="accent2"/>
          </a:effectRef>
          <a:fontRef idx="minor">
            <a:schemeClr val="lt1"/>
          </a:fontRef>
        </p:style>
        <p:txBody>
          <a:bodyPr lIns="0" tIns="0" rIns="0" bIns="0" rtlCol="0" anchor="ctr"/>
          <a:lstStyle/>
          <a:p>
            <a:pPr algn="ctr"/>
            <a:r>
              <a:rPr lang="en-US" sz="1600" dirty="0">
                <a:solidFill>
                  <a:schemeClr val="tx1"/>
                </a:solidFill>
              </a:rPr>
              <a:t>2015</a:t>
            </a:r>
          </a:p>
        </p:txBody>
      </p:sp>
      <p:sp>
        <p:nvSpPr>
          <p:cNvPr id="15" name="Rectangle: Single Corner Snipped 10">
            <a:extLst>
              <a:ext uri="{FF2B5EF4-FFF2-40B4-BE49-F238E27FC236}">
                <a16:creationId xmlns:a16="http://schemas.microsoft.com/office/drawing/2014/main" id="{87BE5CCB-98D0-4C26-8AE7-9B2C254ABF9D}"/>
              </a:ext>
            </a:extLst>
          </p:cNvPr>
          <p:cNvSpPr/>
          <p:nvPr/>
        </p:nvSpPr>
        <p:spPr>
          <a:xfrm>
            <a:off x="6824098" y="2356685"/>
            <a:ext cx="1220442" cy="318659"/>
          </a:xfrm>
          <a:prstGeom prst="rect">
            <a:avLst/>
          </a:prstGeom>
          <a:solidFill>
            <a:schemeClr val="tx2"/>
          </a:solidFill>
        </p:spPr>
        <p:style>
          <a:lnRef idx="3">
            <a:schemeClr val="lt1"/>
          </a:lnRef>
          <a:fillRef idx="1">
            <a:schemeClr val="accent2"/>
          </a:fillRef>
          <a:effectRef idx="1">
            <a:schemeClr val="accent2"/>
          </a:effectRef>
          <a:fontRef idx="minor">
            <a:schemeClr val="lt1"/>
          </a:fontRef>
        </p:style>
        <p:txBody>
          <a:bodyPr lIns="0" tIns="0" rIns="0" bIns="0" rtlCol="0" anchor="ctr"/>
          <a:lstStyle/>
          <a:p>
            <a:pPr algn="ctr"/>
            <a:r>
              <a:rPr lang="en-US" sz="1600" dirty="0">
                <a:solidFill>
                  <a:schemeClr val="tx1"/>
                </a:solidFill>
              </a:rPr>
              <a:t>2020</a:t>
            </a:r>
          </a:p>
        </p:txBody>
      </p:sp>
      <p:pic>
        <p:nvPicPr>
          <p:cNvPr id="17" name="Picture 1" descr="image002">
            <a:extLst>
              <a:ext uri="{FF2B5EF4-FFF2-40B4-BE49-F238E27FC236}">
                <a16:creationId xmlns:a16="http://schemas.microsoft.com/office/drawing/2014/main" id="{D29F17DD-6C73-4A0A-9094-B5DFAEC3BF61}"/>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7080404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Some lessons learned</a:t>
            </a:r>
          </a:p>
        </p:txBody>
      </p:sp>
      <p:sp>
        <p:nvSpPr>
          <p:cNvPr id="3" name="Slide Number Placeholder 2"/>
          <p:cNvSpPr>
            <a:spLocks noGrp="1"/>
          </p:cNvSpPr>
          <p:nvPr>
            <p:ph type="sldNum" sz="quarter" idx="4"/>
          </p:nvPr>
        </p:nvSpPr>
        <p:spPr>
          <a:prstGeom prst="rect">
            <a:avLst/>
          </a:prstGeom>
        </p:spPr>
        <p:txBody>
          <a:bodyPr/>
          <a:lstStyle/>
          <a:p>
            <a:fld id="{EBC262BB-4310-134F-8D24-58475080D942}" type="slidenum">
              <a:rPr lang="en-US" smtClean="0"/>
              <a:pPr/>
              <a:t>38</a:t>
            </a:fld>
            <a:endParaRPr lang="en-US" dirty="0"/>
          </a:p>
        </p:txBody>
      </p:sp>
    </p:spTree>
    <p:extLst>
      <p:ext uri="{BB962C8B-B14F-4D97-AF65-F5344CB8AC3E}">
        <p14:creationId xmlns:p14="http://schemas.microsoft.com/office/powerpoint/2010/main" val="63880375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a:t>What made SAREF a successful story (I)</a:t>
            </a:r>
          </a:p>
        </p:txBody>
      </p:sp>
      <p:sp>
        <p:nvSpPr>
          <p:cNvPr id="6" name="Text Placeholder 5"/>
          <p:cNvSpPr>
            <a:spLocks noGrp="1"/>
          </p:cNvSpPr>
          <p:nvPr>
            <p:ph type="body" sz="quarter" idx="11"/>
          </p:nvPr>
        </p:nvSpPr>
        <p:spPr>
          <a:xfrm>
            <a:off x="985071" y="1884743"/>
            <a:ext cx="9382012" cy="4247804"/>
          </a:xfrm>
        </p:spPr>
        <p:txBody>
          <a:bodyPr/>
          <a:lstStyle/>
          <a:p>
            <a:pPr marL="0" indent="0">
              <a:spcBef>
                <a:spcPts val="0"/>
              </a:spcBef>
              <a:buClrTx/>
              <a:buSzPct val="100000"/>
              <a:buFont typeface="Trebuchet MS" panose="020B0603020202020204" pitchFamily="34" charset="0"/>
              <a:buChar char="​"/>
            </a:pPr>
            <a:r>
              <a:rPr lang="en-US" sz="1600" dirty="0">
                <a:solidFill>
                  <a:schemeClr val="tx1">
                    <a:lumMod val="100000"/>
                  </a:schemeClr>
                </a:solidFill>
              </a:rPr>
              <a:t>SAREF started with the vision of some people</a:t>
            </a:r>
          </a:p>
          <a:p>
            <a:pPr marL="324000" lvl="1" indent="-216000">
              <a:lnSpc>
                <a:spcPct val="100000"/>
              </a:lnSpc>
              <a:spcBef>
                <a:spcPts val="0"/>
              </a:spcBef>
              <a:buClr>
                <a:schemeClr val="tx2">
                  <a:lumMod val="100000"/>
                </a:schemeClr>
              </a:buClr>
              <a:buSzPct val="100000"/>
              <a:buFont typeface="Trebuchet MS" panose="020B0603020202020204" pitchFamily="34" charset="0"/>
              <a:buChar char="•"/>
            </a:pPr>
            <a:r>
              <a:rPr lang="en-US" sz="1600" dirty="0">
                <a:solidFill>
                  <a:schemeClr val="tx1">
                    <a:lumMod val="100000"/>
                  </a:schemeClr>
                </a:solidFill>
              </a:rPr>
              <a:t>Clear vision, even if lots of things changed on the way (for example, people) the vision helped to keep focus</a:t>
            </a:r>
          </a:p>
          <a:p>
            <a:pPr marL="324000" lvl="1" indent="-216000">
              <a:lnSpc>
                <a:spcPct val="100000"/>
              </a:lnSpc>
              <a:spcBef>
                <a:spcPts val="0"/>
              </a:spcBef>
              <a:buClr>
                <a:schemeClr val="tx2">
                  <a:lumMod val="100000"/>
                </a:schemeClr>
              </a:buClr>
              <a:buSzPct val="100000"/>
              <a:buFont typeface="Trebuchet MS" panose="020B0603020202020204" pitchFamily="34" charset="0"/>
              <a:buChar char="•"/>
            </a:pPr>
            <a:r>
              <a:rPr lang="en-US" sz="1600" dirty="0">
                <a:solidFill>
                  <a:schemeClr val="tx1">
                    <a:lumMod val="100000"/>
                  </a:schemeClr>
                </a:solidFill>
              </a:rPr>
              <a:t>Step by step approach, project by project, believing in the vision</a:t>
            </a:r>
            <a:endParaRPr lang="en-US" sz="1600" dirty="0">
              <a:solidFill>
                <a:schemeClr val="tx1">
                  <a:lumMod val="100000"/>
                </a:schemeClr>
              </a:solidFill>
              <a:sym typeface="Wingdings" panose="05000000000000000000" pitchFamily="2" charset="2"/>
            </a:endParaRPr>
          </a:p>
          <a:p>
            <a:pPr marL="324000" lvl="1" indent="-216000">
              <a:spcBef>
                <a:spcPts val="0"/>
              </a:spcBef>
              <a:buClr>
                <a:schemeClr val="tx2">
                  <a:lumMod val="100000"/>
                </a:schemeClr>
              </a:buClr>
              <a:buSzPct val="100000"/>
              <a:buFont typeface="Trebuchet MS" panose="020B0603020202020204" pitchFamily="34" charset="0"/>
              <a:buChar char="•"/>
            </a:pPr>
            <a:endParaRPr lang="en-US" sz="1600" dirty="0">
              <a:solidFill>
                <a:schemeClr val="tx1">
                  <a:lumMod val="100000"/>
                </a:schemeClr>
              </a:solidFill>
            </a:endParaRPr>
          </a:p>
          <a:p>
            <a:pPr marL="0" indent="0">
              <a:spcBef>
                <a:spcPts val="0"/>
              </a:spcBef>
              <a:buClrTx/>
              <a:buSzPct val="100000"/>
              <a:buFont typeface="Trebuchet MS" panose="020B0603020202020204" pitchFamily="34" charset="0"/>
              <a:buChar char="​"/>
            </a:pPr>
            <a:r>
              <a:rPr lang="en-US" sz="1600" dirty="0">
                <a:solidFill>
                  <a:schemeClr val="tx1">
                    <a:lumMod val="100000"/>
                  </a:schemeClr>
                </a:solidFill>
              </a:rPr>
              <a:t>It was a need, an explicit request from the industry</a:t>
            </a:r>
          </a:p>
          <a:p>
            <a:pPr marL="324000" lvl="1" indent="-216000">
              <a:lnSpc>
                <a:spcPct val="100000"/>
              </a:lnSpc>
              <a:spcBef>
                <a:spcPts val="0"/>
              </a:spcBef>
              <a:buClr>
                <a:schemeClr val="tx2">
                  <a:lumMod val="100000"/>
                </a:schemeClr>
              </a:buClr>
              <a:buSzPct val="100000"/>
              <a:buFont typeface="Trebuchet MS" panose="020B0603020202020204" pitchFamily="34" charset="0"/>
              <a:buChar char="•"/>
            </a:pPr>
            <a:r>
              <a:rPr lang="en-US" sz="1600" dirty="0">
                <a:solidFill>
                  <a:schemeClr val="tx1">
                    <a:lumMod val="100000"/>
                  </a:schemeClr>
                </a:solidFill>
              </a:rPr>
              <a:t>Close interaction with the industry</a:t>
            </a:r>
          </a:p>
          <a:p>
            <a:pPr marL="324000" lvl="1" indent="-216000">
              <a:lnSpc>
                <a:spcPct val="100000"/>
              </a:lnSpc>
              <a:spcBef>
                <a:spcPts val="0"/>
              </a:spcBef>
              <a:buClr>
                <a:schemeClr val="tx2">
                  <a:lumMod val="100000"/>
                </a:schemeClr>
              </a:buClr>
              <a:buSzPct val="100000"/>
              <a:buFont typeface="Trebuchet MS" panose="020B0603020202020204" pitchFamily="34" charset="0"/>
              <a:buChar char="•"/>
            </a:pPr>
            <a:r>
              <a:rPr lang="en-US" sz="1600" dirty="0">
                <a:solidFill>
                  <a:schemeClr val="tx1">
                    <a:lumMod val="100000"/>
                  </a:schemeClr>
                </a:solidFill>
              </a:rPr>
              <a:t>Built bottom up from existing data models, protocols and standards</a:t>
            </a:r>
          </a:p>
          <a:p>
            <a:pPr marL="324000" lvl="1" indent="-216000">
              <a:lnSpc>
                <a:spcPct val="100000"/>
              </a:lnSpc>
              <a:spcBef>
                <a:spcPts val="0"/>
              </a:spcBef>
              <a:buClr>
                <a:schemeClr val="tx2">
                  <a:lumMod val="100000"/>
                </a:schemeClr>
              </a:buClr>
              <a:buSzPct val="100000"/>
              <a:buFont typeface="Trebuchet MS" panose="020B0603020202020204" pitchFamily="34" charset="0"/>
              <a:buChar char="•"/>
            </a:pPr>
            <a:r>
              <a:rPr lang="en-US" sz="1600" dirty="0">
                <a:solidFill>
                  <a:schemeClr val="tx1">
                    <a:lumMod val="100000"/>
                  </a:schemeClr>
                </a:solidFill>
              </a:rPr>
              <a:t>Iterative and interacting approach. It introduced overhead (more interactions and work for experts), but guaranteed a result that better reflected the wishes of the community. It created trust in our work, increasing changes of strong acceptance of the results</a:t>
            </a:r>
          </a:p>
          <a:p>
            <a:pPr marL="324000" lvl="1" indent="-216000">
              <a:lnSpc>
                <a:spcPct val="100000"/>
              </a:lnSpc>
              <a:spcBef>
                <a:spcPts val="0"/>
              </a:spcBef>
              <a:buClr>
                <a:schemeClr val="tx2">
                  <a:lumMod val="100000"/>
                </a:schemeClr>
              </a:buClr>
              <a:buSzPct val="100000"/>
              <a:buFont typeface="Trebuchet MS" panose="020B0603020202020204" pitchFamily="34" charset="0"/>
              <a:buChar char="•"/>
            </a:pPr>
            <a:endParaRPr lang="en-US" sz="1600" dirty="0">
              <a:solidFill>
                <a:schemeClr val="tx1">
                  <a:lumMod val="100000"/>
                </a:schemeClr>
              </a:solidFill>
            </a:endParaRPr>
          </a:p>
          <a:p>
            <a:pPr marL="0" indent="0">
              <a:spcBef>
                <a:spcPts val="0"/>
              </a:spcBef>
              <a:buClrTx/>
              <a:buSzPct val="100000"/>
              <a:buFont typeface="Trebuchet MS" panose="020B0603020202020204" pitchFamily="34" charset="0"/>
              <a:buChar char="​"/>
            </a:pPr>
            <a:r>
              <a:rPr lang="en-US" sz="1600" dirty="0">
                <a:solidFill>
                  <a:schemeClr val="tx1">
                    <a:lumMod val="100000"/>
                  </a:schemeClr>
                </a:solidFill>
              </a:rPr>
              <a:t>It engaged more and more people on the way</a:t>
            </a:r>
          </a:p>
          <a:p>
            <a:pPr marL="324000" lvl="1" indent="-216000">
              <a:lnSpc>
                <a:spcPct val="100000"/>
              </a:lnSpc>
              <a:spcBef>
                <a:spcPts val="0"/>
              </a:spcBef>
              <a:buClr>
                <a:schemeClr val="tx2">
                  <a:lumMod val="100000"/>
                </a:schemeClr>
              </a:buClr>
              <a:buSzPct val="100000"/>
              <a:buFont typeface="Trebuchet MS" panose="020B0603020202020204" pitchFamily="34" charset="0"/>
              <a:buChar char="•"/>
            </a:pPr>
            <a:r>
              <a:rPr lang="en-US" sz="1600" dirty="0">
                <a:solidFill>
                  <a:schemeClr val="tx1">
                    <a:lumMod val="100000"/>
                  </a:schemeClr>
                </a:solidFill>
              </a:rPr>
              <a:t>Stakeholders from various domains</a:t>
            </a:r>
          </a:p>
          <a:p>
            <a:pPr marL="324000" lvl="1" indent="-216000">
              <a:lnSpc>
                <a:spcPct val="100000"/>
              </a:lnSpc>
              <a:spcBef>
                <a:spcPts val="0"/>
              </a:spcBef>
              <a:buClr>
                <a:schemeClr val="tx2">
                  <a:lumMod val="100000"/>
                </a:schemeClr>
              </a:buClr>
              <a:buSzPct val="100000"/>
              <a:buFont typeface="Trebuchet MS" panose="020B0603020202020204" pitchFamily="34" charset="0"/>
              <a:buChar char="•"/>
            </a:pPr>
            <a:r>
              <a:rPr lang="en-US" sz="1600" dirty="0">
                <a:solidFill>
                  <a:schemeClr val="tx1">
                    <a:lumMod val="100000"/>
                  </a:schemeClr>
                </a:solidFill>
              </a:rPr>
              <a:t>New experts that believed in the vision</a:t>
            </a:r>
          </a:p>
          <a:p>
            <a:pPr marL="324000" lvl="1" indent="-216000">
              <a:lnSpc>
                <a:spcPct val="100000"/>
              </a:lnSpc>
              <a:spcBef>
                <a:spcPts val="0"/>
              </a:spcBef>
              <a:buClr>
                <a:schemeClr val="tx2">
                  <a:lumMod val="100000"/>
                </a:schemeClr>
              </a:buClr>
              <a:buSzPct val="100000"/>
              <a:buFont typeface="Trebuchet MS" panose="020B0603020202020204" pitchFamily="34" charset="0"/>
              <a:buChar char="•"/>
            </a:pPr>
            <a:r>
              <a:rPr lang="en-US" sz="1600" dirty="0">
                <a:solidFill>
                  <a:schemeClr val="tx1">
                    <a:lumMod val="100000"/>
                  </a:schemeClr>
                </a:solidFill>
              </a:rPr>
              <a:t>People are the main asset</a:t>
            </a:r>
          </a:p>
        </p:txBody>
      </p:sp>
      <p:sp>
        <p:nvSpPr>
          <p:cNvPr id="3" name="Slide Number Placeholder 2"/>
          <p:cNvSpPr>
            <a:spLocks noGrp="1"/>
          </p:cNvSpPr>
          <p:nvPr>
            <p:ph type="sldNum" sz="quarter" idx="4"/>
          </p:nvPr>
        </p:nvSpPr>
        <p:spPr/>
        <p:txBody>
          <a:bodyPr/>
          <a:lstStyle/>
          <a:p>
            <a:fld id="{EBC262BB-4310-134F-8D24-58475080D942}" type="slidenum">
              <a:rPr lang="en-US" smtClean="0"/>
              <a:pPr/>
              <a:t>39</a:t>
            </a:fld>
            <a:endParaRPr lang="en-US" dirty="0"/>
          </a:p>
        </p:txBody>
      </p:sp>
      <p:sp>
        <p:nvSpPr>
          <p:cNvPr id="17" name="TextBox 16">
            <a:extLst>
              <a:ext uri="{FF2B5EF4-FFF2-40B4-BE49-F238E27FC236}">
                <a16:creationId xmlns:a16="http://schemas.microsoft.com/office/drawing/2014/main" id="{710CF08E-BA87-4222-A1DF-CE2D9F1849BC}"/>
              </a:ext>
            </a:extLst>
          </p:cNvPr>
          <p:cNvSpPr txBox="1"/>
          <p:nvPr/>
        </p:nvSpPr>
        <p:spPr>
          <a:xfrm>
            <a:off x="5638800" y="2971800"/>
            <a:ext cx="914400" cy="914400"/>
          </a:xfrm>
          <a:prstGeom prst="rect">
            <a:avLst/>
          </a:prstGeom>
        </p:spPr>
        <p:txBody>
          <a:bodyPr wrap="square" rtlCol="0">
            <a:noAutofit/>
          </a:bodyPr>
          <a:lstStyle/>
          <a:p>
            <a:pPr marL="0" indent="0">
              <a:lnSpc>
                <a:spcPct val="100000"/>
              </a:lnSpc>
              <a:spcBef>
                <a:spcPts val="2200"/>
              </a:spcBef>
              <a:buClr>
                <a:schemeClr val="accent3"/>
              </a:buClr>
              <a:buSzPct val="150000"/>
              <a:buFontTx/>
              <a:buNone/>
            </a:pPr>
            <a:endParaRPr lang="en-US" sz="2000" b="0" spc="0" dirty="0"/>
          </a:p>
        </p:txBody>
      </p:sp>
      <p:pic>
        <p:nvPicPr>
          <p:cNvPr id="8" name="Picture 1" descr="image002">
            <a:extLst>
              <a:ext uri="{FF2B5EF4-FFF2-40B4-BE49-F238E27FC236}">
                <a16:creationId xmlns:a16="http://schemas.microsoft.com/office/drawing/2014/main" id="{F762175E-9FFA-4067-956D-26E20DACDBFB}"/>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397125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5FD30CB-183D-44CE-8555-A30333FD43A4}"/>
              </a:ext>
            </a:extLst>
          </p:cNvPr>
          <p:cNvSpPr>
            <a:spLocks noGrp="1"/>
          </p:cNvSpPr>
          <p:nvPr>
            <p:ph type="body" sz="quarter" idx="10"/>
          </p:nvPr>
        </p:nvSpPr>
        <p:spPr/>
        <p:txBody>
          <a:bodyPr/>
          <a:lstStyle/>
          <a:p>
            <a:r>
              <a:rPr lang="nl-NL" dirty="0" err="1"/>
              <a:t>About</a:t>
            </a:r>
            <a:r>
              <a:rPr lang="nl-NL" dirty="0"/>
              <a:t> me</a:t>
            </a:r>
          </a:p>
        </p:txBody>
      </p:sp>
      <p:sp>
        <p:nvSpPr>
          <p:cNvPr id="3" name="Text Placeholder 2">
            <a:extLst>
              <a:ext uri="{FF2B5EF4-FFF2-40B4-BE49-F238E27FC236}">
                <a16:creationId xmlns:a16="http://schemas.microsoft.com/office/drawing/2014/main" id="{70D40F4B-D3E4-4EDC-9626-C64976F80FA6}"/>
              </a:ext>
            </a:extLst>
          </p:cNvPr>
          <p:cNvSpPr>
            <a:spLocks noGrp="1"/>
          </p:cNvSpPr>
          <p:nvPr>
            <p:ph type="body" sz="quarter" idx="11"/>
          </p:nvPr>
        </p:nvSpPr>
        <p:spPr>
          <a:xfrm>
            <a:off x="4749107" y="1733975"/>
            <a:ext cx="6019334" cy="4122965"/>
          </a:xfrm>
        </p:spPr>
        <p:txBody>
          <a:bodyPr/>
          <a:lstStyle/>
          <a:p>
            <a:pPr>
              <a:spcBef>
                <a:spcPts val="600"/>
              </a:spcBef>
            </a:pPr>
            <a:r>
              <a:rPr lang="nl-NL" sz="1600" dirty="0"/>
              <a:t>MSc in Electronic Engineering (University of Cagliari, Italy) </a:t>
            </a:r>
            <a:r>
              <a:rPr lang="nl-NL" sz="1600" dirty="0" err="1"/>
              <a:t>and</a:t>
            </a:r>
            <a:r>
              <a:rPr lang="nl-NL" sz="1600" dirty="0"/>
              <a:t> PhD in Computer </a:t>
            </a:r>
            <a:r>
              <a:rPr lang="nl-NL" sz="1600" dirty="0" err="1"/>
              <a:t>Science</a:t>
            </a:r>
            <a:r>
              <a:rPr lang="nl-NL" sz="1600" dirty="0"/>
              <a:t> (University of Twente, NL)</a:t>
            </a:r>
          </a:p>
          <a:p>
            <a:pPr>
              <a:spcBef>
                <a:spcPts val="600"/>
              </a:spcBef>
            </a:pPr>
            <a:r>
              <a:rPr lang="nl-NL" sz="1600" dirty="0"/>
              <a:t>Senior </a:t>
            </a:r>
            <a:r>
              <a:rPr lang="nl-NL" sz="1600" dirty="0" err="1"/>
              <a:t>Scientist</a:t>
            </a:r>
            <a:r>
              <a:rPr lang="nl-NL" sz="1600" dirty="0"/>
              <a:t> at TNO, Data </a:t>
            </a:r>
            <a:r>
              <a:rPr lang="nl-NL" sz="1600" dirty="0" err="1"/>
              <a:t>Science</a:t>
            </a:r>
            <a:r>
              <a:rPr lang="nl-NL" sz="1600" dirty="0"/>
              <a:t> </a:t>
            </a:r>
            <a:r>
              <a:rPr lang="nl-NL" sz="1600" dirty="0" err="1"/>
              <a:t>department</a:t>
            </a:r>
            <a:r>
              <a:rPr lang="nl-NL" sz="1600" dirty="0"/>
              <a:t>, Unit ICT</a:t>
            </a:r>
          </a:p>
          <a:p>
            <a:pPr>
              <a:spcBef>
                <a:spcPts val="600"/>
              </a:spcBef>
            </a:pPr>
            <a:r>
              <a:rPr lang="nl-NL" sz="1600" dirty="0"/>
              <a:t>Data </a:t>
            </a:r>
            <a:r>
              <a:rPr lang="nl-NL" sz="1600" dirty="0" err="1"/>
              <a:t>Science</a:t>
            </a:r>
            <a:r>
              <a:rPr lang="nl-NL" sz="1600" dirty="0"/>
              <a:t> </a:t>
            </a:r>
            <a:r>
              <a:rPr lang="nl-NL" sz="1600" dirty="0" err="1"/>
              <a:t>department</a:t>
            </a:r>
            <a:r>
              <a:rPr lang="nl-NL" sz="1600" dirty="0"/>
              <a:t> </a:t>
            </a:r>
            <a:r>
              <a:rPr lang="en-GB" sz="1600" dirty="0"/>
              <a:t>combines expertise in AI and data analytics with expertise in semantics, standards, interoperability architectures and data governance</a:t>
            </a:r>
            <a:endParaRPr lang="nl-NL" sz="1600" dirty="0"/>
          </a:p>
          <a:p>
            <a:pPr>
              <a:spcBef>
                <a:spcPts val="600"/>
              </a:spcBef>
            </a:pPr>
            <a:r>
              <a:rPr lang="nl-NL" sz="1600" dirty="0" err="1"/>
              <a:t>Leading</a:t>
            </a:r>
            <a:r>
              <a:rPr lang="nl-NL" sz="1600" dirty="0"/>
              <a:t> </a:t>
            </a:r>
            <a:r>
              <a:rPr lang="nl-NL" sz="1600" dirty="0" err="1"/>
              <a:t>semantic</a:t>
            </a:r>
            <a:r>
              <a:rPr lang="nl-NL" sz="1600" dirty="0"/>
              <a:t> </a:t>
            </a:r>
            <a:r>
              <a:rPr lang="nl-NL" sz="1600" dirty="0" err="1"/>
              <a:t>interoperability</a:t>
            </a:r>
            <a:r>
              <a:rPr lang="nl-NL" sz="1600" dirty="0"/>
              <a:t> research </a:t>
            </a:r>
            <a:r>
              <a:rPr lang="nl-NL" sz="1600" dirty="0" err="1"/>
              <a:t>and</a:t>
            </a:r>
            <a:r>
              <a:rPr lang="nl-NL" sz="1600" dirty="0"/>
              <a:t> </a:t>
            </a:r>
            <a:r>
              <a:rPr lang="nl-NL" sz="1600" dirty="0" err="1"/>
              <a:t>standardization</a:t>
            </a:r>
            <a:r>
              <a:rPr lang="nl-NL" sz="1600" dirty="0"/>
              <a:t> </a:t>
            </a:r>
            <a:r>
              <a:rPr lang="nl-NL" sz="1600" dirty="0" err="1"/>
              <a:t>activities</a:t>
            </a:r>
            <a:r>
              <a:rPr lang="nl-NL" sz="1600" dirty="0"/>
              <a:t> in </a:t>
            </a:r>
            <a:r>
              <a:rPr lang="nl-NL" sz="1600" dirty="0" err="1"/>
              <a:t>IoT</a:t>
            </a:r>
            <a:r>
              <a:rPr lang="nl-NL" sz="1600" dirty="0"/>
              <a:t> at TNO</a:t>
            </a:r>
          </a:p>
          <a:p>
            <a:pPr>
              <a:spcBef>
                <a:spcPts val="600"/>
              </a:spcBef>
            </a:pPr>
            <a:r>
              <a:rPr lang="nl-NL" sz="1600" dirty="0"/>
              <a:t>Expert in ETSI SmartM2M TC</a:t>
            </a:r>
          </a:p>
          <a:p>
            <a:pPr>
              <a:spcBef>
                <a:spcPts val="600"/>
              </a:spcBef>
            </a:pPr>
            <a:r>
              <a:rPr lang="nl-NL" sz="1600" dirty="0"/>
              <a:t>Co-leader of </a:t>
            </a:r>
            <a:r>
              <a:rPr lang="nl-NL" sz="1600" dirty="0" err="1"/>
              <a:t>the</a:t>
            </a:r>
            <a:r>
              <a:rPr lang="nl-NL" sz="1600" dirty="0"/>
              <a:t> </a:t>
            </a:r>
            <a:r>
              <a:rPr lang="nl-NL" sz="1600" dirty="0" err="1"/>
              <a:t>semantic</a:t>
            </a:r>
            <a:r>
              <a:rPr lang="nl-NL" sz="1600" dirty="0"/>
              <a:t> </a:t>
            </a:r>
            <a:r>
              <a:rPr lang="nl-NL" sz="1600" dirty="0" err="1"/>
              <a:t>interoperability</a:t>
            </a:r>
            <a:r>
              <a:rPr lang="nl-NL" sz="1600" dirty="0"/>
              <a:t> </a:t>
            </a:r>
            <a:r>
              <a:rPr lang="nl-NL" sz="1600" dirty="0" err="1"/>
              <a:t>group</a:t>
            </a:r>
            <a:r>
              <a:rPr lang="nl-NL" sz="1600" dirty="0"/>
              <a:t> in WG3 of AIOTI </a:t>
            </a:r>
            <a:r>
              <a:rPr lang="nl-NL" sz="1600" dirty="0" err="1"/>
              <a:t>together</a:t>
            </a:r>
            <a:r>
              <a:rPr lang="nl-NL" sz="1600" dirty="0"/>
              <a:t> </a:t>
            </a:r>
            <a:r>
              <a:rPr lang="nl-NL" sz="1600" dirty="0" err="1"/>
              <a:t>with</a:t>
            </a:r>
            <a:r>
              <a:rPr lang="nl-NL" sz="1600" dirty="0"/>
              <a:t> Martin Bauer (NEC)</a:t>
            </a:r>
          </a:p>
          <a:p>
            <a:pPr>
              <a:spcBef>
                <a:spcPts val="600"/>
              </a:spcBef>
            </a:pPr>
            <a:r>
              <a:rPr lang="nl-NL" sz="1600" dirty="0" err="1"/>
              <a:t>Leading</a:t>
            </a:r>
            <a:r>
              <a:rPr lang="nl-NL" sz="1600" dirty="0"/>
              <a:t> </a:t>
            </a:r>
            <a:r>
              <a:rPr lang="nl-NL" sz="1600" dirty="0" err="1"/>
              <a:t>scientist</a:t>
            </a:r>
            <a:r>
              <a:rPr lang="nl-NL" sz="1600" dirty="0"/>
              <a:t> in H2020 Interconnect large </a:t>
            </a:r>
            <a:r>
              <a:rPr lang="nl-NL" sz="1600" dirty="0" err="1"/>
              <a:t>scale</a:t>
            </a:r>
            <a:r>
              <a:rPr lang="nl-NL" sz="1600" dirty="0"/>
              <a:t> pilot </a:t>
            </a:r>
            <a:r>
              <a:rPr lang="nl-NL" sz="1600" dirty="0" err="1"/>
              <a:t>for</a:t>
            </a:r>
            <a:r>
              <a:rPr lang="nl-NL" sz="1600" dirty="0"/>
              <a:t> smart </a:t>
            </a:r>
            <a:r>
              <a:rPr lang="nl-NL" sz="1600" dirty="0" err="1"/>
              <a:t>and</a:t>
            </a:r>
            <a:r>
              <a:rPr lang="nl-NL" sz="1600" dirty="0"/>
              <a:t> </a:t>
            </a:r>
            <a:r>
              <a:rPr lang="nl-NL" sz="1600" dirty="0" err="1"/>
              <a:t>interoperable</a:t>
            </a:r>
            <a:r>
              <a:rPr lang="nl-NL" sz="1600" dirty="0"/>
              <a:t> homes, buildings </a:t>
            </a:r>
            <a:r>
              <a:rPr lang="nl-NL" sz="1600" dirty="0" err="1"/>
              <a:t>and</a:t>
            </a:r>
            <a:r>
              <a:rPr lang="nl-NL" sz="1600" dirty="0"/>
              <a:t> </a:t>
            </a:r>
            <a:r>
              <a:rPr lang="nl-NL" sz="1600" dirty="0" err="1"/>
              <a:t>grids</a:t>
            </a:r>
            <a:endParaRPr lang="nl-NL" sz="1600" dirty="0"/>
          </a:p>
          <a:p>
            <a:pPr>
              <a:spcBef>
                <a:spcPts val="600"/>
              </a:spcBef>
            </a:pPr>
            <a:r>
              <a:rPr lang="nl-NL" sz="1600" dirty="0" err="1"/>
              <a:t>Supervision</a:t>
            </a:r>
            <a:r>
              <a:rPr lang="nl-NL" sz="1600" dirty="0"/>
              <a:t> of </a:t>
            </a:r>
            <a:r>
              <a:rPr lang="nl-NL" sz="1600" dirty="0" err="1"/>
              <a:t>PhDs</a:t>
            </a:r>
            <a:r>
              <a:rPr lang="nl-NL" sz="1600" dirty="0"/>
              <a:t> </a:t>
            </a:r>
            <a:r>
              <a:rPr lang="nl-NL" sz="1600" dirty="0" err="1"/>
              <a:t>and</a:t>
            </a:r>
            <a:r>
              <a:rPr lang="nl-NL" sz="1600" dirty="0"/>
              <a:t> </a:t>
            </a:r>
            <a:r>
              <a:rPr lang="nl-NL" sz="1600" dirty="0" err="1"/>
              <a:t>MScs</a:t>
            </a:r>
            <a:r>
              <a:rPr lang="nl-NL" sz="1600" dirty="0"/>
              <a:t> </a:t>
            </a:r>
          </a:p>
          <a:p>
            <a:endParaRPr lang="nl-NL" dirty="0"/>
          </a:p>
        </p:txBody>
      </p:sp>
      <p:sp>
        <p:nvSpPr>
          <p:cNvPr id="4" name="Slide Number Placeholder 3">
            <a:extLst>
              <a:ext uri="{FF2B5EF4-FFF2-40B4-BE49-F238E27FC236}">
                <a16:creationId xmlns:a16="http://schemas.microsoft.com/office/drawing/2014/main" id="{0D9C590F-DB8E-40B8-A5C2-94B1C6D903BB}"/>
              </a:ext>
            </a:extLst>
          </p:cNvPr>
          <p:cNvSpPr>
            <a:spLocks noGrp="1"/>
          </p:cNvSpPr>
          <p:nvPr>
            <p:ph type="sldNum" sz="quarter" idx="4"/>
          </p:nvPr>
        </p:nvSpPr>
        <p:spPr/>
        <p:txBody>
          <a:bodyPr/>
          <a:lstStyle/>
          <a:p>
            <a:fld id="{EBC262BB-4310-134F-8D24-58475080D942}" type="slidenum">
              <a:rPr lang="en-US" smtClean="0"/>
              <a:pPr/>
              <a:t>4</a:t>
            </a:fld>
            <a:endParaRPr lang="en-US" dirty="0"/>
          </a:p>
        </p:txBody>
      </p:sp>
      <p:pic>
        <p:nvPicPr>
          <p:cNvPr id="7" name="Picture 6">
            <a:extLst>
              <a:ext uri="{FF2B5EF4-FFF2-40B4-BE49-F238E27FC236}">
                <a16:creationId xmlns:a16="http://schemas.microsoft.com/office/drawing/2014/main" id="{9717A26A-6A47-42F8-B127-DBAB268439B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0" y="1844675"/>
            <a:ext cx="2457450" cy="2457450"/>
          </a:xfrm>
          <a:prstGeom prst="rect">
            <a:avLst/>
          </a:prstGeom>
        </p:spPr>
      </p:pic>
      <p:sp>
        <p:nvSpPr>
          <p:cNvPr id="8" name="TextBox 7">
            <a:extLst>
              <a:ext uri="{FF2B5EF4-FFF2-40B4-BE49-F238E27FC236}">
                <a16:creationId xmlns:a16="http://schemas.microsoft.com/office/drawing/2014/main" id="{CC5B90A9-EC8E-402F-BBF1-503739DD2B8D}"/>
              </a:ext>
            </a:extLst>
          </p:cNvPr>
          <p:cNvSpPr txBox="1"/>
          <p:nvPr/>
        </p:nvSpPr>
        <p:spPr>
          <a:xfrm>
            <a:off x="856557" y="4540250"/>
            <a:ext cx="3892550" cy="1111250"/>
          </a:xfrm>
          <a:prstGeom prst="rect">
            <a:avLst/>
          </a:prstGeom>
        </p:spPr>
        <p:txBody>
          <a:bodyPr wrap="none" rtlCol="0">
            <a:noAutofit/>
          </a:bodyPr>
          <a:lstStyle/>
          <a:p>
            <a:pPr indent="0">
              <a:lnSpc>
                <a:spcPct val="100000"/>
              </a:lnSpc>
              <a:spcBef>
                <a:spcPts val="600"/>
              </a:spcBef>
              <a:buClr>
                <a:schemeClr val="accent3"/>
              </a:buClr>
              <a:buSzPct val="150000"/>
              <a:buFontTx/>
              <a:buNone/>
            </a:pPr>
            <a:r>
              <a:rPr lang="nl-NL" sz="1600" dirty="0">
                <a:solidFill>
                  <a:srgbClr val="EDAE00"/>
                </a:solidFill>
                <a:hlinkClick r:id="rId4"/>
              </a:rPr>
              <a:t>l</a:t>
            </a:r>
            <a:r>
              <a:rPr lang="nl-NL" sz="1600" b="0" spc="0" dirty="0">
                <a:solidFill>
                  <a:srgbClr val="EDAE00"/>
                </a:solidFill>
                <a:hlinkClick r:id="rId4"/>
              </a:rPr>
              <a:t>aura.daniele@tno.nl</a:t>
            </a:r>
            <a:endParaRPr lang="nl-NL" sz="1600" b="0" spc="0" dirty="0">
              <a:solidFill>
                <a:srgbClr val="EDAE00"/>
              </a:solidFill>
            </a:endParaRPr>
          </a:p>
          <a:p>
            <a:pPr>
              <a:spcBef>
                <a:spcPts val="600"/>
              </a:spcBef>
              <a:buClr>
                <a:schemeClr val="accent3"/>
              </a:buClr>
              <a:buSzPct val="150000"/>
            </a:pPr>
            <a:r>
              <a:rPr lang="nl-NL" sz="1600" dirty="0">
                <a:solidFill>
                  <a:srgbClr val="EDAE00"/>
                </a:solidFill>
                <a:hlinkClick r:id="rId5"/>
              </a:rPr>
              <a:t>https://nl.linkedin.com/in/lauradaniele</a:t>
            </a:r>
            <a:endParaRPr lang="nl-NL" sz="1600" dirty="0">
              <a:solidFill>
                <a:srgbClr val="EDAE00"/>
              </a:solidFill>
            </a:endParaRPr>
          </a:p>
          <a:p>
            <a:pPr>
              <a:spcBef>
                <a:spcPts val="2200"/>
              </a:spcBef>
              <a:buClr>
                <a:schemeClr val="accent3"/>
              </a:buClr>
              <a:buSzPct val="150000"/>
            </a:pPr>
            <a:endParaRPr lang="nl-NL" sz="2000" dirty="0">
              <a:solidFill>
                <a:srgbClr val="EDAE00"/>
              </a:solidFill>
            </a:endParaRPr>
          </a:p>
          <a:p>
            <a:pPr marL="0" indent="0">
              <a:lnSpc>
                <a:spcPct val="100000"/>
              </a:lnSpc>
              <a:spcBef>
                <a:spcPts val="2200"/>
              </a:spcBef>
              <a:buClr>
                <a:schemeClr val="accent3"/>
              </a:buClr>
              <a:buSzPct val="150000"/>
              <a:buFontTx/>
              <a:buNone/>
            </a:pPr>
            <a:endParaRPr lang="nl-NL" sz="2000" b="0" spc="0" dirty="0">
              <a:solidFill>
                <a:srgbClr val="EDAE00"/>
              </a:solidFill>
            </a:endParaRPr>
          </a:p>
          <a:p>
            <a:pPr marL="0" indent="0">
              <a:lnSpc>
                <a:spcPct val="100000"/>
              </a:lnSpc>
              <a:spcBef>
                <a:spcPts val="2200"/>
              </a:spcBef>
              <a:buClr>
                <a:schemeClr val="accent3"/>
              </a:buClr>
              <a:buSzPct val="150000"/>
              <a:buFontTx/>
              <a:buNone/>
            </a:pPr>
            <a:endParaRPr lang="nl-NL" sz="2000" b="0" spc="0" dirty="0">
              <a:solidFill>
                <a:srgbClr val="EDAE00"/>
              </a:solidFill>
            </a:endParaRPr>
          </a:p>
        </p:txBody>
      </p:sp>
      <p:pic>
        <p:nvPicPr>
          <p:cNvPr id="9" name="Picture 1" descr="image002">
            <a:extLst>
              <a:ext uri="{FF2B5EF4-FFF2-40B4-BE49-F238E27FC236}">
                <a16:creationId xmlns:a16="http://schemas.microsoft.com/office/drawing/2014/main" id="{1A2BA5B2-63D3-4407-A5D7-D58B481BC490}"/>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6085936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a:t>What made SAREF a successful story (II)</a:t>
            </a:r>
          </a:p>
        </p:txBody>
      </p:sp>
      <p:sp>
        <p:nvSpPr>
          <p:cNvPr id="6" name="Text Placeholder 5"/>
          <p:cNvSpPr>
            <a:spLocks noGrp="1"/>
          </p:cNvSpPr>
          <p:nvPr>
            <p:ph type="body" sz="quarter" idx="11"/>
          </p:nvPr>
        </p:nvSpPr>
        <p:spPr/>
        <p:txBody>
          <a:bodyPr/>
          <a:lstStyle/>
          <a:p>
            <a:pPr marL="0" indent="0">
              <a:spcBef>
                <a:spcPts val="0"/>
              </a:spcBef>
              <a:buClrTx/>
              <a:buSzPct val="100000"/>
              <a:buFont typeface="Trebuchet MS" panose="020B0603020202020204" pitchFamily="34" charset="0"/>
              <a:buChar char="​"/>
            </a:pPr>
            <a:r>
              <a:rPr lang="en-US" sz="1600" dirty="0">
                <a:solidFill>
                  <a:schemeClr val="tx1">
                    <a:lumMod val="100000"/>
                  </a:schemeClr>
                </a:solidFill>
              </a:rPr>
              <a:t>It got the support of the standardization world already at an early stage</a:t>
            </a:r>
          </a:p>
          <a:p>
            <a:pPr marL="324000" lvl="1" indent="-216000">
              <a:lnSpc>
                <a:spcPct val="100000"/>
              </a:lnSpc>
              <a:spcBef>
                <a:spcPts val="0"/>
              </a:spcBef>
              <a:buClr>
                <a:schemeClr val="tx2">
                  <a:lumMod val="100000"/>
                </a:schemeClr>
              </a:buClr>
              <a:buSzPct val="100000"/>
              <a:buFont typeface="Trebuchet MS" panose="020B0603020202020204" pitchFamily="34" charset="0"/>
              <a:buChar char="•"/>
            </a:pPr>
            <a:r>
              <a:rPr lang="en-US" sz="1600" dirty="0">
                <a:solidFill>
                  <a:schemeClr val="tx1">
                    <a:lumMod val="100000"/>
                  </a:schemeClr>
                </a:solidFill>
              </a:rPr>
              <a:t>Unfortunately, a rich and expressive formal ontology that allows full reasoning does not guarantee its adoption by the industry </a:t>
            </a:r>
          </a:p>
          <a:p>
            <a:pPr marL="324000" lvl="1" indent="-216000">
              <a:lnSpc>
                <a:spcPct val="100000"/>
              </a:lnSpc>
              <a:spcBef>
                <a:spcPts val="0"/>
              </a:spcBef>
              <a:buClr>
                <a:schemeClr val="tx2">
                  <a:lumMod val="100000"/>
                </a:schemeClr>
              </a:buClr>
              <a:buSzPct val="100000"/>
              <a:buFont typeface="Trebuchet MS" panose="020B0603020202020204" pitchFamily="34" charset="0"/>
              <a:buChar char="•"/>
            </a:pPr>
            <a:r>
              <a:rPr lang="en-US" sz="1600" dirty="0">
                <a:solidFill>
                  <a:schemeClr val="tx1">
                    <a:lumMod val="100000"/>
                  </a:schemeClr>
                </a:solidFill>
              </a:rPr>
              <a:t>In contrast, a real, strong demand from the market combined with the enforcement of a standard by policy makers (European Commission) helps a lot</a:t>
            </a:r>
          </a:p>
          <a:p>
            <a:pPr marL="324000" lvl="1" indent="-216000">
              <a:lnSpc>
                <a:spcPct val="100000"/>
              </a:lnSpc>
              <a:spcBef>
                <a:spcPts val="0"/>
              </a:spcBef>
              <a:buClr>
                <a:schemeClr val="tx2">
                  <a:lumMod val="100000"/>
                </a:schemeClr>
              </a:buClr>
              <a:buSzPct val="100000"/>
              <a:buFont typeface="Trebuchet MS" panose="020B0603020202020204" pitchFamily="34" charset="0"/>
              <a:buChar char="•"/>
            </a:pPr>
            <a:r>
              <a:rPr lang="en-GB" sz="1600" dirty="0"/>
              <a:t>A new, dynamic standardization process was necessary to deal with the SAREF framework of ontologies, which are ongoing, living models that evolve over time, getting often improved and updated</a:t>
            </a:r>
          </a:p>
          <a:p>
            <a:pPr marL="324000" lvl="1" indent="-216000">
              <a:lnSpc>
                <a:spcPct val="100000"/>
              </a:lnSpc>
              <a:spcBef>
                <a:spcPts val="0"/>
              </a:spcBef>
              <a:buClr>
                <a:schemeClr val="tx2">
                  <a:lumMod val="100000"/>
                </a:schemeClr>
              </a:buClr>
              <a:buSzPct val="100000"/>
              <a:buFont typeface="Trebuchet MS" panose="020B0603020202020204" pitchFamily="34" charset="0"/>
              <a:buChar char="•"/>
            </a:pPr>
            <a:r>
              <a:rPr lang="en-GB" sz="1600" dirty="0"/>
              <a:t>Clear documentation and automation of the ontology creation/standardization process is crucial for adoption</a:t>
            </a:r>
            <a:endParaRPr lang="en-US" sz="1600" dirty="0">
              <a:solidFill>
                <a:schemeClr val="tx1">
                  <a:lumMod val="100000"/>
                </a:schemeClr>
              </a:solidFill>
            </a:endParaRPr>
          </a:p>
          <a:p>
            <a:pPr marL="0" indent="0">
              <a:spcBef>
                <a:spcPts val="0"/>
              </a:spcBef>
              <a:buClrTx/>
              <a:buSzPct val="100000"/>
              <a:buFont typeface="Trebuchet MS" panose="020B0603020202020204" pitchFamily="34" charset="0"/>
              <a:buChar char="​"/>
            </a:pPr>
            <a:endParaRPr lang="en-US" sz="1600" dirty="0">
              <a:solidFill>
                <a:schemeClr val="tx1">
                  <a:lumMod val="100000"/>
                </a:schemeClr>
              </a:solidFill>
            </a:endParaRPr>
          </a:p>
          <a:p>
            <a:pPr marL="0" indent="0">
              <a:spcBef>
                <a:spcPts val="0"/>
              </a:spcBef>
              <a:buClrTx/>
              <a:buSzPct val="100000"/>
              <a:buFont typeface="Trebuchet MS" panose="020B0603020202020204" pitchFamily="34" charset="0"/>
              <a:buChar char="​"/>
            </a:pPr>
            <a:r>
              <a:rPr lang="en-US" sz="1600" dirty="0">
                <a:solidFill>
                  <a:schemeClr val="tx1">
                    <a:lumMod val="100000"/>
                  </a:schemeClr>
                </a:solidFill>
              </a:rPr>
              <a:t>Creation of consensus is fostered by a neutral party</a:t>
            </a:r>
          </a:p>
          <a:p>
            <a:pPr marL="324000" lvl="1" indent="-216000">
              <a:lnSpc>
                <a:spcPct val="100000"/>
              </a:lnSpc>
              <a:spcBef>
                <a:spcPts val="0"/>
              </a:spcBef>
              <a:buClr>
                <a:schemeClr val="tx2">
                  <a:lumMod val="100000"/>
                </a:schemeClr>
              </a:buClr>
              <a:buSzPct val="100000"/>
              <a:buFont typeface="Trebuchet MS" panose="020B0603020202020204" pitchFamily="34" charset="0"/>
              <a:buChar char="•"/>
            </a:pPr>
            <a:r>
              <a:rPr lang="en-US" sz="1600" dirty="0">
                <a:solidFill>
                  <a:schemeClr val="tx1">
                    <a:lumMod val="100000"/>
                  </a:schemeClr>
                </a:solidFill>
              </a:rPr>
              <a:t>SAREF experts (TNO, UPM, MINES Saint-Étienne) are neutral parties, not seen as competitor in the market</a:t>
            </a:r>
          </a:p>
          <a:p>
            <a:pPr marL="0" indent="0">
              <a:spcBef>
                <a:spcPts val="0"/>
              </a:spcBef>
              <a:buClrTx/>
              <a:buSzPct val="100000"/>
              <a:buFont typeface="Trebuchet MS" panose="020B0603020202020204" pitchFamily="34" charset="0"/>
              <a:buChar char="​"/>
            </a:pPr>
            <a:endParaRPr lang="en-US" sz="1600" dirty="0">
              <a:solidFill>
                <a:schemeClr val="tx1">
                  <a:lumMod val="100000"/>
                </a:schemeClr>
              </a:solidFill>
            </a:endParaRPr>
          </a:p>
          <a:p>
            <a:pPr marL="0" indent="0">
              <a:spcBef>
                <a:spcPts val="0"/>
              </a:spcBef>
              <a:buClrTx/>
              <a:buSzPct val="100000"/>
              <a:buFont typeface="Trebuchet MS" panose="020B0603020202020204" pitchFamily="34" charset="0"/>
              <a:buChar char="​"/>
            </a:pPr>
            <a:r>
              <a:rPr lang="en-US" sz="1600" dirty="0">
                <a:solidFill>
                  <a:schemeClr val="tx1">
                    <a:lumMod val="100000"/>
                  </a:schemeClr>
                </a:solidFill>
              </a:rPr>
              <a:t>Clear process for maintenance and evolution should be taken into account since the beginning</a:t>
            </a:r>
          </a:p>
        </p:txBody>
      </p:sp>
      <p:sp>
        <p:nvSpPr>
          <p:cNvPr id="3" name="Slide Number Placeholder 2"/>
          <p:cNvSpPr>
            <a:spLocks noGrp="1"/>
          </p:cNvSpPr>
          <p:nvPr>
            <p:ph type="sldNum" sz="quarter" idx="4"/>
          </p:nvPr>
        </p:nvSpPr>
        <p:spPr/>
        <p:txBody>
          <a:bodyPr/>
          <a:lstStyle/>
          <a:p>
            <a:fld id="{EBC262BB-4310-134F-8D24-58475080D942}" type="slidenum">
              <a:rPr lang="en-US" smtClean="0"/>
              <a:pPr/>
              <a:t>40</a:t>
            </a:fld>
            <a:endParaRPr lang="en-US" dirty="0"/>
          </a:p>
        </p:txBody>
      </p:sp>
      <p:sp>
        <p:nvSpPr>
          <p:cNvPr id="17" name="TextBox 16">
            <a:extLst>
              <a:ext uri="{FF2B5EF4-FFF2-40B4-BE49-F238E27FC236}">
                <a16:creationId xmlns:a16="http://schemas.microsoft.com/office/drawing/2014/main" id="{710CF08E-BA87-4222-A1DF-CE2D9F1849BC}"/>
              </a:ext>
            </a:extLst>
          </p:cNvPr>
          <p:cNvSpPr txBox="1"/>
          <p:nvPr/>
        </p:nvSpPr>
        <p:spPr>
          <a:xfrm>
            <a:off x="5638800" y="2971800"/>
            <a:ext cx="914400" cy="914400"/>
          </a:xfrm>
          <a:prstGeom prst="rect">
            <a:avLst/>
          </a:prstGeom>
        </p:spPr>
        <p:txBody>
          <a:bodyPr wrap="square" rtlCol="0">
            <a:noAutofit/>
          </a:bodyPr>
          <a:lstStyle/>
          <a:p>
            <a:pPr marL="0" indent="0">
              <a:lnSpc>
                <a:spcPct val="100000"/>
              </a:lnSpc>
              <a:spcBef>
                <a:spcPts val="2200"/>
              </a:spcBef>
              <a:buClr>
                <a:schemeClr val="accent3"/>
              </a:buClr>
              <a:buSzPct val="150000"/>
              <a:buFontTx/>
              <a:buNone/>
            </a:pPr>
            <a:endParaRPr lang="en-US" sz="2000" b="0" spc="0" dirty="0"/>
          </a:p>
        </p:txBody>
      </p:sp>
      <p:pic>
        <p:nvPicPr>
          <p:cNvPr id="8" name="Picture 1" descr="image002">
            <a:extLst>
              <a:ext uri="{FF2B5EF4-FFF2-40B4-BE49-F238E27FC236}">
                <a16:creationId xmlns:a16="http://schemas.microsoft.com/office/drawing/2014/main" id="{9695A4B1-BC30-45CA-AF6C-C3FDE6E54BF4}"/>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5509037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What’s next towards</a:t>
            </a:r>
            <a:br>
              <a:rPr lang="en-US" dirty="0"/>
            </a:br>
            <a:r>
              <a:rPr lang="en-US" dirty="0"/>
              <a:t>the destination?</a:t>
            </a:r>
          </a:p>
        </p:txBody>
      </p:sp>
      <p:sp>
        <p:nvSpPr>
          <p:cNvPr id="3" name="Slide Number Placeholder 2"/>
          <p:cNvSpPr>
            <a:spLocks noGrp="1"/>
          </p:cNvSpPr>
          <p:nvPr>
            <p:ph type="sldNum" sz="quarter" idx="4"/>
          </p:nvPr>
        </p:nvSpPr>
        <p:spPr/>
        <p:txBody>
          <a:bodyPr/>
          <a:lstStyle/>
          <a:p>
            <a:fld id="{EBC262BB-4310-134F-8D24-58475080D942}" type="slidenum">
              <a:rPr lang="en-US" smtClean="0"/>
              <a:pPr/>
              <a:t>41</a:t>
            </a:fld>
            <a:endParaRPr lang="en-US" dirty="0"/>
          </a:p>
        </p:txBody>
      </p:sp>
    </p:spTree>
    <p:extLst>
      <p:ext uri="{BB962C8B-B14F-4D97-AF65-F5344CB8AC3E}">
        <p14:creationId xmlns:p14="http://schemas.microsoft.com/office/powerpoint/2010/main" val="115235014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Slide Number Placeholder 1"/>
          <p:cNvSpPr>
            <a:spLocks noGrp="1"/>
          </p:cNvSpPr>
          <p:nvPr>
            <p:ph type="sldNum" sz="quarter" idx="4"/>
          </p:nvPr>
        </p:nvSpPr>
        <p:spPr bwMode="auto"/>
        <p:txBody>
          <a:bodyPr/>
          <a:lstStyle/>
          <a:p>
            <a:pPr>
              <a:defRPr/>
            </a:pPr>
            <a:fld id="{EBC262BB-4310-134F-8D24-58475080D942}" type="slidenum">
              <a:rPr lang="en-US">
                <a:latin typeface="+mn-lt"/>
              </a:rPr>
              <a:t>42</a:t>
            </a:fld>
            <a:endParaRPr lang="en-US" dirty="0">
              <a:latin typeface="+mn-lt"/>
            </a:endParaRPr>
          </a:p>
        </p:txBody>
      </p:sp>
      <p:pic>
        <p:nvPicPr>
          <p:cNvPr id="5" name="Picture 4"/>
          <p:cNvPicPr>
            <a:picLocks noChangeAspect="1"/>
          </p:cNvPicPr>
          <p:nvPr/>
        </p:nvPicPr>
        <p:blipFill>
          <a:blip r:embed="rId3"/>
          <a:stretch/>
        </p:blipFill>
        <p:spPr bwMode="auto">
          <a:xfrm>
            <a:off x="0" y="0"/>
            <a:ext cx="12192000" cy="6858000"/>
          </a:xfrm>
          <a:prstGeom prst="rect">
            <a:avLst/>
          </a:prstGeom>
        </p:spPr>
      </p:pic>
      <p:sp>
        <p:nvSpPr>
          <p:cNvPr id="2" name="Rectangle 1">
            <a:extLst>
              <a:ext uri="{FF2B5EF4-FFF2-40B4-BE49-F238E27FC236}">
                <a16:creationId xmlns:a16="http://schemas.microsoft.com/office/drawing/2014/main" id="{B03FF19E-2329-4806-9F16-C1E04AA04A35}"/>
              </a:ext>
            </a:extLst>
          </p:cNvPr>
          <p:cNvSpPr/>
          <p:nvPr/>
        </p:nvSpPr>
        <p:spPr>
          <a:xfrm>
            <a:off x="9453315" y="5646889"/>
            <a:ext cx="2666114" cy="553998"/>
          </a:xfrm>
          <a:prstGeom prst="rect">
            <a:avLst/>
          </a:prstGeom>
        </p:spPr>
        <p:txBody>
          <a:bodyPr wrap="square" lIns="0" tIns="0" rIns="0" bIns="0">
            <a:spAutoFit/>
          </a:bodyPr>
          <a:lstStyle/>
          <a:p>
            <a:r>
              <a:rPr lang="en-US" dirty="0">
                <a:solidFill>
                  <a:schemeClr val="bg2"/>
                </a:solidFill>
                <a:hlinkClick r:id="rId4"/>
              </a:rPr>
              <a:t>https://interconnectproject.eu/</a:t>
            </a:r>
            <a:endParaRPr lang="en-US" dirty="0">
              <a:solidFill>
                <a:schemeClr val="bg2"/>
              </a:solidFill>
            </a:endParaRPr>
          </a:p>
        </p:txBody>
      </p:sp>
      <p:sp>
        <p:nvSpPr>
          <p:cNvPr id="6" name="Rectangle 5">
            <a:extLst>
              <a:ext uri="{FF2B5EF4-FFF2-40B4-BE49-F238E27FC236}">
                <a16:creationId xmlns:a16="http://schemas.microsoft.com/office/drawing/2014/main" id="{B41BA542-9BB3-4EB6-81FD-FECF08E1183B}"/>
              </a:ext>
            </a:extLst>
          </p:cNvPr>
          <p:cNvSpPr/>
          <p:nvPr/>
        </p:nvSpPr>
        <p:spPr bwMode="auto">
          <a:xfrm>
            <a:off x="87084" y="122707"/>
            <a:ext cx="2598057" cy="553998"/>
          </a:xfrm>
          <a:prstGeom prst="rect">
            <a:avLst/>
          </a:prstGeom>
        </p:spPr>
        <p:txBody>
          <a:bodyPr wrap="square" lIns="0" tIns="0" rIns="0" bIns="0">
            <a:spAutoFit/>
          </a:bodyPr>
          <a:lstStyle/>
          <a:p>
            <a:r>
              <a:rPr lang="en-US" b="1" dirty="0">
                <a:solidFill>
                  <a:schemeClr val="tx2"/>
                </a:solidFill>
              </a:rPr>
              <a:t>H2020 InterConnect Large Scale Pilot</a:t>
            </a:r>
          </a:p>
        </p:txBody>
      </p:sp>
      <p:sp>
        <p:nvSpPr>
          <p:cNvPr id="7" name="Rectangle 6">
            <a:extLst>
              <a:ext uri="{FF2B5EF4-FFF2-40B4-BE49-F238E27FC236}">
                <a16:creationId xmlns:a16="http://schemas.microsoft.com/office/drawing/2014/main" id="{57AD7543-6E18-40C2-BB8D-0F5F52ACBECB}"/>
              </a:ext>
            </a:extLst>
          </p:cNvPr>
          <p:cNvSpPr/>
          <p:nvPr/>
        </p:nvSpPr>
        <p:spPr bwMode="auto">
          <a:xfrm>
            <a:off x="9637981" y="122707"/>
            <a:ext cx="2481449" cy="276999"/>
          </a:xfrm>
          <a:prstGeom prst="rect">
            <a:avLst/>
          </a:prstGeom>
        </p:spPr>
        <p:txBody>
          <a:bodyPr wrap="none" lIns="0" tIns="0" rIns="0" bIns="0">
            <a:spAutoFit/>
          </a:bodyPr>
          <a:lstStyle/>
          <a:p>
            <a:r>
              <a:rPr lang="en-US" b="1" dirty="0">
                <a:solidFill>
                  <a:schemeClr val="tx2"/>
                </a:solidFill>
              </a:rPr>
              <a:t>Duration 2019-2023</a:t>
            </a:r>
          </a:p>
        </p:txBody>
      </p:sp>
      <p:sp>
        <p:nvSpPr>
          <p:cNvPr id="3" name="Rectangle 2">
            <a:extLst>
              <a:ext uri="{FF2B5EF4-FFF2-40B4-BE49-F238E27FC236}">
                <a16:creationId xmlns:a16="http://schemas.microsoft.com/office/drawing/2014/main" id="{DE1D38D6-337C-432D-84B7-AB65C334667A}"/>
              </a:ext>
            </a:extLst>
          </p:cNvPr>
          <p:cNvSpPr/>
          <p:nvPr/>
        </p:nvSpPr>
        <p:spPr>
          <a:xfrm>
            <a:off x="87084" y="5231390"/>
            <a:ext cx="2598057" cy="1384995"/>
          </a:xfrm>
          <a:prstGeom prst="rect">
            <a:avLst/>
          </a:prstGeom>
        </p:spPr>
        <p:txBody>
          <a:bodyPr wrap="square" lIns="0" tIns="0" rIns="0" bIns="0">
            <a:spAutoFit/>
          </a:bodyPr>
          <a:lstStyle/>
          <a:p>
            <a:r>
              <a:rPr lang="en-US" b="1" dirty="0">
                <a:solidFill>
                  <a:schemeClr val="tx2"/>
                </a:solidFill>
              </a:rPr>
              <a:t>interoperable solutions connecting smart homes, buildings and grids</a:t>
            </a:r>
          </a:p>
        </p:txBody>
      </p:sp>
    </p:spTree>
    <p:extLst>
      <p:ext uri="{BB962C8B-B14F-4D97-AF65-F5344CB8AC3E}">
        <p14:creationId xmlns:p14="http://schemas.microsoft.com/office/powerpoint/2010/main" val="298608571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a:extLst>
              <a:ext uri="{FF2B5EF4-FFF2-40B4-BE49-F238E27FC236}">
                <a16:creationId xmlns:a16="http://schemas.microsoft.com/office/drawing/2014/main" id="{182B3CC9-7E0C-453E-9D52-1CF44B822A6D}"/>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985764" y="1776382"/>
            <a:ext cx="8095456" cy="4553693"/>
          </a:xfrm>
          <a:prstGeom prst="rect">
            <a:avLst/>
          </a:prstGeom>
          <a:solidFill>
            <a:srgbClr val="FFFFFF"/>
          </a:solidFill>
        </p:spPr>
      </p:pic>
      <p:sp>
        <p:nvSpPr>
          <p:cNvPr id="3" name="Text Placeholder 2">
            <a:extLst>
              <a:ext uri="{FF2B5EF4-FFF2-40B4-BE49-F238E27FC236}">
                <a16:creationId xmlns:a16="http://schemas.microsoft.com/office/drawing/2014/main" id="{0659A621-2AFE-422C-A24A-9F2386F0F632}"/>
              </a:ext>
            </a:extLst>
          </p:cNvPr>
          <p:cNvSpPr>
            <a:spLocks noGrp="1"/>
          </p:cNvSpPr>
          <p:nvPr>
            <p:ph type="body" sz="quarter" idx="18"/>
          </p:nvPr>
        </p:nvSpPr>
        <p:spPr>
          <a:xfrm>
            <a:off x="986456" y="362663"/>
            <a:ext cx="9250743" cy="826313"/>
          </a:xfrm>
        </p:spPr>
        <p:txBody>
          <a:bodyPr>
            <a:normAutofit/>
          </a:bodyPr>
          <a:lstStyle/>
          <a:p>
            <a:pPr>
              <a:spcAft>
                <a:spcPts val="600"/>
              </a:spcAft>
            </a:pPr>
            <a:r>
              <a:rPr lang="nl-NL" dirty="0" err="1"/>
              <a:t>What</a:t>
            </a:r>
            <a:r>
              <a:rPr lang="nl-NL" dirty="0"/>
              <a:t> are </a:t>
            </a:r>
            <a:r>
              <a:rPr lang="nl-NL" dirty="0" err="1"/>
              <a:t>our</a:t>
            </a:r>
            <a:r>
              <a:rPr lang="nl-NL" dirty="0"/>
              <a:t> goals?</a:t>
            </a:r>
            <a:endParaRPr lang="nl-NL"/>
          </a:p>
          <a:p>
            <a:pPr>
              <a:spcAft>
                <a:spcPts val="600"/>
              </a:spcAft>
            </a:pPr>
            <a:endParaRPr lang="nl-NL"/>
          </a:p>
        </p:txBody>
      </p:sp>
      <p:sp>
        <p:nvSpPr>
          <p:cNvPr id="2" name="Slide Number Placeholder 1">
            <a:extLst>
              <a:ext uri="{FF2B5EF4-FFF2-40B4-BE49-F238E27FC236}">
                <a16:creationId xmlns:a16="http://schemas.microsoft.com/office/drawing/2014/main" id="{CA16FDA1-31A2-48A1-9F3D-0F3398D61622}"/>
              </a:ext>
            </a:extLst>
          </p:cNvPr>
          <p:cNvSpPr>
            <a:spLocks noGrp="1"/>
          </p:cNvSpPr>
          <p:nvPr>
            <p:ph type="sldNum" sz="quarter" idx="4"/>
          </p:nvPr>
        </p:nvSpPr>
        <p:spPr>
          <a:xfrm>
            <a:off x="-3" y="6132547"/>
            <a:ext cx="985767" cy="725453"/>
          </a:xfrm>
        </p:spPr>
        <p:txBody>
          <a:bodyPr anchor="ctr">
            <a:normAutofit/>
          </a:bodyPr>
          <a:lstStyle/>
          <a:p>
            <a:pPr>
              <a:spcAft>
                <a:spcPts val="600"/>
              </a:spcAft>
            </a:pPr>
            <a:fld id="{EBC262BB-4310-134F-8D24-58475080D942}" type="slidenum">
              <a:rPr lang="en-US" smtClean="0"/>
              <a:pPr>
                <a:spcAft>
                  <a:spcPts val="600"/>
                </a:spcAft>
              </a:pPr>
              <a:t>43</a:t>
            </a:fld>
            <a:endParaRPr lang="en-US"/>
          </a:p>
        </p:txBody>
      </p:sp>
      <p:pic>
        <p:nvPicPr>
          <p:cNvPr id="6" name="Picture 1" descr="image002">
            <a:extLst>
              <a:ext uri="{FF2B5EF4-FFF2-40B4-BE49-F238E27FC236}">
                <a16:creationId xmlns:a16="http://schemas.microsoft.com/office/drawing/2014/main" id="{E41AC519-F24D-496F-A6D5-AB416CBFD21A}"/>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3631931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6" imgW="286" imgH="286" progId="TCLayout.ActiveDocument.1">
                  <p:embed/>
                </p:oleObj>
              </mc:Choice>
              <mc:Fallback>
                <p:oleObj name="think-cell Slide" r:id="rId6" imgW="286" imgH="286" progId="TCLayout.ActiveDocument.1">
                  <p:embed/>
                  <p:pic>
                    <p:nvPicPr>
                      <p:cNvPr id="12" name="Object 1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600" dirty="0">
              <a:latin typeface="IBM Plex Mono" panose="020B0509050203000203" pitchFamily="49" charset="0"/>
              <a:sym typeface="IBM Plex Mono" panose="020B0509050203000203" pitchFamily="49" charset="0"/>
            </a:endParaRPr>
          </a:p>
        </p:txBody>
      </p:sp>
      <p:sp>
        <p:nvSpPr>
          <p:cNvPr id="3" name="Text Placeholder 2">
            <a:extLst>
              <a:ext uri="{FF2B5EF4-FFF2-40B4-BE49-F238E27FC236}">
                <a16:creationId xmlns:a16="http://schemas.microsoft.com/office/drawing/2014/main" id="{F1E531FE-7C7E-4036-AAA4-CD1ECC6EEF3E}"/>
              </a:ext>
            </a:extLst>
          </p:cNvPr>
          <p:cNvSpPr>
            <a:spLocks noGrp="1"/>
          </p:cNvSpPr>
          <p:nvPr>
            <p:ph type="body" sz="quarter" idx="18"/>
          </p:nvPr>
        </p:nvSpPr>
        <p:spPr/>
        <p:txBody>
          <a:bodyPr/>
          <a:lstStyle/>
          <a:p>
            <a:r>
              <a:rPr lang="en-US" dirty="0"/>
              <a:t>… and expected outputs?</a:t>
            </a:r>
          </a:p>
          <a:p>
            <a:endParaRPr lang="en-US" dirty="0"/>
          </a:p>
        </p:txBody>
      </p:sp>
      <p:sp>
        <p:nvSpPr>
          <p:cNvPr id="2" name="Slide Number Placeholder 1">
            <a:extLst>
              <a:ext uri="{FF2B5EF4-FFF2-40B4-BE49-F238E27FC236}">
                <a16:creationId xmlns:a16="http://schemas.microsoft.com/office/drawing/2014/main" id="{72F677B6-0C47-4715-87CD-082EAD379984}"/>
              </a:ext>
            </a:extLst>
          </p:cNvPr>
          <p:cNvSpPr>
            <a:spLocks noGrp="1"/>
          </p:cNvSpPr>
          <p:nvPr>
            <p:ph type="sldNum" sz="quarter" idx="4"/>
          </p:nvPr>
        </p:nvSpPr>
        <p:spPr/>
        <p:txBody>
          <a:bodyPr/>
          <a:lstStyle/>
          <a:p>
            <a:fld id="{EBC262BB-4310-134F-8D24-58475080D942}" type="slidenum">
              <a:rPr lang="en-US" smtClean="0"/>
              <a:pPr/>
              <a:t>44</a:t>
            </a:fld>
            <a:endParaRPr lang="en-US" dirty="0"/>
          </a:p>
        </p:txBody>
      </p:sp>
      <p:sp>
        <p:nvSpPr>
          <p:cNvPr id="39" name="Freeform 5"/>
          <p:cNvSpPr>
            <a:spLocks/>
          </p:cNvSpPr>
          <p:nvPr/>
        </p:nvSpPr>
        <p:spPr bwMode="auto">
          <a:xfrm>
            <a:off x="5611826" y="1742450"/>
            <a:ext cx="1470025" cy="1000125"/>
          </a:xfrm>
          <a:custGeom>
            <a:avLst/>
            <a:gdLst>
              <a:gd name="T0" fmla="*/ 7717 w 7717"/>
              <a:gd name="T1" fmla="*/ 3717 h 5256"/>
              <a:gd name="T2" fmla="*/ 0 w 7717"/>
              <a:gd name="T3" fmla="*/ 0 h 5256"/>
              <a:gd name="T4" fmla="*/ 0 w 7717"/>
              <a:gd name="T5" fmla="*/ 2468 h 5256"/>
              <a:gd name="T6" fmla="*/ 5788 w 7717"/>
              <a:gd name="T7" fmla="*/ 5256 h 5256"/>
              <a:gd name="T8" fmla="*/ 7717 w 7717"/>
              <a:gd name="T9" fmla="*/ 3717 h 5256"/>
            </a:gdLst>
            <a:ahLst/>
            <a:cxnLst>
              <a:cxn ang="0">
                <a:pos x="T0" y="T1"/>
              </a:cxn>
              <a:cxn ang="0">
                <a:pos x="T2" y="T3"/>
              </a:cxn>
              <a:cxn ang="0">
                <a:pos x="T4" y="T5"/>
              </a:cxn>
              <a:cxn ang="0">
                <a:pos x="T6" y="T7"/>
              </a:cxn>
              <a:cxn ang="0">
                <a:pos x="T8" y="T9"/>
              </a:cxn>
            </a:cxnLst>
            <a:rect l="0" t="0" r="r" b="b"/>
            <a:pathLst>
              <a:path w="7717" h="5256">
                <a:moveTo>
                  <a:pt x="7717" y="3717"/>
                </a:moveTo>
                <a:cubicBezTo>
                  <a:pt x="5844" y="1368"/>
                  <a:pt x="3004" y="0"/>
                  <a:pt x="0" y="0"/>
                </a:cubicBezTo>
                <a:lnTo>
                  <a:pt x="0" y="2468"/>
                </a:lnTo>
                <a:cubicBezTo>
                  <a:pt x="2253" y="2468"/>
                  <a:pt x="4383" y="3494"/>
                  <a:pt x="5788" y="5256"/>
                </a:cubicBezTo>
                <a:lnTo>
                  <a:pt x="7717" y="3717"/>
                </a:lnTo>
                <a:close/>
              </a:path>
            </a:pathLst>
          </a:custGeom>
          <a:solidFill>
            <a:schemeClr val="tx2">
              <a:lumMod val="50000"/>
            </a:schemeClr>
          </a:solidFill>
          <a:ln w="57150"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p>
        </p:txBody>
      </p:sp>
      <p:sp>
        <p:nvSpPr>
          <p:cNvPr id="40" name="Freeform 6"/>
          <p:cNvSpPr>
            <a:spLocks/>
          </p:cNvSpPr>
          <p:nvPr/>
        </p:nvSpPr>
        <p:spPr bwMode="auto">
          <a:xfrm>
            <a:off x="6715139" y="2448888"/>
            <a:ext cx="858838" cy="1589088"/>
          </a:xfrm>
          <a:custGeom>
            <a:avLst/>
            <a:gdLst>
              <a:gd name="T0" fmla="*/ 3835 w 4504"/>
              <a:gd name="T1" fmla="*/ 8351 h 8351"/>
              <a:gd name="T2" fmla="*/ 1929 w 4504"/>
              <a:gd name="T3" fmla="*/ 0 h 8351"/>
              <a:gd name="T4" fmla="*/ 0 w 4504"/>
              <a:gd name="T5" fmla="*/ 1539 h 8351"/>
              <a:gd name="T6" fmla="*/ 1429 w 4504"/>
              <a:gd name="T7" fmla="*/ 7802 h 8351"/>
              <a:gd name="T8" fmla="*/ 3835 w 4504"/>
              <a:gd name="T9" fmla="*/ 8351 h 8351"/>
            </a:gdLst>
            <a:ahLst/>
            <a:cxnLst>
              <a:cxn ang="0">
                <a:pos x="T0" y="T1"/>
              </a:cxn>
              <a:cxn ang="0">
                <a:pos x="T2" y="T3"/>
              </a:cxn>
              <a:cxn ang="0">
                <a:pos x="T4" y="T5"/>
              </a:cxn>
              <a:cxn ang="0">
                <a:pos x="T6" y="T7"/>
              </a:cxn>
              <a:cxn ang="0">
                <a:pos x="T8" y="T9"/>
              </a:cxn>
            </a:cxnLst>
            <a:rect l="0" t="0" r="r" b="b"/>
            <a:pathLst>
              <a:path w="4504" h="8351">
                <a:moveTo>
                  <a:pt x="3835" y="8351"/>
                </a:moveTo>
                <a:cubicBezTo>
                  <a:pt x="4504" y="5422"/>
                  <a:pt x="3802" y="2349"/>
                  <a:pt x="1929" y="0"/>
                </a:cubicBezTo>
                <a:lnTo>
                  <a:pt x="0" y="1539"/>
                </a:lnTo>
                <a:cubicBezTo>
                  <a:pt x="1405" y="3300"/>
                  <a:pt x="1931" y="5605"/>
                  <a:pt x="1429" y="7802"/>
                </a:cubicBezTo>
                <a:lnTo>
                  <a:pt x="3835" y="8351"/>
                </a:lnTo>
                <a:close/>
              </a:path>
            </a:pathLst>
          </a:custGeom>
          <a:solidFill>
            <a:srgbClr val="B38401"/>
          </a:solidFill>
          <a:ln w="57150"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p>
        </p:txBody>
      </p:sp>
      <p:sp>
        <p:nvSpPr>
          <p:cNvPr id="41" name="Freeform 7"/>
          <p:cNvSpPr>
            <a:spLocks/>
          </p:cNvSpPr>
          <p:nvPr/>
        </p:nvSpPr>
        <p:spPr bwMode="auto">
          <a:xfrm>
            <a:off x="6223014" y="3933200"/>
            <a:ext cx="1222375" cy="1379538"/>
          </a:xfrm>
          <a:custGeom>
            <a:avLst/>
            <a:gdLst>
              <a:gd name="T0" fmla="*/ 1071 w 6411"/>
              <a:gd name="T1" fmla="*/ 7246 h 7246"/>
              <a:gd name="T2" fmla="*/ 6411 w 6411"/>
              <a:gd name="T3" fmla="*/ 549 h 7246"/>
              <a:gd name="T4" fmla="*/ 4005 w 6411"/>
              <a:gd name="T5" fmla="*/ 0 h 7246"/>
              <a:gd name="T6" fmla="*/ 0 w 6411"/>
              <a:gd name="T7" fmla="*/ 5022 h 7246"/>
              <a:gd name="T8" fmla="*/ 1071 w 6411"/>
              <a:gd name="T9" fmla="*/ 7246 h 7246"/>
            </a:gdLst>
            <a:ahLst/>
            <a:cxnLst>
              <a:cxn ang="0">
                <a:pos x="T0" y="T1"/>
              </a:cxn>
              <a:cxn ang="0">
                <a:pos x="T2" y="T3"/>
              </a:cxn>
              <a:cxn ang="0">
                <a:pos x="T4" y="T5"/>
              </a:cxn>
              <a:cxn ang="0">
                <a:pos x="T6" y="T7"/>
              </a:cxn>
              <a:cxn ang="0">
                <a:pos x="T8" y="T9"/>
              </a:cxn>
            </a:cxnLst>
            <a:rect l="0" t="0" r="r" b="b"/>
            <a:pathLst>
              <a:path w="6411" h="7246">
                <a:moveTo>
                  <a:pt x="1071" y="7246"/>
                </a:moveTo>
                <a:cubicBezTo>
                  <a:pt x="3777" y="5942"/>
                  <a:pt x="5743" y="3477"/>
                  <a:pt x="6411" y="549"/>
                </a:cubicBezTo>
                <a:lnTo>
                  <a:pt x="4005" y="0"/>
                </a:lnTo>
                <a:cubicBezTo>
                  <a:pt x="3504" y="2196"/>
                  <a:pt x="2030" y="4045"/>
                  <a:pt x="0" y="5022"/>
                </a:cubicBezTo>
                <a:lnTo>
                  <a:pt x="1071" y="7246"/>
                </a:lnTo>
                <a:close/>
              </a:path>
            </a:pathLst>
          </a:custGeom>
          <a:solidFill>
            <a:srgbClr val="D19B01"/>
          </a:solidFill>
          <a:ln w="57150"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p>
        </p:txBody>
      </p:sp>
      <p:sp>
        <p:nvSpPr>
          <p:cNvPr id="42" name="Freeform 8"/>
          <p:cNvSpPr>
            <a:spLocks/>
          </p:cNvSpPr>
          <p:nvPr/>
        </p:nvSpPr>
        <p:spPr bwMode="auto">
          <a:xfrm>
            <a:off x="4794264" y="4888875"/>
            <a:ext cx="1633538" cy="671513"/>
          </a:xfrm>
          <a:custGeom>
            <a:avLst/>
            <a:gdLst>
              <a:gd name="T0" fmla="*/ 0 w 8566"/>
              <a:gd name="T1" fmla="*/ 2224 h 3527"/>
              <a:gd name="T2" fmla="*/ 8566 w 8566"/>
              <a:gd name="T3" fmla="*/ 2224 h 3527"/>
              <a:gd name="T4" fmla="*/ 7495 w 8566"/>
              <a:gd name="T5" fmla="*/ 0 h 3527"/>
              <a:gd name="T6" fmla="*/ 1071 w 8566"/>
              <a:gd name="T7" fmla="*/ 0 h 3527"/>
              <a:gd name="T8" fmla="*/ 0 w 8566"/>
              <a:gd name="T9" fmla="*/ 2224 h 3527"/>
            </a:gdLst>
            <a:ahLst/>
            <a:cxnLst>
              <a:cxn ang="0">
                <a:pos x="T0" y="T1"/>
              </a:cxn>
              <a:cxn ang="0">
                <a:pos x="T2" y="T3"/>
              </a:cxn>
              <a:cxn ang="0">
                <a:pos x="T4" y="T5"/>
              </a:cxn>
              <a:cxn ang="0">
                <a:pos x="T6" y="T7"/>
              </a:cxn>
              <a:cxn ang="0">
                <a:pos x="T8" y="T9"/>
              </a:cxn>
            </a:cxnLst>
            <a:rect l="0" t="0" r="r" b="b"/>
            <a:pathLst>
              <a:path w="8566" h="3527">
                <a:moveTo>
                  <a:pt x="0" y="2224"/>
                </a:moveTo>
                <a:cubicBezTo>
                  <a:pt x="2707" y="3527"/>
                  <a:pt x="5859" y="3527"/>
                  <a:pt x="8566" y="2224"/>
                </a:cubicBezTo>
                <a:lnTo>
                  <a:pt x="7495" y="0"/>
                </a:lnTo>
                <a:cubicBezTo>
                  <a:pt x="5465" y="978"/>
                  <a:pt x="3101" y="978"/>
                  <a:pt x="1071" y="0"/>
                </a:cubicBezTo>
                <a:lnTo>
                  <a:pt x="0" y="2224"/>
                </a:lnTo>
                <a:close/>
              </a:path>
            </a:pathLst>
          </a:custGeom>
          <a:solidFill>
            <a:srgbClr val="FDBB01"/>
          </a:solidFill>
          <a:ln w="57150"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p>
        </p:txBody>
      </p:sp>
      <p:sp>
        <p:nvSpPr>
          <p:cNvPr id="43" name="Freeform 9"/>
          <p:cNvSpPr>
            <a:spLocks/>
          </p:cNvSpPr>
          <p:nvPr/>
        </p:nvSpPr>
        <p:spPr bwMode="auto">
          <a:xfrm>
            <a:off x="3776676" y="3933200"/>
            <a:ext cx="1222375" cy="1379538"/>
          </a:xfrm>
          <a:custGeom>
            <a:avLst/>
            <a:gdLst>
              <a:gd name="T0" fmla="*/ 0 w 6411"/>
              <a:gd name="T1" fmla="*/ 549 h 7246"/>
              <a:gd name="T2" fmla="*/ 5340 w 6411"/>
              <a:gd name="T3" fmla="*/ 7246 h 7246"/>
              <a:gd name="T4" fmla="*/ 6411 w 6411"/>
              <a:gd name="T5" fmla="*/ 5022 h 7246"/>
              <a:gd name="T6" fmla="*/ 2405 w 6411"/>
              <a:gd name="T7" fmla="*/ 0 h 7246"/>
              <a:gd name="T8" fmla="*/ 0 w 6411"/>
              <a:gd name="T9" fmla="*/ 549 h 7246"/>
            </a:gdLst>
            <a:ahLst/>
            <a:cxnLst>
              <a:cxn ang="0">
                <a:pos x="T0" y="T1"/>
              </a:cxn>
              <a:cxn ang="0">
                <a:pos x="T2" y="T3"/>
              </a:cxn>
              <a:cxn ang="0">
                <a:pos x="T4" y="T5"/>
              </a:cxn>
              <a:cxn ang="0">
                <a:pos x="T6" y="T7"/>
              </a:cxn>
              <a:cxn ang="0">
                <a:pos x="T8" y="T9"/>
              </a:cxn>
            </a:cxnLst>
            <a:rect l="0" t="0" r="r" b="b"/>
            <a:pathLst>
              <a:path w="6411" h="7246">
                <a:moveTo>
                  <a:pt x="0" y="549"/>
                </a:moveTo>
                <a:cubicBezTo>
                  <a:pt x="668" y="3477"/>
                  <a:pt x="2634" y="5942"/>
                  <a:pt x="5340" y="7246"/>
                </a:cubicBezTo>
                <a:lnTo>
                  <a:pt x="6411" y="5022"/>
                </a:lnTo>
                <a:cubicBezTo>
                  <a:pt x="4381" y="4045"/>
                  <a:pt x="2907" y="2196"/>
                  <a:pt x="2405" y="0"/>
                </a:cubicBezTo>
                <a:lnTo>
                  <a:pt x="0" y="549"/>
                </a:lnTo>
                <a:close/>
              </a:path>
            </a:pathLst>
          </a:custGeom>
          <a:solidFill>
            <a:schemeClr val="tx2">
              <a:lumMod val="60000"/>
              <a:lumOff val="40000"/>
            </a:schemeClr>
          </a:solidFill>
          <a:ln w="57150"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p>
        </p:txBody>
      </p:sp>
      <p:sp>
        <p:nvSpPr>
          <p:cNvPr id="44" name="Freeform 10"/>
          <p:cNvSpPr>
            <a:spLocks/>
          </p:cNvSpPr>
          <p:nvPr/>
        </p:nvSpPr>
        <p:spPr bwMode="auto">
          <a:xfrm>
            <a:off x="3649676" y="2448888"/>
            <a:ext cx="857250" cy="1589088"/>
          </a:xfrm>
          <a:custGeom>
            <a:avLst/>
            <a:gdLst>
              <a:gd name="T0" fmla="*/ 5149 w 9007"/>
              <a:gd name="T1" fmla="*/ 0 h 16702"/>
              <a:gd name="T2" fmla="*/ 1337 w 9007"/>
              <a:gd name="T3" fmla="*/ 16702 h 16702"/>
              <a:gd name="T4" fmla="*/ 6148 w 9007"/>
              <a:gd name="T5" fmla="*/ 15604 h 16702"/>
              <a:gd name="T6" fmla="*/ 9007 w 9007"/>
              <a:gd name="T7" fmla="*/ 3078 h 16702"/>
              <a:gd name="T8" fmla="*/ 5149 w 9007"/>
              <a:gd name="T9" fmla="*/ 0 h 16702"/>
            </a:gdLst>
            <a:ahLst/>
            <a:cxnLst>
              <a:cxn ang="0">
                <a:pos x="T0" y="T1"/>
              </a:cxn>
              <a:cxn ang="0">
                <a:pos x="T2" y="T3"/>
              </a:cxn>
              <a:cxn ang="0">
                <a:pos x="T4" y="T5"/>
              </a:cxn>
              <a:cxn ang="0">
                <a:pos x="T6" y="T7"/>
              </a:cxn>
              <a:cxn ang="0">
                <a:pos x="T8" y="T9"/>
              </a:cxn>
            </a:cxnLst>
            <a:rect l="0" t="0" r="r" b="b"/>
            <a:pathLst>
              <a:path w="9007" h="16702">
                <a:moveTo>
                  <a:pt x="5149" y="0"/>
                </a:moveTo>
                <a:cubicBezTo>
                  <a:pt x="1403" y="4698"/>
                  <a:pt x="0" y="10845"/>
                  <a:pt x="1337" y="16702"/>
                </a:cubicBezTo>
                <a:lnTo>
                  <a:pt x="6148" y="15604"/>
                </a:lnTo>
                <a:cubicBezTo>
                  <a:pt x="5146" y="11211"/>
                  <a:pt x="6198" y="6600"/>
                  <a:pt x="9007" y="3078"/>
                </a:cubicBezTo>
                <a:lnTo>
                  <a:pt x="5149" y="0"/>
                </a:lnTo>
                <a:close/>
              </a:path>
            </a:pathLst>
          </a:custGeom>
          <a:solidFill>
            <a:schemeClr val="tx2">
              <a:lumMod val="40000"/>
              <a:lumOff val="60000"/>
            </a:schemeClr>
          </a:solidFill>
          <a:ln w="57150"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p>
        </p:txBody>
      </p:sp>
      <p:sp>
        <p:nvSpPr>
          <p:cNvPr id="45" name="Freeform 11"/>
          <p:cNvSpPr>
            <a:spLocks/>
          </p:cNvSpPr>
          <p:nvPr/>
        </p:nvSpPr>
        <p:spPr bwMode="auto">
          <a:xfrm>
            <a:off x="4140214" y="1742450"/>
            <a:ext cx="1471613" cy="1000125"/>
          </a:xfrm>
          <a:custGeom>
            <a:avLst/>
            <a:gdLst>
              <a:gd name="T0" fmla="*/ 15434 w 15434"/>
              <a:gd name="T1" fmla="*/ 0 h 10511"/>
              <a:gd name="T2" fmla="*/ 0 w 15434"/>
              <a:gd name="T3" fmla="*/ 7433 h 10511"/>
              <a:gd name="T4" fmla="*/ 3858 w 15434"/>
              <a:gd name="T5" fmla="*/ 10511 h 10511"/>
              <a:gd name="T6" fmla="*/ 15434 w 15434"/>
              <a:gd name="T7" fmla="*/ 4936 h 10511"/>
              <a:gd name="T8" fmla="*/ 15434 w 15434"/>
              <a:gd name="T9" fmla="*/ 0 h 10511"/>
            </a:gdLst>
            <a:ahLst/>
            <a:cxnLst>
              <a:cxn ang="0">
                <a:pos x="T0" y="T1"/>
              </a:cxn>
              <a:cxn ang="0">
                <a:pos x="T2" y="T3"/>
              </a:cxn>
              <a:cxn ang="0">
                <a:pos x="T4" y="T5"/>
              </a:cxn>
              <a:cxn ang="0">
                <a:pos x="T6" y="T7"/>
              </a:cxn>
              <a:cxn ang="0">
                <a:pos x="T8" y="T9"/>
              </a:cxn>
            </a:cxnLst>
            <a:rect l="0" t="0" r="r" b="b"/>
            <a:pathLst>
              <a:path w="15434" h="10511">
                <a:moveTo>
                  <a:pt x="15434" y="0"/>
                </a:moveTo>
                <a:cubicBezTo>
                  <a:pt x="9427" y="0"/>
                  <a:pt x="3746" y="2736"/>
                  <a:pt x="0" y="7433"/>
                </a:cubicBezTo>
                <a:lnTo>
                  <a:pt x="3858" y="10511"/>
                </a:lnTo>
                <a:cubicBezTo>
                  <a:pt x="6668" y="6988"/>
                  <a:pt x="10929" y="4936"/>
                  <a:pt x="15434" y="4936"/>
                </a:cubicBezTo>
                <a:lnTo>
                  <a:pt x="15434" y="0"/>
                </a:lnTo>
                <a:close/>
              </a:path>
            </a:pathLst>
          </a:custGeom>
          <a:solidFill>
            <a:srgbClr val="FFECB7"/>
          </a:solidFill>
          <a:ln w="57150"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p>
        </p:txBody>
      </p:sp>
      <p:grpSp>
        <p:nvGrpSpPr>
          <p:cNvPr id="53" name="Group 52"/>
          <p:cNvGrpSpPr/>
          <p:nvPr/>
        </p:nvGrpSpPr>
        <p:grpSpPr>
          <a:xfrm>
            <a:off x="4688497" y="2373057"/>
            <a:ext cx="1846659" cy="2061423"/>
            <a:chOff x="4633926" y="2259891"/>
            <a:chExt cx="1846659" cy="2061423"/>
          </a:xfrm>
        </p:grpSpPr>
        <p:sp>
          <p:nvSpPr>
            <p:cNvPr id="52" name="TextBox 51"/>
            <p:cNvSpPr txBox="1"/>
            <p:nvPr/>
          </p:nvSpPr>
          <p:spPr>
            <a:xfrm>
              <a:off x="4633926" y="3705761"/>
              <a:ext cx="1846659" cy="615553"/>
            </a:xfrm>
            <a:prstGeom prst="rect">
              <a:avLst/>
            </a:prstGeom>
          </p:spPr>
          <p:txBody>
            <a:bodyPr wrap="none" lIns="0" tIns="0" rIns="0" bIns="0" rtlCol="0">
              <a:spAutoFit/>
            </a:bodyPr>
            <a:lstStyle/>
            <a:p>
              <a:pPr algn="ctr">
                <a:spcBef>
                  <a:spcPts val="2200"/>
                </a:spcBef>
                <a:buClr>
                  <a:schemeClr val="accent3"/>
                </a:buClr>
                <a:buSzPct val="150000"/>
              </a:pPr>
              <a:r>
                <a:rPr lang="en-US" sz="2000" b="1" dirty="0">
                  <a:solidFill>
                    <a:schemeClr val="tx2">
                      <a:lumMod val="50000"/>
                    </a:schemeClr>
                  </a:solidFill>
                </a:rPr>
                <a:t>Interconnect</a:t>
              </a:r>
              <a:br>
                <a:rPr lang="en-US" sz="2000" b="1" dirty="0">
                  <a:solidFill>
                    <a:schemeClr val="tx2">
                      <a:lumMod val="50000"/>
                    </a:schemeClr>
                  </a:solidFill>
                </a:rPr>
              </a:br>
              <a:r>
                <a:rPr lang="en-US" sz="2000" b="1" dirty="0">
                  <a:solidFill>
                    <a:schemeClr val="tx2">
                      <a:lumMod val="50000"/>
                    </a:schemeClr>
                  </a:solidFill>
                </a:rPr>
                <a:t>Outputs</a:t>
              </a:r>
              <a:endParaRPr lang="en-US" sz="2000" b="1" spc="0" dirty="0">
                <a:solidFill>
                  <a:schemeClr val="tx2">
                    <a:lumMod val="50000"/>
                  </a:schemeClr>
                </a:solidFill>
              </a:endParaRPr>
            </a:p>
          </p:txBody>
        </p:sp>
        <p:grpSp>
          <p:nvGrpSpPr>
            <p:cNvPr id="62" name="Group 61"/>
            <p:cNvGrpSpPr>
              <a:grpSpLocks noChangeAspect="1"/>
            </p:cNvGrpSpPr>
            <p:nvPr/>
          </p:nvGrpSpPr>
          <p:grpSpPr>
            <a:xfrm>
              <a:off x="4734930" y="2259891"/>
              <a:ext cx="1644650" cy="1644650"/>
              <a:chOff x="5273675" y="2606675"/>
              <a:chExt cx="1644650" cy="1644650"/>
            </a:xfrm>
          </p:grpSpPr>
          <p:sp>
            <p:nvSpPr>
              <p:cNvPr id="63" name="AutoShape 13"/>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b="1" dirty="0"/>
              </a:p>
            </p:txBody>
          </p:sp>
          <p:grpSp>
            <p:nvGrpSpPr>
              <p:cNvPr id="64" name="Group 63"/>
              <p:cNvGrpSpPr/>
              <p:nvPr/>
            </p:nvGrpSpPr>
            <p:grpSpPr>
              <a:xfrm>
                <a:off x="5648325" y="2874963"/>
                <a:ext cx="895350" cy="1101725"/>
                <a:chOff x="5648325" y="2874963"/>
                <a:chExt cx="895350" cy="1101725"/>
              </a:xfrm>
            </p:grpSpPr>
            <p:sp>
              <p:nvSpPr>
                <p:cNvPr id="65" name="Freeform 15"/>
                <p:cNvSpPr>
                  <a:spLocks/>
                </p:cNvSpPr>
                <p:nvPr/>
              </p:nvSpPr>
              <p:spPr bwMode="auto">
                <a:xfrm>
                  <a:off x="5894388" y="2874963"/>
                  <a:ext cx="403225" cy="611188"/>
                </a:xfrm>
                <a:custGeom>
                  <a:avLst/>
                  <a:gdLst>
                    <a:gd name="T0" fmla="*/ 314 w 566"/>
                    <a:gd name="T1" fmla="*/ 13 h 857"/>
                    <a:gd name="T2" fmla="*/ 307 w 566"/>
                    <a:gd name="T3" fmla="*/ 7 h 857"/>
                    <a:gd name="T4" fmla="*/ 306 w 566"/>
                    <a:gd name="T5" fmla="*/ 7 h 857"/>
                    <a:gd name="T6" fmla="*/ 300 w 566"/>
                    <a:gd name="T7" fmla="*/ 3 h 857"/>
                    <a:gd name="T8" fmla="*/ 298 w 566"/>
                    <a:gd name="T9" fmla="*/ 3 h 857"/>
                    <a:gd name="T10" fmla="*/ 291 w 566"/>
                    <a:gd name="T11" fmla="*/ 1 h 857"/>
                    <a:gd name="T12" fmla="*/ 290 w 566"/>
                    <a:gd name="T13" fmla="*/ 1 h 857"/>
                    <a:gd name="T14" fmla="*/ 276 w 566"/>
                    <a:gd name="T15" fmla="*/ 1 h 857"/>
                    <a:gd name="T16" fmla="*/ 275 w 566"/>
                    <a:gd name="T17" fmla="*/ 1 h 857"/>
                    <a:gd name="T18" fmla="*/ 268 w 566"/>
                    <a:gd name="T19" fmla="*/ 3 h 857"/>
                    <a:gd name="T20" fmla="*/ 266 w 566"/>
                    <a:gd name="T21" fmla="*/ 3 h 857"/>
                    <a:gd name="T22" fmla="*/ 260 w 566"/>
                    <a:gd name="T23" fmla="*/ 7 h 857"/>
                    <a:gd name="T24" fmla="*/ 259 w 566"/>
                    <a:gd name="T25" fmla="*/ 7 h 857"/>
                    <a:gd name="T26" fmla="*/ 252 w 566"/>
                    <a:gd name="T27" fmla="*/ 13 h 857"/>
                    <a:gd name="T28" fmla="*/ 13 w 566"/>
                    <a:gd name="T29" fmla="*/ 253 h 857"/>
                    <a:gd name="T30" fmla="*/ 0 w 566"/>
                    <a:gd name="T31" fmla="*/ 283 h 857"/>
                    <a:gd name="T32" fmla="*/ 13 w 566"/>
                    <a:gd name="T33" fmla="*/ 314 h 857"/>
                    <a:gd name="T34" fmla="*/ 43 w 566"/>
                    <a:gd name="T35" fmla="*/ 326 h 857"/>
                    <a:gd name="T36" fmla="*/ 74 w 566"/>
                    <a:gd name="T37" fmla="*/ 314 h 857"/>
                    <a:gd name="T38" fmla="*/ 240 w 566"/>
                    <a:gd name="T39" fmla="*/ 147 h 857"/>
                    <a:gd name="T40" fmla="*/ 240 w 566"/>
                    <a:gd name="T41" fmla="*/ 489 h 857"/>
                    <a:gd name="T42" fmla="*/ 240 w 566"/>
                    <a:gd name="T43" fmla="*/ 555 h 857"/>
                    <a:gd name="T44" fmla="*/ 240 w 566"/>
                    <a:gd name="T45" fmla="*/ 814 h 857"/>
                    <a:gd name="T46" fmla="*/ 283 w 566"/>
                    <a:gd name="T47" fmla="*/ 857 h 857"/>
                    <a:gd name="T48" fmla="*/ 326 w 566"/>
                    <a:gd name="T49" fmla="*/ 814 h 857"/>
                    <a:gd name="T50" fmla="*/ 326 w 566"/>
                    <a:gd name="T51" fmla="*/ 555 h 857"/>
                    <a:gd name="T52" fmla="*/ 326 w 566"/>
                    <a:gd name="T53" fmla="*/ 489 h 857"/>
                    <a:gd name="T54" fmla="*/ 326 w 566"/>
                    <a:gd name="T55" fmla="*/ 147 h 857"/>
                    <a:gd name="T56" fmla="*/ 492 w 566"/>
                    <a:gd name="T57" fmla="*/ 314 h 857"/>
                    <a:gd name="T58" fmla="*/ 523 w 566"/>
                    <a:gd name="T59" fmla="*/ 326 h 857"/>
                    <a:gd name="T60" fmla="*/ 553 w 566"/>
                    <a:gd name="T61" fmla="*/ 314 h 857"/>
                    <a:gd name="T62" fmla="*/ 566 w 566"/>
                    <a:gd name="T63" fmla="*/ 283 h 857"/>
                    <a:gd name="T64" fmla="*/ 553 w 566"/>
                    <a:gd name="T65" fmla="*/ 253 h 857"/>
                    <a:gd name="T66" fmla="*/ 314 w 566"/>
                    <a:gd name="T67" fmla="*/ 13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66" h="857">
                      <a:moveTo>
                        <a:pt x="314" y="13"/>
                      </a:moveTo>
                      <a:cubicBezTo>
                        <a:pt x="312" y="11"/>
                        <a:pt x="310" y="9"/>
                        <a:pt x="307" y="7"/>
                      </a:cubicBezTo>
                      <a:cubicBezTo>
                        <a:pt x="306" y="7"/>
                        <a:pt x="306" y="7"/>
                        <a:pt x="306" y="7"/>
                      </a:cubicBezTo>
                      <a:cubicBezTo>
                        <a:pt x="304" y="5"/>
                        <a:pt x="302" y="4"/>
                        <a:pt x="300" y="3"/>
                      </a:cubicBezTo>
                      <a:cubicBezTo>
                        <a:pt x="298" y="3"/>
                        <a:pt x="298" y="3"/>
                        <a:pt x="298" y="3"/>
                      </a:cubicBezTo>
                      <a:cubicBezTo>
                        <a:pt x="296" y="2"/>
                        <a:pt x="294" y="1"/>
                        <a:pt x="291" y="1"/>
                      </a:cubicBezTo>
                      <a:cubicBezTo>
                        <a:pt x="290" y="1"/>
                        <a:pt x="290" y="1"/>
                        <a:pt x="290" y="1"/>
                      </a:cubicBezTo>
                      <a:cubicBezTo>
                        <a:pt x="286" y="0"/>
                        <a:pt x="280" y="0"/>
                        <a:pt x="276" y="1"/>
                      </a:cubicBezTo>
                      <a:cubicBezTo>
                        <a:pt x="275" y="1"/>
                        <a:pt x="275" y="1"/>
                        <a:pt x="275" y="1"/>
                      </a:cubicBezTo>
                      <a:cubicBezTo>
                        <a:pt x="272" y="1"/>
                        <a:pt x="270" y="2"/>
                        <a:pt x="268" y="3"/>
                      </a:cubicBezTo>
                      <a:cubicBezTo>
                        <a:pt x="266" y="3"/>
                        <a:pt x="266" y="3"/>
                        <a:pt x="266" y="3"/>
                      </a:cubicBezTo>
                      <a:cubicBezTo>
                        <a:pt x="264" y="4"/>
                        <a:pt x="262" y="5"/>
                        <a:pt x="260" y="7"/>
                      </a:cubicBezTo>
                      <a:cubicBezTo>
                        <a:pt x="259" y="7"/>
                        <a:pt x="259" y="7"/>
                        <a:pt x="259" y="7"/>
                      </a:cubicBezTo>
                      <a:cubicBezTo>
                        <a:pt x="256" y="9"/>
                        <a:pt x="254" y="11"/>
                        <a:pt x="252" y="13"/>
                      </a:cubicBezTo>
                      <a:cubicBezTo>
                        <a:pt x="13" y="253"/>
                        <a:pt x="13" y="253"/>
                        <a:pt x="13" y="253"/>
                      </a:cubicBezTo>
                      <a:cubicBezTo>
                        <a:pt x="4" y="261"/>
                        <a:pt x="0" y="272"/>
                        <a:pt x="0" y="283"/>
                      </a:cubicBezTo>
                      <a:cubicBezTo>
                        <a:pt x="0" y="295"/>
                        <a:pt x="4" y="305"/>
                        <a:pt x="13" y="314"/>
                      </a:cubicBezTo>
                      <a:cubicBezTo>
                        <a:pt x="21" y="322"/>
                        <a:pt x="32" y="326"/>
                        <a:pt x="43" y="326"/>
                      </a:cubicBezTo>
                      <a:cubicBezTo>
                        <a:pt x="55" y="326"/>
                        <a:pt x="65" y="322"/>
                        <a:pt x="74" y="314"/>
                      </a:cubicBezTo>
                      <a:cubicBezTo>
                        <a:pt x="240" y="147"/>
                        <a:pt x="240" y="147"/>
                        <a:pt x="240" y="147"/>
                      </a:cubicBezTo>
                      <a:cubicBezTo>
                        <a:pt x="240" y="489"/>
                        <a:pt x="240" y="489"/>
                        <a:pt x="240" y="489"/>
                      </a:cubicBezTo>
                      <a:cubicBezTo>
                        <a:pt x="240" y="555"/>
                        <a:pt x="240" y="555"/>
                        <a:pt x="240" y="555"/>
                      </a:cubicBezTo>
                      <a:cubicBezTo>
                        <a:pt x="240" y="814"/>
                        <a:pt x="240" y="814"/>
                        <a:pt x="240" y="814"/>
                      </a:cubicBezTo>
                      <a:cubicBezTo>
                        <a:pt x="240" y="838"/>
                        <a:pt x="259" y="857"/>
                        <a:pt x="283" y="857"/>
                      </a:cubicBezTo>
                      <a:cubicBezTo>
                        <a:pt x="307" y="857"/>
                        <a:pt x="326" y="838"/>
                        <a:pt x="326" y="814"/>
                      </a:cubicBezTo>
                      <a:cubicBezTo>
                        <a:pt x="326" y="555"/>
                        <a:pt x="326" y="555"/>
                        <a:pt x="326" y="555"/>
                      </a:cubicBezTo>
                      <a:cubicBezTo>
                        <a:pt x="326" y="489"/>
                        <a:pt x="326" y="489"/>
                        <a:pt x="326" y="489"/>
                      </a:cubicBezTo>
                      <a:cubicBezTo>
                        <a:pt x="326" y="147"/>
                        <a:pt x="326" y="147"/>
                        <a:pt x="326" y="147"/>
                      </a:cubicBezTo>
                      <a:cubicBezTo>
                        <a:pt x="492" y="314"/>
                        <a:pt x="492" y="314"/>
                        <a:pt x="492" y="314"/>
                      </a:cubicBezTo>
                      <a:cubicBezTo>
                        <a:pt x="501" y="322"/>
                        <a:pt x="511" y="326"/>
                        <a:pt x="523" y="326"/>
                      </a:cubicBezTo>
                      <a:cubicBezTo>
                        <a:pt x="534" y="326"/>
                        <a:pt x="545" y="322"/>
                        <a:pt x="553" y="314"/>
                      </a:cubicBezTo>
                      <a:cubicBezTo>
                        <a:pt x="562" y="305"/>
                        <a:pt x="566" y="295"/>
                        <a:pt x="566" y="283"/>
                      </a:cubicBezTo>
                      <a:cubicBezTo>
                        <a:pt x="566" y="272"/>
                        <a:pt x="562" y="261"/>
                        <a:pt x="553" y="253"/>
                      </a:cubicBezTo>
                      <a:lnTo>
                        <a:pt x="314" y="13"/>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b="1" dirty="0"/>
                </a:p>
              </p:txBody>
            </p:sp>
            <p:sp>
              <p:nvSpPr>
                <p:cNvPr id="66" name="Freeform 16"/>
                <p:cNvSpPr>
                  <a:spLocks/>
                </p:cNvSpPr>
                <p:nvPr/>
              </p:nvSpPr>
              <p:spPr bwMode="auto">
                <a:xfrm>
                  <a:off x="5648325" y="3224213"/>
                  <a:ext cx="895350" cy="752475"/>
                </a:xfrm>
                <a:custGeom>
                  <a:avLst/>
                  <a:gdLst>
                    <a:gd name="T0" fmla="*/ 1232 w 1254"/>
                    <a:gd name="T1" fmla="*/ 0 h 1056"/>
                    <a:gd name="T2" fmla="*/ 715 w 1254"/>
                    <a:gd name="T3" fmla="*/ 0 h 1056"/>
                    <a:gd name="T4" fmla="*/ 715 w 1254"/>
                    <a:gd name="T5" fmla="*/ 66 h 1056"/>
                    <a:gd name="T6" fmla="*/ 1188 w 1254"/>
                    <a:gd name="T7" fmla="*/ 66 h 1056"/>
                    <a:gd name="T8" fmla="*/ 1188 w 1254"/>
                    <a:gd name="T9" fmla="*/ 990 h 1056"/>
                    <a:gd name="T10" fmla="*/ 66 w 1254"/>
                    <a:gd name="T11" fmla="*/ 990 h 1056"/>
                    <a:gd name="T12" fmla="*/ 66 w 1254"/>
                    <a:gd name="T13" fmla="*/ 66 h 1056"/>
                    <a:gd name="T14" fmla="*/ 541 w 1254"/>
                    <a:gd name="T15" fmla="*/ 66 h 1056"/>
                    <a:gd name="T16" fmla="*/ 541 w 1254"/>
                    <a:gd name="T17" fmla="*/ 0 h 1056"/>
                    <a:gd name="T18" fmla="*/ 22 w 1254"/>
                    <a:gd name="T19" fmla="*/ 0 h 1056"/>
                    <a:gd name="T20" fmla="*/ 0 w 1254"/>
                    <a:gd name="T21" fmla="*/ 22 h 1056"/>
                    <a:gd name="T22" fmla="*/ 0 w 1254"/>
                    <a:gd name="T23" fmla="*/ 1034 h 1056"/>
                    <a:gd name="T24" fmla="*/ 22 w 1254"/>
                    <a:gd name="T25" fmla="*/ 1056 h 1056"/>
                    <a:gd name="T26" fmla="*/ 1232 w 1254"/>
                    <a:gd name="T27" fmla="*/ 1056 h 1056"/>
                    <a:gd name="T28" fmla="*/ 1254 w 1254"/>
                    <a:gd name="T29" fmla="*/ 1034 h 1056"/>
                    <a:gd name="T30" fmla="*/ 1254 w 1254"/>
                    <a:gd name="T31" fmla="*/ 22 h 1056"/>
                    <a:gd name="T32" fmla="*/ 1232 w 1254"/>
                    <a:gd name="T33" fmla="*/ 0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4" h="1056">
                      <a:moveTo>
                        <a:pt x="1232" y="0"/>
                      </a:moveTo>
                      <a:cubicBezTo>
                        <a:pt x="715" y="0"/>
                        <a:pt x="715" y="0"/>
                        <a:pt x="715" y="0"/>
                      </a:cubicBezTo>
                      <a:cubicBezTo>
                        <a:pt x="715" y="66"/>
                        <a:pt x="715" y="66"/>
                        <a:pt x="715" y="66"/>
                      </a:cubicBezTo>
                      <a:cubicBezTo>
                        <a:pt x="1188" y="66"/>
                        <a:pt x="1188" y="66"/>
                        <a:pt x="1188" y="66"/>
                      </a:cubicBezTo>
                      <a:cubicBezTo>
                        <a:pt x="1188" y="990"/>
                        <a:pt x="1188" y="990"/>
                        <a:pt x="1188" y="990"/>
                      </a:cubicBezTo>
                      <a:cubicBezTo>
                        <a:pt x="66" y="990"/>
                        <a:pt x="66" y="990"/>
                        <a:pt x="66" y="990"/>
                      </a:cubicBezTo>
                      <a:cubicBezTo>
                        <a:pt x="66" y="66"/>
                        <a:pt x="66" y="66"/>
                        <a:pt x="66" y="66"/>
                      </a:cubicBezTo>
                      <a:cubicBezTo>
                        <a:pt x="541" y="66"/>
                        <a:pt x="541" y="66"/>
                        <a:pt x="541" y="66"/>
                      </a:cubicBezTo>
                      <a:cubicBezTo>
                        <a:pt x="541" y="0"/>
                        <a:pt x="541" y="0"/>
                        <a:pt x="541" y="0"/>
                      </a:cubicBezTo>
                      <a:cubicBezTo>
                        <a:pt x="22" y="0"/>
                        <a:pt x="22" y="0"/>
                        <a:pt x="22" y="0"/>
                      </a:cubicBezTo>
                      <a:cubicBezTo>
                        <a:pt x="10" y="0"/>
                        <a:pt x="0" y="10"/>
                        <a:pt x="0" y="22"/>
                      </a:cubicBezTo>
                      <a:cubicBezTo>
                        <a:pt x="0" y="1034"/>
                        <a:pt x="0" y="1034"/>
                        <a:pt x="0" y="1034"/>
                      </a:cubicBezTo>
                      <a:cubicBezTo>
                        <a:pt x="0" y="1046"/>
                        <a:pt x="10" y="1056"/>
                        <a:pt x="22" y="1056"/>
                      </a:cubicBezTo>
                      <a:cubicBezTo>
                        <a:pt x="1232" y="1056"/>
                        <a:pt x="1232" y="1056"/>
                        <a:pt x="1232" y="1056"/>
                      </a:cubicBezTo>
                      <a:cubicBezTo>
                        <a:pt x="1244" y="1056"/>
                        <a:pt x="1254" y="1046"/>
                        <a:pt x="1254" y="1034"/>
                      </a:cubicBezTo>
                      <a:cubicBezTo>
                        <a:pt x="1254" y="22"/>
                        <a:pt x="1254" y="22"/>
                        <a:pt x="1254" y="22"/>
                      </a:cubicBezTo>
                      <a:cubicBezTo>
                        <a:pt x="1254" y="10"/>
                        <a:pt x="1244" y="0"/>
                        <a:pt x="1232"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b="1" dirty="0"/>
                </a:p>
              </p:txBody>
            </p:sp>
          </p:grpSp>
        </p:grpSp>
      </p:grpSp>
      <p:sp>
        <p:nvSpPr>
          <p:cNvPr id="4100" name="TextBox 4099"/>
          <p:cNvSpPr txBox="1"/>
          <p:nvPr/>
        </p:nvSpPr>
        <p:spPr>
          <a:xfrm>
            <a:off x="6766559" y="1514671"/>
            <a:ext cx="3459481" cy="646331"/>
          </a:xfrm>
          <a:prstGeom prst="rect">
            <a:avLst/>
          </a:prstGeom>
        </p:spPr>
        <p:txBody>
          <a:bodyPr wrap="square" lIns="0" tIns="0" rIns="0" bIns="0" rtlCol="0">
            <a:spAutoFit/>
          </a:bodyPr>
          <a:lstStyle/>
          <a:p>
            <a:pPr marL="0" indent="0">
              <a:lnSpc>
                <a:spcPct val="100000"/>
              </a:lnSpc>
              <a:spcBef>
                <a:spcPts val="2200"/>
              </a:spcBef>
              <a:buClr>
                <a:schemeClr val="accent3"/>
              </a:buClr>
              <a:buSzPct val="150000"/>
              <a:buFontTx/>
              <a:buNone/>
            </a:pPr>
            <a:r>
              <a:rPr lang="en-US" sz="1400" b="1" dirty="0">
                <a:solidFill>
                  <a:schemeClr val="tx2"/>
                </a:solidFill>
              </a:rPr>
              <a:t>Improved customer Energy Management</a:t>
            </a:r>
            <a:r>
              <a:rPr lang="en-US" sz="1400" b="1" spc="0" dirty="0">
                <a:solidFill>
                  <a:schemeClr val="tx2">
                    <a:lumMod val="50000"/>
                  </a:schemeClr>
                </a:solidFill>
              </a:rPr>
              <a:t> </a:t>
            </a:r>
            <a:r>
              <a:rPr lang="en-US" sz="1400" b="0" spc="0" dirty="0"/>
              <a:t>by combining IoT with design thinking/co-creation</a:t>
            </a:r>
          </a:p>
        </p:txBody>
      </p:sp>
      <p:sp>
        <p:nvSpPr>
          <p:cNvPr id="72" name="TextBox 71"/>
          <p:cNvSpPr txBox="1"/>
          <p:nvPr/>
        </p:nvSpPr>
        <p:spPr>
          <a:xfrm>
            <a:off x="7543800" y="2704823"/>
            <a:ext cx="2682240" cy="861774"/>
          </a:xfrm>
          <a:prstGeom prst="rect">
            <a:avLst/>
          </a:prstGeom>
        </p:spPr>
        <p:txBody>
          <a:bodyPr wrap="square" lIns="0" tIns="0" rIns="0" bIns="0" rtlCol="0">
            <a:spAutoFit/>
          </a:bodyPr>
          <a:lstStyle/>
          <a:p>
            <a:pPr marL="0" indent="0">
              <a:lnSpc>
                <a:spcPct val="100000"/>
              </a:lnSpc>
              <a:spcBef>
                <a:spcPts val="2200"/>
              </a:spcBef>
              <a:buClr>
                <a:schemeClr val="accent3"/>
              </a:buClr>
              <a:buSzPct val="150000"/>
              <a:buFontTx/>
              <a:buNone/>
            </a:pPr>
            <a:r>
              <a:rPr lang="en-US" sz="1400" b="1" dirty="0">
                <a:solidFill>
                  <a:schemeClr val="tx2"/>
                </a:solidFill>
              </a:rPr>
              <a:t>Digital Marketplace and Interoperability Toolkit </a:t>
            </a:r>
            <a:r>
              <a:rPr lang="en-US" sz="1400" spc="0" dirty="0"/>
              <a:t>articulating different digital platforms (P2P, blockchain, </a:t>
            </a:r>
            <a:r>
              <a:rPr lang="en-US" sz="1400" spc="0" dirty="0" err="1"/>
              <a:t>IOT,etc</a:t>
            </a:r>
            <a:r>
              <a:rPr lang="en-US" sz="1400" spc="0" dirty="0"/>
              <a:t>.)</a:t>
            </a:r>
          </a:p>
        </p:txBody>
      </p:sp>
      <p:sp>
        <p:nvSpPr>
          <p:cNvPr id="73" name="TextBox 72"/>
          <p:cNvSpPr txBox="1"/>
          <p:nvPr/>
        </p:nvSpPr>
        <p:spPr>
          <a:xfrm>
            <a:off x="7381874" y="4445070"/>
            <a:ext cx="2844165" cy="861774"/>
          </a:xfrm>
          <a:prstGeom prst="rect">
            <a:avLst/>
          </a:prstGeom>
        </p:spPr>
        <p:txBody>
          <a:bodyPr wrap="square" lIns="0" tIns="0" rIns="0" bIns="0" rtlCol="0">
            <a:spAutoFit/>
          </a:bodyPr>
          <a:lstStyle/>
          <a:p>
            <a:pPr marL="0" indent="0">
              <a:lnSpc>
                <a:spcPct val="100000"/>
              </a:lnSpc>
              <a:spcBef>
                <a:spcPts val="2200"/>
              </a:spcBef>
              <a:buClr>
                <a:schemeClr val="accent3"/>
              </a:buClr>
              <a:buSzPct val="150000"/>
              <a:buFontTx/>
              <a:buNone/>
            </a:pPr>
            <a:r>
              <a:rPr lang="en-US" sz="1400" b="1" dirty="0">
                <a:solidFill>
                  <a:schemeClr val="tx2"/>
                </a:solidFill>
              </a:rPr>
              <a:t>Interoperable and Replicable DSO Interface </a:t>
            </a:r>
            <a:r>
              <a:rPr lang="en-US" sz="1400" spc="0" dirty="0"/>
              <a:t>for energy and flexibility market places</a:t>
            </a:r>
          </a:p>
        </p:txBody>
      </p:sp>
      <p:sp>
        <p:nvSpPr>
          <p:cNvPr id="74" name="TextBox 73"/>
          <p:cNvSpPr txBox="1"/>
          <p:nvPr/>
        </p:nvSpPr>
        <p:spPr>
          <a:xfrm>
            <a:off x="4188951" y="5503211"/>
            <a:ext cx="2844165" cy="646331"/>
          </a:xfrm>
          <a:prstGeom prst="rect">
            <a:avLst/>
          </a:prstGeom>
        </p:spPr>
        <p:txBody>
          <a:bodyPr wrap="square" lIns="0" tIns="0" rIns="0" bIns="0" rtlCol="0">
            <a:spAutoFit/>
          </a:bodyPr>
          <a:lstStyle/>
          <a:p>
            <a:pPr marL="0" indent="0" algn="ctr">
              <a:lnSpc>
                <a:spcPct val="100000"/>
              </a:lnSpc>
              <a:spcBef>
                <a:spcPts val="2200"/>
              </a:spcBef>
              <a:buClr>
                <a:schemeClr val="accent3"/>
              </a:buClr>
              <a:buSzPct val="150000"/>
              <a:buFontTx/>
              <a:buNone/>
            </a:pPr>
            <a:r>
              <a:rPr lang="en-US" sz="1400" b="1" dirty="0">
                <a:solidFill>
                  <a:schemeClr val="tx2"/>
                </a:solidFill>
              </a:rPr>
              <a:t>Business use cases</a:t>
            </a:r>
            <a:br>
              <a:rPr lang="en-US" sz="1400" b="1" spc="0" dirty="0">
                <a:solidFill>
                  <a:srgbClr val="FDBB01"/>
                </a:solidFill>
              </a:rPr>
            </a:br>
            <a:r>
              <a:rPr lang="en-US" sz="1400" spc="0" dirty="0"/>
              <a:t>for new energy and non-energy services</a:t>
            </a:r>
          </a:p>
        </p:txBody>
      </p:sp>
      <p:sp>
        <p:nvSpPr>
          <p:cNvPr id="75" name="TextBox 74"/>
          <p:cNvSpPr txBox="1"/>
          <p:nvPr/>
        </p:nvSpPr>
        <p:spPr>
          <a:xfrm>
            <a:off x="986456" y="4445070"/>
            <a:ext cx="2892124" cy="861774"/>
          </a:xfrm>
          <a:prstGeom prst="rect">
            <a:avLst/>
          </a:prstGeom>
        </p:spPr>
        <p:txBody>
          <a:bodyPr wrap="square" lIns="0" tIns="0" rIns="0" bIns="0" rtlCol="0">
            <a:spAutoFit/>
          </a:bodyPr>
          <a:lstStyle/>
          <a:p>
            <a:pPr marL="0" indent="0" algn="r">
              <a:lnSpc>
                <a:spcPct val="100000"/>
              </a:lnSpc>
              <a:spcBef>
                <a:spcPts val="2200"/>
              </a:spcBef>
              <a:buClr>
                <a:schemeClr val="accent3"/>
              </a:buClr>
              <a:buSzPct val="150000"/>
              <a:buFontTx/>
              <a:buNone/>
            </a:pPr>
            <a:r>
              <a:rPr lang="en-US" sz="1400" b="1" dirty="0">
                <a:solidFill>
                  <a:schemeClr val="tx2"/>
                </a:solidFill>
              </a:rPr>
              <a:t>Interoperable Functional Components for Residential and Non-residential Buildings: </a:t>
            </a:r>
            <a:r>
              <a:rPr lang="en-US" sz="1400" spc="0" dirty="0"/>
              <a:t>SAREF ontology-based interoperability</a:t>
            </a:r>
          </a:p>
        </p:txBody>
      </p:sp>
      <p:sp>
        <p:nvSpPr>
          <p:cNvPr id="76" name="TextBox 75"/>
          <p:cNvSpPr txBox="1"/>
          <p:nvPr/>
        </p:nvSpPr>
        <p:spPr>
          <a:xfrm>
            <a:off x="986456" y="2704823"/>
            <a:ext cx="2690194" cy="861774"/>
          </a:xfrm>
          <a:prstGeom prst="rect">
            <a:avLst/>
          </a:prstGeom>
        </p:spPr>
        <p:txBody>
          <a:bodyPr wrap="square" lIns="0" tIns="0" rIns="0" bIns="0" rtlCol="0">
            <a:spAutoFit/>
          </a:bodyPr>
          <a:lstStyle/>
          <a:p>
            <a:pPr marL="0" indent="0" algn="r">
              <a:lnSpc>
                <a:spcPct val="100000"/>
              </a:lnSpc>
              <a:spcBef>
                <a:spcPts val="2200"/>
              </a:spcBef>
              <a:buClr>
                <a:schemeClr val="accent3"/>
              </a:buClr>
              <a:buSzPct val="150000"/>
              <a:buFontTx/>
              <a:buNone/>
            </a:pPr>
            <a:r>
              <a:rPr lang="en-US" sz="1400" b="1" dirty="0">
                <a:solidFill>
                  <a:schemeClr val="tx2"/>
                </a:solidFill>
              </a:rPr>
              <a:t>Domain Interoperable IoT Reference Architecture</a:t>
            </a:r>
            <a:r>
              <a:rPr lang="en-US" sz="1400" b="1" dirty="0">
                <a:solidFill>
                  <a:srgbClr val="FFE69E"/>
                </a:solidFill>
              </a:rPr>
              <a:t>:</a:t>
            </a:r>
            <a:r>
              <a:rPr lang="en-US" sz="1400" b="1" spc="0" dirty="0">
                <a:solidFill>
                  <a:srgbClr val="FFE69E"/>
                </a:solidFill>
              </a:rPr>
              <a:t> </a:t>
            </a:r>
            <a:r>
              <a:rPr lang="en-US" sz="1400" spc="0" dirty="0"/>
              <a:t>Mix of ontologies, standards, abstraction layers, security concepts</a:t>
            </a:r>
          </a:p>
        </p:txBody>
      </p:sp>
      <p:sp>
        <p:nvSpPr>
          <p:cNvPr id="77" name="TextBox 76"/>
          <p:cNvSpPr txBox="1"/>
          <p:nvPr/>
        </p:nvSpPr>
        <p:spPr>
          <a:xfrm>
            <a:off x="986455" y="1514671"/>
            <a:ext cx="3309773" cy="430887"/>
          </a:xfrm>
          <a:prstGeom prst="rect">
            <a:avLst/>
          </a:prstGeom>
        </p:spPr>
        <p:txBody>
          <a:bodyPr wrap="square" lIns="0" tIns="0" rIns="0" bIns="0" rtlCol="0">
            <a:spAutoFit/>
          </a:bodyPr>
          <a:lstStyle/>
          <a:p>
            <a:pPr marL="0" indent="0" algn="r">
              <a:lnSpc>
                <a:spcPct val="100000"/>
              </a:lnSpc>
              <a:spcBef>
                <a:spcPts val="2200"/>
              </a:spcBef>
              <a:buClr>
                <a:schemeClr val="accent3"/>
              </a:buClr>
              <a:buSzPct val="150000"/>
              <a:buFontTx/>
              <a:buNone/>
            </a:pPr>
            <a:r>
              <a:rPr lang="en-US" sz="1400" b="1" spc="0" dirty="0">
                <a:solidFill>
                  <a:schemeClr val="tx2"/>
                </a:solidFill>
              </a:rPr>
              <a:t>Standardization Recommendations </a:t>
            </a:r>
            <a:r>
              <a:rPr lang="en-US" sz="1400" b="0" spc="0" dirty="0"/>
              <a:t>to SDO (CEN/CENELEC,ETSI,AIOTI, IEEE, IEC, etc.)</a:t>
            </a:r>
          </a:p>
        </p:txBody>
      </p:sp>
      <p:pic>
        <p:nvPicPr>
          <p:cNvPr id="28" name="Picture 1" descr="image002">
            <a:extLst>
              <a:ext uri="{FF2B5EF4-FFF2-40B4-BE49-F238E27FC236}">
                <a16:creationId xmlns:a16="http://schemas.microsoft.com/office/drawing/2014/main" id="{9A4AB848-2834-48B7-B736-E110582A1C28}"/>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3650745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48" name="Object 47"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286" imgH="286" progId="TCLayout.ActiveDocument.1">
                  <p:embed/>
                </p:oleObj>
              </mc:Choice>
              <mc:Fallback>
                <p:oleObj name="think-cell Slide" r:id="rId5" imgW="286" imgH="286" progId="TCLayout.ActiveDocument.1">
                  <p:embed/>
                  <p:pic>
                    <p:nvPicPr>
                      <p:cNvPr id="48" name="Object 4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1"/>
          <p:cNvSpPr>
            <a:spLocks noGrp="1"/>
          </p:cNvSpPr>
          <p:nvPr>
            <p:ph type="sldNum" sz="quarter" idx="4"/>
          </p:nvPr>
        </p:nvSpPr>
        <p:spPr/>
        <p:txBody>
          <a:bodyPr/>
          <a:lstStyle/>
          <a:p>
            <a:fld id="{EBC262BB-4310-134F-8D24-58475080D942}" type="slidenum">
              <a:rPr lang="en-US" smtClean="0">
                <a:latin typeface="+mn-lt"/>
              </a:rPr>
              <a:pPr/>
              <a:t>45</a:t>
            </a:fld>
            <a:endParaRPr lang="en-US" dirty="0">
              <a:latin typeface="+mn-lt"/>
            </a:endParaRPr>
          </a:p>
        </p:txBody>
      </p:sp>
      <p:sp>
        <p:nvSpPr>
          <p:cNvPr id="5" name="Text Placeholder 4"/>
          <p:cNvSpPr>
            <a:spLocks noGrp="1"/>
          </p:cNvSpPr>
          <p:nvPr>
            <p:ph type="body" sz="quarter" idx="10"/>
          </p:nvPr>
        </p:nvSpPr>
        <p:spPr>
          <a:xfrm>
            <a:off x="985763" y="362663"/>
            <a:ext cx="9289894" cy="826313"/>
          </a:xfrm>
        </p:spPr>
        <p:txBody>
          <a:bodyPr lIns="91440" tIns="45720" rIns="91440" bIns="45720"/>
          <a:lstStyle/>
          <a:p>
            <a:r>
              <a:rPr lang="en-US" dirty="0"/>
              <a:t>How will we achieve it?</a:t>
            </a:r>
          </a:p>
        </p:txBody>
      </p:sp>
      <p:sp>
        <p:nvSpPr>
          <p:cNvPr id="6" name="TextBox 14"/>
          <p:cNvSpPr>
            <a:spLocks/>
          </p:cNvSpPr>
          <p:nvPr/>
        </p:nvSpPr>
        <p:spPr bwMode="auto">
          <a:xfrm>
            <a:off x="985763" y="1109178"/>
            <a:ext cx="9289894" cy="332720"/>
          </a:xfrm>
          <a:prstGeom prst="rect">
            <a:avLst/>
          </a:prstGeom>
          <a:noFill/>
        </p:spPr>
        <p:txBody>
          <a:bodyPr wrap="square" lIns="0" tIns="42831" rIns="0" bIns="42831" rtlCol="0" anchor="b">
            <a:spAutoFit/>
          </a:bodyPr>
          <a:lstStyle/>
          <a:p>
            <a:pPr algn="just">
              <a:defRPr/>
            </a:pPr>
            <a:r>
              <a:rPr lang="en-US" sz="1600" b="1" dirty="0">
                <a:solidFill>
                  <a:schemeClr val="tx2">
                    <a:lumMod val="50000"/>
                  </a:schemeClr>
                </a:solidFill>
              </a:rPr>
              <a:t>By developing technologies in two main areas</a:t>
            </a:r>
            <a:endParaRPr lang="en-US" sz="1600" dirty="0">
              <a:solidFill>
                <a:schemeClr val="tx2">
                  <a:lumMod val="50000"/>
                </a:schemeClr>
              </a:solidFill>
            </a:endParaRPr>
          </a:p>
        </p:txBody>
      </p:sp>
      <p:grpSp>
        <p:nvGrpSpPr>
          <p:cNvPr id="20" name="Group 126"/>
          <p:cNvGrpSpPr>
            <a:grpSpLocks noChangeAspect="1"/>
          </p:cNvGrpSpPr>
          <p:nvPr/>
        </p:nvGrpSpPr>
        <p:grpSpPr bwMode="auto">
          <a:xfrm>
            <a:off x="9195527" y="3327383"/>
            <a:ext cx="1386971" cy="1132452"/>
            <a:chOff x="4840426" y="2540403"/>
            <a:chExt cx="2408778" cy="1992483"/>
          </a:xfrm>
        </p:grpSpPr>
        <p:sp>
          <p:nvSpPr>
            <p:cNvPr id="21" name="Freeform: Shape 128"/>
            <p:cNvSpPr/>
            <p:nvPr/>
          </p:nvSpPr>
          <p:spPr bwMode="auto">
            <a:xfrm>
              <a:off x="5230750" y="2540403"/>
              <a:ext cx="1730501" cy="1991015"/>
            </a:xfrm>
            <a:custGeom>
              <a:avLst/>
              <a:gdLst>
                <a:gd name="connsiteX0" fmla="*/ 820846 w 1653602"/>
                <a:gd name="connsiteY0" fmla="*/ 0 h 1902539"/>
                <a:gd name="connsiteX1" fmla="*/ 1653602 w 1653602"/>
                <a:gd name="connsiteY1" fmla="*/ 480792 h 1902539"/>
                <a:gd name="connsiteX2" fmla="*/ 1648636 w 1653602"/>
                <a:gd name="connsiteY2" fmla="*/ 1426634 h 1902539"/>
                <a:gd name="connsiteX3" fmla="*/ 832756 w 1653602"/>
                <a:gd name="connsiteY3" fmla="*/ 1902539 h 1902539"/>
                <a:gd name="connsiteX4" fmla="*/ 0 w 1653602"/>
                <a:gd name="connsiteY4" fmla="*/ 1421747 h 1902539"/>
                <a:gd name="connsiteX5" fmla="*/ 2889 w 1653602"/>
                <a:gd name="connsiteY5" fmla="*/ 476462 h 1902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3602" h="1902539" extrusionOk="0">
                  <a:moveTo>
                    <a:pt x="820846" y="0"/>
                  </a:moveTo>
                  <a:lnTo>
                    <a:pt x="1653602" y="480792"/>
                  </a:lnTo>
                  <a:lnTo>
                    <a:pt x="1648636" y="1426634"/>
                  </a:lnTo>
                  <a:lnTo>
                    <a:pt x="832756" y="1902539"/>
                  </a:lnTo>
                  <a:lnTo>
                    <a:pt x="0" y="1421747"/>
                  </a:lnTo>
                  <a:lnTo>
                    <a:pt x="2889" y="476462"/>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defRPr/>
              </a:pPr>
              <a:endParaRPr lang="en-US" sz="1100" dirty="0"/>
            </a:p>
          </p:txBody>
        </p:sp>
        <p:sp>
          <p:nvSpPr>
            <p:cNvPr id="22" name="Freeform 22"/>
            <p:cNvSpPr/>
            <p:nvPr/>
          </p:nvSpPr>
          <p:spPr bwMode="auto">
            <a:xfrm>
              <a:off x="4840426" y="2540403"/>
              <a:ext cx="2408778" cy="1992483"/>
            </a:xfrm>
            <a:custGeom>
              <a:avLst/>
              <a:gdLst>
                <a:gd name="T0" fmla="*/ 0 w 1249"/>
                <a:gd name="T1" fmla="*/ 540 h 1079"/>
                <a:gd name="T2" fmla="*/ 309 w 1249"/>
                <a:gd name="T3" fmla="*/ 0 h 1079"/>
                <a:gd name="T4" fmla="*/ 941 w 1249"/>
                <a:gd name="T5" fmla="*/ 0 h 1079"/>
                <a:gd name="T6" fmla="*/ 1249 w 1249"/>
                <a:gd name="T7" fmla="*/ 540 h 1079"/>
                <a:gd name="T8" fmla="*/ 941 w 1249"/>
                <a:gd name="T9" fmla="*/ 1079 h 1079"/>
                <a:gd name="T10" fmla="*/ 309 w 1249"/>
                <a:gd name="T11" fmla="*/ 1079 h 1079"/>
                <a:gd name="T12" fmla="*/ 0 w 1249"/>
                <a:gd name="T13" fmla="*/ 540 h 1079"/>
              </a:gdLst>
              <a:ahLst/>
              <a:cxnLst>
                <a:cxn ang="0">
                  <a:pos x="T0" y="T1"/>
                </a:cxn>
                <a:cxn ang="0">
                  <a:pos x="T2" y="T3"/>
                </a:cxn>
                <a:cxn ang="0">
                  <a:pos x="T4" y="T5"/>
                </a:cxn>
                <a:cxn ang="0">
                  <a:pos x="T6" y="T7"/>
                </a:cxn>
                <a:cxn ang="0">
                  <a:pos x="T8" y="T9"/>
                </a:cxn>
                <a:cxn ang="0">
                  <a:pos x="T10" y="T11"/>
                </a:cxn>
                <a:cxn ang="0">
                  <a:pos x="T12" y="T13"/>
                </a:cxn>
              </a:cxnLst>
              <a:rect l="0" t="0" r="r" b="b"/>
              <a:pathLst>
                <a:path w="1249" h="1079" extrusionOk="0">
                  <a:moveTo>
                    <a:pt x="0" y="540"/>
                  </a:moveTo>
                  <a:lnTo>
                    <a:pt x="309" y="0"/>
                  </a:lnTo>
                  <a:lnTo>
                    <a:pt x="941" y="0"/>
                  </a:lnTo>
                  <a:lnTo>
                    <a:pt x="1249" y="540"/>
                  </a:lnTo>
                  <a:lnTo>
                    <a:pt x="941" y="1079"/>
                  </a:lnTo>
                  <a:lnTo>
                    <a:pt x="309" y="1079"/>
                  </a:lnTo>
                  <a:lnTo>
                    <a:pt x="0" y="540"/>
                  </a:lnTo>
                  <a:close/>
                </a:path>
              </a:pathLst>
            </a:custGeom>
            <a:solidFill>
              <a:schemeClr val="bg1"/>
            </a:solidFill>
            <a:ln w="71385">
              <a:solidFill>
                <a:schemeClr val="tx1"/>
              </a:solidFill>
              <a:round/>
              <a:headEnd/>
              <a:tailEnd/>
            </a:ln>
          </p:spPr>
          <p:txBody>
            <a:bodyPr vert="horz" wrap="square" lIns="0" tIns="0" rIns="0" bIns="0" numCol="1" anchor="ctr" anchorCtr="0" compatLnSpc="1">
              <a:prstTxWarp prst="textNoShape">
                <a:avLst/>
              </a:prstTxWarp>
            </a:bodyPr>
            <a:lstStyle/>
            <a:p>
              <a:pPr algn="ctr">
                <a:defRPr/>
              </a:pPr>
              <a:r>
                <a:rPr lang="en-US" sz="1100" dirty="0"/>
                <a:t>P2P</a:t>
              </a:r>
            </a:p>
          </p:txBody>
        </p:sp>
      </p:grpSp>
      <p:grpSp>
        <p:nvGrpSpPr>
          <p:cNvPr id="27" name="Group 87"/>
          <p:cNvGrpSpPr>
            <a:grpSpLocks noChangeAspect="1"/>
          </p:cNvGrpSpPr>
          <p:nvPr/>
        </p:nvGrpSpPr>
        <p:grpSpPr bwMode="auto">
          <a:xfrm>
            <a:off x="7396575" y="3209718"/>
            <a:ext cx="1583281" cy="1367784"/>
            <a:chOff x="4942798" y="2540403"/>
            <a:chExt cx="2306404" cy="1992483"/>
          </a:xfrm>
          <a:solidFill>
            <a:schemeClr val="tx2">
              <a:lumMod val="75000"/>
            </a:schemeClr>
          </a:solidFill>
        </p:grpSpPr>
        <p:sp>
          <p:nvSpPr>
            <p:cNvPr id="28" name="Freeform: Shape 89"/>
            <p:cNvSpPr/>
            <p:nvPr/>
          </p:nvSpPr>
          <p:spPr bwMode="auto">
            <a:xfrm>
              <a:off x="5230750" y="2540403"/>
              <a:ext cx="1730501" cy="1991015"/>
            </a:xfrm>
            <a:custGeom>
              <a:avLst/>
              <a:gdLst>
                <a:gd name="connsiteX0" fmla="*/ 820846 w 1653602"/>
                <a:gd name="connsiteY0" fmla="*/ 0 h 1902539"/>
                <a:gd name="connsiteX1" fmla="*/ 1653602 w 1653602"/>
                <a:gd name="connsiteY1" fmla="*/ 480792 h 1902539"/>
                <a:gd name="connsiteX2" fmla="*/ 1648636 w 1653602"/>
                <a:gd name="connsiteY2" fmla="*/ 1426634 h 1902539"/>
                <a:gd name="connsiteX3" fmla="*/ 832756 w 1653602"/>
                <a:gd name="connsiteY3" fmla="*/ 1902539 h 1902539"/>
                <a:gd name="connsiteX4" fmla="*/ 0 w 1653602"/>
                <a:gd name="connsiteY4" fmla="*/ 1421747 h 1902539"/>
                <a:gd name="connsiteX5" fmla="*/ 2889 w 1653602"/>
                <a:gd name="connsiteY5" fmla="*/ 476462 h 1902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3602" h="1902539" extrusionOk="0">
                  <a:moveTo>
                    <a:pt x="820846" y="0"/>
                  </a:moveTo>
                  <a:lnTo>
                    <a:pt x="1653602" y="480792"/>
                  </a:lnTo>
                  <a:lnTo>
                    <a:pt x="1648636" y="1426634"/>
                  </a:lnTo>
                  <a:lnTo>
                    <a:pt x="832756" y="1902539"/>
                  </a:lnTo>
                  <a:lnTo>
                    <a:pt x="0" y="1421747"/>
                  </a:lnTo>
                  <a:lnTo>
                    <a:pt x="2889" y="476462"/>
                  </a:lnTo>
                  <a:close/>
                </a:path>
              </a:pathLst>
            </a:custGeom>
            <a:grp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ts val="2625"/>
                </a:lnSpc>
                <a:defRPr/>
              </a:pPr>
              <a:endParaRPr lang="en-US" sz="2400" cap="all" dirty="0"/>
            </a:p>
          </p:txBody>
        </p:sp>
        <p:sp>
          <p:nvSpPr>
            <p:cNvPr id="24" name="Freeform 22"/>
            <p:cNvSpPr/>
            <p:nvPr/>
          </p:nvSpPr>
          <p:spPr bwMode="auto">
            <a:xfrm>
              <a:off x="4942798" y="2540403"/>
              <a:ext cx="2306404" cy="1992483"/>
            </a:xfrm>
            <a:custGeom>
              <a:avLst/>
              <a:gdLst>
                <a:gd name="T0" fmla="*/ 0 w 1249"/>
                <a:gd name="T1" fmla="*/ 540 h 1079"/>
                <a:gd name="T2" fmla="*/ 309 w 1249"/>
                <a:gd name="T3" fmla="*/ 0 h 1079"/>
                <a:gd name="T4" fmla="*/ 941 w 1249"/>
                <a:gd name="T5" fmla="*/ 0 h 1079"/>
                <a:gd name="T6" fmla="*/ 1249 w 1249"/>
                <a:gd name="T7" fmla="*/ 540 h 1079"/>
                <a:gd name="T8" fmla="*/ 941 w 1249"/>
                <a:gd name="T9" fmla="*/ 1079 h 1079"/>
                <a:gd name="T10" fmla="*/ 309 w 1249"/>
                <a:gd name="T11" fmla="*/ 1079 h 1079"/>
                <a:gd name="T12" fmla="*/ 0 w 1249"/>
                <a:gd name="T13" fmla="*/ 540 h 1079"/>
              </a:gdLst>
              <a:ahLst/>
              <a:cxnLst>
                <a:cxn ang="0">
                  <a:pos x="T0" y="T1"/>
                </a:cxn>
                <a:cxn ang="0">
                  <a:pos x="T2" y="T3"/>
                </a:cxn>
                <a:cxn ang="0">
                  <a:pos x="T4" y="T5"/>
                </a:cxn>
                <a:cxn ang="0">
                  <a:pos x="T6" y="T7"/>
                </a:cxn>
                <a:cxn ang="0">
                  <a:pos x="T8" y="T9"/>
                </a:cxn>
                <a:cxn ang="0">
                  <a:pos x="T10" y="T11"/>
                </a:cxn>
                <a:cxn ang="0">
                  <a:pos x="T12" y="T13"/>
                </a:cxn>
              </a:cxnLst>
              <a:rect l="0" t="0" r="r" b="b"/>
              <a:pathLst>
                <a:path w="1249" h="1079" extrusionOk="0">
                  <a:moveTo>
                    <a:pt x="0" y="540"/>
                  </a:moveTo>
                  <a:lnTo>
                    <a:pt x="309" y="0"/>
                  </a:lnTo>
                  <a:lnTo>
                    <a:pt x="941" y="0"/>
                  </a:lnTo>
                  <a:lnTo>
                    <a:pt x="1249" y="540"/>
                  </a:lnTo>
                  <a:lnTo>
                    <a:pt x="941" y="1079"/>
                  </a:lnTo>
                  <a:lnTo>
                    <a:pt x="309" y="1079"/>
                  </a:lnTo>
                  <a:lnTo>
                    <a:pt x="0" y="540"/>
                  </a:lnTo>
                  <a:close/>
                </a:path>
              </a:pathLst>
            </a:custGeom>
            <a:grpFill/>
            <a:ln w="83282">
              <a:solidFill>
                <a:schemeClr val="tx2">
                  <a:lumMod val="50000"/>
                </a:schemeClr>
              </a:solidFill>
              <a:round/>
              <a:headEnd/>
              <a:tailEnd/>
            </a:ln>
          </p:spPr>
          <p:txBody>
            <a:bodyPr vert="horz" wrap="square" lIns="0" tIns="0" rIns="0" bIns="0" numCol="1" anchor="ctr" anchorCtr="0" compatLnSpc="1">
              <a:prstTxWarp prst="textNoShape">
                <a:avLst/>
              </a:prstTxWarp>
            </a:bodyPr>
            <a:lstStyle/>
            <a:p>
              <a:pPr algn="ctr">
                <a:lnSpc>
                  <a:spcPts val="2625"/>
                </a:lnSpc>
                <a:defRPr/>
              </a:pPr>
              <a:r>
                <a:rPr lang="en-US" sz="1874" b="1" cap="all" dirty="0">
                  <a:solidFill>
                    <a:schemeClr val="bg1"/>
                  </a:solidFill>
                </a:rPr>
                <a:t>ICT</a:t>
              </a:r>
              <a:endParaRPr lang="en-US" sz="1874" dirty="0"/>
            </a:p>
          </p:txBody>
        </p:sp>
      </p:grpSp>
      <p:sp>
        <p:nvSpPr>
          <p:cNvPr id="29" name="Freeform 22"/>
          <p:cNvSpPr/>
          <p:nvPr/>
        </p:nvSpPr>
        <p:spPr bwMode="auto">
          <a:xfrm>
            <a:off x="6631918" y="4921544"/>
            <a:ext cx="1313644" cy="1132452"/>
          </a:xfrm>
          <a:custGeom>
            <a:avLst/>
            <a:gdLst>
              <a:gd name="T0" fmla="*/ 0 w 1249"/>
              <a:gd name="T1" fmla="*/ 540 h 1079"/>
              <a:gd name="T2" fmla="*/ 309 w 1249"/>
              <a:gd name="T3" fmla="*/ 0 h 1079"/>
              <a:gd name="T4" fmla="*/ 941 w 1249"/>
              <a:gd name="T5" fmla="*/ 0 h 1079"/>
              <a:gd name="T6" fmla="*/ 1249 w 1249"/>
              <a:gd name="T7" fmla="*/ 540 h 1079"/>
              <a:gd name="T8" fmla="*/ 941 w 1249"/>
              <a:gd name="T9" fmla="*/ 1079 h 1079"/>
              <a:gd name="T10" fmla="*/ 309 w 1249"/>
              <a:gd name="T11" fmla="*/ 1079 h 1079"/>
              <a:gd name="T12" fmla="*/ 0 w 1249"/>
              <a:gd name="T13" fmla="*/ 540 h 1079"/>
            </a:gdLst>
            <a:ahLst/>
            <a:cxnLst>
              <a:cxn ang="0">
                <a:pos x="T0" y="T1"/>
              </a:cxn>
              <a:cxn ang="0">
                <a:pos x="T2" y="T3"/>
              </a:cxn>
              <a:cxn ang="0">
                <a:pos x="T4" y="T5"/>
              </a:cxn>
              <a:cxn ang="0">
                <a:pos x="T6" y="T7"/>
              </a:cxn>
              <a:cxn ang="0">
                <a:pos x="T8" y="T9"/>
              </a:cxn>
              <a:cxn ang="0">
                <a:pos x="T10" y="T11"/>
              </a:cxn>
              <a:cxn ang="0">
                <a:pos x="T12" y="T13"/>
              </a:cxn>
            </a:cxnLst>
            <a:rect l="0" t="0" r="r" b="b"/>
            <a:pathLst>
              <a:path w="1249" h="1079" extrusionOk="0">
                <a:moveTo>
                  <a:pt x="0" y="540"/>
                </a:moveTo>
                <a:lnTo>
                  <a:pt x="309" y="0"/>
                </a:lnTo>
                <a:lnTo>
                  <a:pt x="941" y="0"/>
                </a:lnTo>
                <a:lnTo>
                  <a:pt x="1249" y="540"/>
                </a:lnTo>
                <a:lnTo>
                  <a:pt x="941" y="1079"/>
                </a:lnTo>
                <a:lnTo>
                  <a:pt x="309" y="1079"/>
                </a:lnTo>
                <a:lnTo>
                  <a:pt x="0" y="540"/>
                </a:lnTo>
                <a:close/>
              </a:path>
            </a:pathLst>
          </a:custGeom>
          <a:solidFill>
            <a:schemeClr val="bg1"/>
          </a:solidFill>
          <a:ln w="71385">
            <a:solidFill>
              <a:schemeClr val="tx1"/>
            </a:solidFill>
            <a:round/>
            <a:headEnd/>
            <a:tailEnd/>
          </a:ln>
        </p:spPr>
        <p:txBody>
          <a:bodyPr vert="horz" wrap="square" lIns="0" tIns="0" rIns="0" bIns="0" numCol="1" anchor="ctr" anchorCtr="0" compatLnSpc="1">
            <a:prstTxWarp prst="textNoShape">
              <a:avLst/>
            </a:prstTxWarp>
          </a:bodyPr>
          <a:lstStyle/>
          <a:p>
            <a:pPr algn="ctr">
              <a:defRPr/>
            </a:pPr>
            <a:r>
              <a:rPr lang="en-US" sz="1200" dirty="0"/>
              <a:t>Cloud </a:t>
            </a:r>
          </a:p>
          <a:p>
            <a:pPr algn="ctr">
              <a:defRPr/>
            </a:pPr>
            <a:r>
              <a:rPr lang="en-US" sz="1200" dirty="0"/>
              <a:t>computing</a:t>
            </a:r>
          </a:p>
        </p:txBody>
      </p:sp>
      <p:sp>
        <p:nvSpPr>
          <p:cNvPr id="31" name="Freeform 22"/>
          <p:cNvSpPr/>
          <p:nvPr/>
        </p:nvSpPr>
        <p:spPr bwMode="auto">
          <a:xfrm>
            <a:off x="8430869" y="4921545"/>
            <a:ext cx="1313644" cy="1132452"/>
          </a:xfrm>
          <a:custGeom>
            <a:avLst/>
            <a:gdLst>
              <a:gd name="T0" fmla="*/ 0 w 1249"/>
              <a:gd name="T1" fmla="*/ 540 h 1079"/>
              <a:gd name="T2" fmla="*/ 309 w 1249"/>
              <a:gd name="T3" fmla="*/ 0 h 1079"/>
              <a:gd name="T4" fmla="*/ 941 w 1249"/>
              <a:gd name="T5" fmla="*/ 0 h 1079"/>
              <a:gd name="T6" fmla="*/ 1249 w 1249"/>
              <a:gd name="T7" fmla="*/ 540 h 1079"/>
              <a:gd name="T8" fmla="*/ 941 w 1249"/>
              <a:gd name="T9" fmla="*/ 1079 h 1079"/>
              <a:gd name="T10" fmla="*/ 309 w 1249"/>
              <a:gd name="T11" fmla="*/ 1079 h 1079"/>
              <a:gd name="T12" fmla="*/ 0 w 1249"/>
              <a:gd name="T13" fmla="*/ 540 h 1079"/>
            </a:gdLst>
            <a:ahLst/>
            <a:cxnLst>
              <a:cxn ang="0">
                <a:pos x="T0" y="T1"/>
              </a:cxn>
              <a:cxn ang="0">
                <a:pos x="T2" y="T3"/>
              </a:cxn>
              <a:cxn ang="0">
                <a:pos x="T4" y="T5"/>
              </a:cxn>
              <a:cxn ang="0">
                <a:pos x="T6" y="T7"/>
              </a:cxn>
              <a:cxn ang="0">
                <a:pos x="T8" y="T9"/>
              </a:cxn>
              <a:cxn ang="0">
                <a:pos x="T10" y="T11"/>
              </a:cxn>
              <a:cxn ang="0">
                <a:pos x="T12" y="T13"/>
              </a:cxn>
            </a:cxnLst>
            <a:rect l="0" t="0" r="r" b="b"/>
            <a:pathLst>
              <a:path w="1249" h="1079" extrusionOk="0">
                <a:moveTo>
                  <a:pt x="0" y="540"/>
                </a:moveTo>
                <a:lnTo>
                  <a:pt x="309" y="0"/>
                </a:lnTo>
                <a:lnTo>
                  <a:pt x="941" y="0"/>
                </a:lnTo>
                <a:lnTo>
                  <a:pt x="1249" y="540"/>
                </a:lnTo>
                <a:lnTo>
                  <a:pt x="941" y="1079"/>
                </a:lnTo>
                <a:lnTo>
                  <a:pt x="309" y="1079"/>
                </a:lnTo>
                <a:lnTo>
                  <a:pt x="0" y="540"/>
                </a:lnTo>
                <a:close/>
              </a:path>
            </a:pathLst>
          </a:custGeom>
          <a:solidFill>
            <a:schemeClr val="bg1"/>
          </a:solidFill>
          <a:ln w="71385">
            <a:solidFill>
              <a:schemeClr val="tx1"/>
            </a:solidFill>
            <a:round/>
            <a:headEnd/>
            <a:tailEnd/>
          </a:ln>
        </p:spPr>
        <p:txBody>
          <a:bodyPr vert="horz" wrap="square" lIns="0" tIns="0" rIns="0" bIns="0" numCol="1" anchor="ctr" anchorCtr="0" compatLnSpc="1">
            <a:prstTxWarp prst="textNoShape">
              <a:avLst/>
            </a:prstTxWarp>
          </a:bodyPr>
          <a:lstStyle/>
          <a:p>
            <a:pPr algn="ctr">
              <a:defRPr/>
            </a:pPr>
            <a:r>
              <a:rPr lang="en-US" sz="1100" dirty="0"/>
              <a:t>Privacy </a:t>
            </a:r>
          </a:p>
          <a:p>
            <a:pPr algn="ctr">
              <a:defRPr/>
            </a:pPr>
            <a:r>
              <a:rPr lang="en-US" sz="1100" dirty="0"/>
              <a:t>preserving </a:t>
            </a:r>
          </a:p>
          <a:p>
            <a:pPr algn="ctr">
              <a:defRPr/>
            </a:pPr>
            <a:r>
              <a:rPr lang="en-US" sz="1100" dirty="0"/>
              <a:t>functionalities</a:t>
            </a:r>
          </a:p>
        </p:txBody>
      </p:sp>
      <p:sp>
        <p:nvSpPr>
          <p:cNvPr id="26" name="Freeform 22"/>
          <p:cNvSpPr/>
          <p:nvPr/>
        </p:nvSpPr>
        <p:spPr bwMode="auto">
          <a:xfrm>
            <a:off x="5867260" y="3327383"/>
            <a:ext cx="1313644" cy="1132452"/>
          </a:xfrm>
          <a:custGeom>
            <a:avLst/>
            <a:gdLst>
              <a:gd name="T0" fmla="*/ 0 w 1249"/>
              <a:gd name="T1" fmla="*/ 540 h 1079"/>
              <a:gd name="T2" fmla="*/ 309 w 1249"/>
              <a:gd name="T3" fmla="*/ 0 h 1079"/>
              <a:gd name="T4" fmla="*/ 941 w 1249"/>
              <a:gd name="T5" fmla="*/ 0 h 1079"/>
              <a:gd name="T6" fmla="*/ 1249 w 1249"/>
              <a:gd name="T7" fmla="*/ 540 h 1079"/>
              <a:gd name="T8" fmla="*/ 941 w 1249"/>
              <a:gd name="T9" fmla="*/ 1079 h 1079"/>
              <a:gd name="T10" fmla="*/ 309 w 1249"/>
              <a:gd name="T11" fmla="*/ 1079 h 1079"/>
              <a:gd name="T12" fmla="*/ 0 w 1249"/>
              <a:gd name="T13" fmla="*/ 540 h 1079"/>
            </a:gdLst>
            <a:ahLst/>
            <a:cxnLst>
              <a:cxn ang="0">
                <a:pos x="T0" y="T1"/>
              </a:cxn>
              <a:cxn ang="0">
                <a:pos x="T2" y="T3"/>
              </a:cxn>
              <a:cxn ang="0">
                <a:pos x="T4" y="T5"/>
              </a:cxn>
              <a:cxn ang="0">
                <a:pos x="T6" y="T7"/>
              </a:cxn>
              <a:cxn ang="0">
                <a:pos x="T8" y="T9"/>
              </a:cxn>
              <a:cxn ang="0">
                <a:pos x="T10" y="T11"/>
              </a:cxn>
              <a:cxn ang="0">
                <a:pos x="T12" y="T13"/>
              </a:cxn>
            </a:cxnLst>
            <a:rect l="0" t="0" r="r" b="b"/>
            <a:pathLst>
              <a:path w="1249" h="1079" extrusionOk="0">
                <a:moveTo>
                  <a:pt x="0" y="540"/>
                </a:moveTo>
                <a:lnTo>
                  <a:pt x="309" y="0"/>
                </a:lnTo>
                <a:lnTo>
                  <a:pt x="941" y="0"/>
                </a:lnTo>
                <a:lnTo>
                  <a:pt x="1249" y="540"/>
                </a:lnTo>
                <a:lnTo>
                  <a:pt x="941" y="1079"/>
                </a:lnTo>
                <a:lnTo>
                  <a:pt x="309" y="1079"/>
                </a:lnTo>
                <a:lnTo>
                  <a:pt x="0" y="540"/>
                </a:lnTo>
                <a:close/>
              </a:path>
            </a:pathLst>
          </a:custGeom>
          <a:solidFill>
            <a:schemeClr val="bg1"/>
          </a:solidFill>
          <a:ln w="71385">
            <a:solidFill>
              <a:schemeClr val="tx1"/>
            </a:solidFill>
            <a:round/>
            <a:headEnd/>
            <a:tailEnd/>
          </a:ln>
        </p:spPr>
        <p:txBody>
          <a:bodyPr vert="horz" wrap="square" lIns="0" tIns="0" rIns="0" bIns="0" numCol="1" anchor="ctr" anchorCtr="0" compatLnSpc="1">
            <a:prstTxWarp prst="textNoShape">
              <a:avLst/>
            </a:prstTxWarp>
          </a:bodyPr>
          <a:lstStyle/>
          <a:p>
            <a:pPr algn="ctr">
              <a:defRPr/>
            </a:pPr>
            <a:r>
              <a:rPr lang="en-US" sz="1100" dirty="0"/>
              <a:t>Blockchain</a:t>
            </a:r>
          </a:p>
        </p:txBody>
      </p:sp>
      <p:sp>
        <p:nvSpPr>
          <p:cNvPr id="33" name="Freeform 22"/>
          <p:cNvSpPr/>
          <p:nvPr/>
        </p:nvSpPr>
        <p:spPr bwMode="auto">
          <a:xfrm>
            <a:off x="7531393" y="1733223"/>
            <a:ext cx="1313644" cy="1132452"/>
          </a:xfrm>
          <a:custGeom>
            <a:avLst/>
            <a:gdLst>
              <a:gd name="T0" fmla="*/ 0 w 1249"/>
              <a:gd name="T1" fmla="*/ 540 h 1079"/>
              <a:gd name="T2" fmla="*/ 309 w 1249"/>
              <a:gd name="T3" fmla="*/ 0 h 1079"/>
              <a:gd name="T4" fmla="*/ 941 w 1249"/>
              <a:gd name="T5" fmla="*/ 0 h 1079"/>
              <a:gd name="T6" fmla="*/ 1249 w 1249"/>
              <a:gd name="T7" fmla="*/ 540 h 1079"/>
              <a:gd name="T8" fmla="*/ 941 w 1249"/>
              <a:gd name="T9" fmla="*/ 1079 h 1079"/>
              <a:gd name="T10" fmla="*/ 309 w 1249"/>
              <a:gd name="T11" fmla="*/ 1079 h 1079"/>
              <a:gd name="T12" fmla="*/ 0 w 1249"/>
              <a:gd name="T13" fmla="*/ 540 h 1079"/>
            </a:gdLst>
            <a:ahLst/>
            <a:cxnLst>
              <a:cxn ang="0">
                <a:pos x="T0" y="T1"/>
              </a:cxn>
              <a:cxn ang="0">
                <a:pos x="T2" y="T3"/>
              </a:cxn>
              <a:cxn ang="0">
                <a:pos x="T4" y="T5"/>
              </a:cxn>
              <a:cxn ang="0">
                <a:pos x="T6" y="T7"/>
              </a:cxn>
              <a:cxn ang="0">
                <a:pos x="T8" y="T9"/>
              </a:cxn>
              <a:cxn ang="0">
                <a:pos x="T10" y="T11"/>
              </a:cxn>
              <a:cxn ang="0">
                <a:pos x="T12" y="T13"/>
              </a:cxn>
            </a:cxnLst>
            <a:rect l="0" t="0" r="r" b="b"/>
            <a:pathLst>
              <a:path w="1249" h="1079" extrusionOk="0">
                <a:moveTo>
                  <a:pt x="0" y="540"/>
                </a:moveTo>
                <a:lnTo>
                  <a:pt x="309" y="0"/>
                </a:lnTo>
                <a:lnTo>
                  <a:pt x="941" y="0"/>
                </a:lnTo>
                <a:lnTo>
                  <a:pt x="1249" y="540"/>
                </a:lnTo>
                <a:lnTo>
                  <a:pt x="941" y="1079"/>
                </a:lnTo>
                <a:lnTo>
                  <a:pt x="309" y="1079"/>
                </a:lnTo>
                <a:lnTo>
                  <a:pt x="0" y="540"/>
                </a:lnTo>
                <a:close/>
              </a:path>
            </a:pathLst>
          </a:custGeom>
          <a:solidFill>
            <a:schemeClr val="bg1"/>
          </a:solidFill>
          <a:ln w="71385">
            <a:solidFill>
              <a:schemeClr val="tx1"/>
            </a:solidFill>
            <a:round/>
            <a:headEnd/>
            <a:tailEnd/>
          </a:ln>
        </p:spPr>
        <p:txBody>
          <a:bodyPr vert="horz" wrap="square" lIns="0" tIns="0" rIns="0" bIns="0" numCol="1" anchor="ctr" anchorCtr="0" compatLnSpc="1">
            <a:prstTxWarp prst="textNoShape">
              <a:avLst/>
            </a:prstTxWarp>
          </a:bodyPr>
          <a:lstStyle/>
          <a:p>
            <a:pPr algn="ctr">
              <a:defRPr/>
            </a:pPr>
            <a:r>
              <a:rPr lang="en-US" sz="1100" dirty="0"/>
              <a:t>Big </a:t>
            </a:r>
          </a:p>
          <a:p>
            <a:pPr algn="ctr">
              <a:defRPr/>
            </a:pPr>
            <a:r>
              <a:rPr lang="en-US" sz="1100" dirty="0"/>
              <a:t>data</a:t>
            </a:r>
          </a:p>
        </p:txBody>
      </p:sp>
      <p:cxnSp>
        <p:nvCxnSpPr>
          <p:cNvPr id="52" name="Straight Arrow Connector 51"/>
          <p:cNvCxnSpPr>
            <a:stCxn id="15" idx="3"/>
          </p:cNvCxnSpPr>
          <p:nvPr/>
        </p:nvCxnSpPr>
        <p:spPr>
          <a:xfrm flipH="1">
            <a:off x="3287339" y="4576494"/>
            <a:ext cx="0" cy="344042"/>
          </a:xfrm>
          <a:prstGeom prst="straightConnector1">
            <a:avLst/>
          </a:prstGeom>
          <a:ln>
            <a:tailEnd type="triangle" w="med" len="med"/>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a:stCxn id="12" idx="0"/>
            <a:endCxn id="42" idx="3"/>
          </p:cNvCxnSpPr>
          <p:nvPr/>
        </p:nvCxnSpPr>
        <p:spPr>
          <a:xfrm flipH="1" flipV="1">
            <a:off x="2299407" y="3894134"/>
            <a:ext cx="208226" cy="110"/>
          </a:xfrm>
          <a:prstGeom prst="straightConnector1">
            <a:avLst/>
          </a:prstGeom>
          <a:ln>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stCxn id="12" idx="3"/>
            <a:endCxn id="41" idx="0"/>
          </p:cNvCxnSpPr>
          <p:nvPr/>
        </p:nvCxnSpPr>
        <p:spPr>
          <a:xfrm flipV="1">
            <a:off x="4090914" y="3894134"/>
            <a:ext cx="208226" cy="110"/>
          </a:xfrm>
          <a:prstGeom prst="straightConnector1">
            <a:avLst/>
          </a:prstGeom>
          <a:ln>
            <a:tailEnd type="triangle" w="med" len="med"/>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flipV="1">
            <a:off x="3294996" y="2900034"/>
            <a:ext cx="0" cy="271584"/>
          </a:xfrm>
          <a:prstGeom prst="straightConnector1">
            <a:avLst/>
          </a:prstGeom>
          <a:ln>
            <a:tailEnd type="triangle" w="med" len="med"/>
          </a:ln>
        </p:spPr>
        <p:style>
          <a:lnRef idx="1">
            <a:schemeClr val="accent1"/>
          </a:lnRef>
          <a:fillRef idx="0">
            <a:schemeClr val="accent1"/>
          </a:fillRef>
          <a:effectRef idx="0">
            <a:schemeClr val="accent1"/>
          </a:effectRef>
          <a:fontRef idx="minor">
            <a:schemeClr val="tx1"/>
          </a:fontRef>
        </p:style>
      </p:cxnSp>
      <p:grpSp>
        <p:nvGrpSpPr>
          <p:cNvPr id="14" name="Group 87"/>
          <p:cNvGrpSpPr>
            <a:grpSpLocks noChangeAspect="1"/>
          </p:cNvGrpSpPr>
          <p:nvPr/>
        </p:nvGrpSpPr>
        <p:grpSpPr bwMode="auto">
          <a:xfrm>
            <a:off x="2507633" y="3209718"/>
            <a:ext cx="1583281" cy="1367784"/>
            <a:chOff x="4942798" y="2540403"/>
            <a:chExt cx="2306404" cy="1992483"/>
          </a:xfrm>
          <a:solidFill>
            <a:schemeClr val="tx2">
              <a:lumMod val="75000"/>
            </a:schemeClr>
          </a:solidFill>
        </p:grpSpPr>
        <p:sp>
          <p:nvSpPr>
            <p:cNvPr id="15" name="Freeform: Shape 89"/>
            <p:cNvSpPr/>
            <p:nvPr/>
          </p:nvSpPr>
          <p:spPr bwMode="auto">
            <a:xfrm>
              <a:off x="5230750" y="2540403"/>
              <a:ext cx="1730501" cy="1991015"/>
            </a:xfrm>
            <a:custGeom>
              <a:avLst/>
              <a:gdLst>
                <a:gd name="connsiteX0" fmla="*/ 820846 w 1653602"/>
                <a:gd name="connsiteY0" fmla="*/ 0 h 1902539"/>
                <a:gd name="connsiteX1" fmla="*/ 1653602 w 1653602"/>
                <a:gd name="connsiteY1" fmla="*/ 480792 h 1902539"/>
                <a:gd name="connsiteX2" fmla="*/ 1648636 w 1653602"/>
                <a:gd name="connsiteY2" fmla="*/ 1426634 h 1902539"/>
                <a:gd name="connsiteX3" fmla="*/ 832756 w 1653602"/>
                <a:gd name="connsiteY3" fmla="*/ 1902539 h 1902539"/>
                <a:gd name="connsiteX4" fmla="*/ 0 w 1653602"/>
                <a:gd name="connsiteY4" fmla="*/ 1421747 h 1902539"/>
                <a:gd name="connsiteX5" fmla="*/ 2889 w 1653602"/>
                <a:gd name="connsiteY5" fmla="*/ 476462 h 1902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53602" h="1902539" extrusionOk="0">
                  <a:moveTo>
                    <a:pt x="820846" y="0"/>
                  </a:moveTo>
                  <a:lnTo>
                    <a:pt x="1653602" y="480792"/>
                  </a:lnTo>
                  <a:lnTo>
                    <a:pt x="1648636" y="1426634"/>
                  </a:lnTo>
                  <a:lnTo>
                    <a:pt x="832756" y="1902539"/>
                  </a:lnTo>
                  <a:lnTo>
                    <a:pt x="0" y="1421747"/>
                  </a:lnTo>
                  <a:lnTo>
                    <a:pt x="2889" y="476462"/>
                  </a:lnTo>
                  <a:close/>
                </a:path>
              </a:pathLst>
            </a:custGeom>
            <a:grp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ts val="2625"/>
                </a:lnSpc>
                <a:defRPr/>
              </a:pPr>
              <a:endParaRPr lang="en-US" sz="2400" cap="all" dirty="0"/>
            </a:p>
          </p:txBody>
        </p:sp>
        <p:sp>
          <p:nvSpPr>
            <p:cNvPr id="12" name="Freeform 22"/>
            <p:cNvSpPr/>
            <p:nvPr/>
          </p:nvSpPr>
          <p:spPr bwMode="auto">
            <a:xfrm>
              <a:off x="4942798" y="2540403"/>
              <a:ext cx="2306404" cy="1992483"/>
            </a:xfrm>
            <a:custGeom>
              <a:avLst/>
              <a:gdLst>
                <a:gd name="T0" fmla="*/ 0 w 1249"/>
                <a:gd name="T1" fmla="*/ 540 h 1079"/>
                <a:gd name="T2" fmla="*/ 309 w 1249"/>
                <a:gd name="T3" fmla="*/ 0 h 1079"/>
                <a:gd name="T4" fmla="*/ 941 w 1249"/>
                <a:gd name="T5" fmla="*/ 0 h 1079"/>
                <a:gd name="T6" fmla="*/ 1249 w 1249"/>
                <a:gd name="T7" fmla="*/ 540 h 1079"/>
                <a:gd name="T8" fmla="*/ 941 w 1249"/>
                <a:gd name="T9" fmla="*/ 1079 h 1079"/>
                <a:gd name="T10" fmla="*/ 309 w 1249"/>
                <a:gd name="T11" fmla="*/ 1079 h 1079"/>
                <a:gd name="T12" fmla="*/ 0 w 1249"/>
                <a:gd name="T13" fmla="*/ 540 h 1079"/>
              </a:gdLst>
              <a:ahLst/>
              <a:cxnLst>
                <a:cxn ang="0">
                  <a:pos x="T0" y="T1"/>
                </a:cxn>
                <a:cxn ang="0">
                  <a:pos x="T2" y="T3"/>
                </a:cxn>
                <a:cxn ang="0">
                  <a:pos x="T4" y="T5"/>
                </a:cxn>
                <a:cxn ang="0">
                  <a:pos x="T6" y="T7"/>
                </a:cxn>
                <a:cxn ang="0">
                  <a:pos x="T8" y="T9"/>
                </a:cxn>
                <a:cxn ang="0">
                  <a:pos x="T10" y="T11"/>
                </a:cxn>
                <a:cxn ang="0">
                  <a:pos x="T12" y="T13"/>
                </a:cxn>
              </a:cxnLst>
              <a:rect l="0" t="0" r="r" b="b"/>
              <a:pathLst>
                <a:path w="1249" h="1079" extrusionOk="0">
                  <a:moveTo>
                    <a:pt x="0" y="540"/>
                  </a:moveTo>
                  <a:lnTo>
                    <a:pt x="309" y="0"/>
                  </a:lnTo>
                  <a:lnTo>
                    <a:pt x="941" y="0"/>
                  </a:lnTo>
                  <a:lnTo>
                    <a:pt x="1249" y="540"/>
                  </a:lnTo>
                  <a:lnTo>
                    <a:pt x="941" y="1079"/>
                  </a:lnTo>
                  <a:lnTo>
                    <a:pt x="309" y="1079"/>
                  </a:lnTo>
                  <a:lnTo>
                    <a:pt x="0" y="540"/>
                  </a:lnTo>
                  <a:close/>
                </a:path>
              </a:pathLst>
            </a:custGeom>
            <a:grpFill/>
            <a:ln w="83282">
              <a:solidFill>
                <a:schemeClr val="tx2">
                  <a:lumMod val="50000"/>
                </a:schemeClr>
              </a:solidFill>
              <a:round/>
              <a:headEnd/>
              <a:tailEnd/>
            </a:ln>
          </p:spPr>
          <p:txBody>
            <a:bodyPr vert="horz" wrap="square" lIns="0" tIns="0" rIns="0" bIns="0" numCol="1" anchor="ctr" anchorCtr="0" compatLnSpc="1">
              <a:prstTxWarp prst="textNoShape">
                <a:avLst/>
              </a:prstTxWarp>
            </a:bodyPr>
            <a:lstStyle/>
            <a:p>
              <a:pPr algn="ctr">
                <a:lnSpc>
                  <a:spcPts val="2625"/>
                </a:lnSpc>
                <a:defRPr/>
              </a:pPr>
              <a:r>
                <a:rPr lang="en-US" sz="1874" b="1" dirty="0">
                  <a:solidFill>
                    <a:schemeClr val="bg1"/>
                  </a:solidFill>
                </a:rPr>
                <a:t>Energy</a:t>
              </a:r>
              <a:endParaRPr lang="en-US" sz="1874" dirty="0"/>
            </a:p>
          </p:txBody>
        </p:sp>
      </p:grpSp>
      <p:sp>
        <p:nvSpPr>
          <p:cNvPr id="39" name="Freeform 22"/>
          <p:cNvSpPr/>
          <p:nvPr/>
        </p:nvSpPr>
        <p:spPr bwMode="auto">
          <a:xfrm>
            <a:off x="2642452" y="1733223"/>
            <a:ext cx="1313644" cy="1132452"/>
          </a:xfrm>
          <a:custGeom>
            <a:avLst/>
            <a:gdLst>
              <a:gd name="T0" fmla="*/ 0 w 1249"/>
              <a:gd name="T1" fmla="*/ 540 h 1079"/>
              <a:gd name="T2" fmla="*/ 309 w 1249"/>
              <a:gd name="T3" fmla="*/ 0 h 1079"/>
              <a:gd name="T4" fmla="*/ 941 w 1249"/>
              <a:gd name="T5" fmla="*/ 0 h 1079"/>
              <a:gd name="T6" fmla="*/ 1249 w 1249"/>
              <a:gd name="T7" fmla="*/ 540 h 1079"/>
              <a:gd name="T8" fmla="*/ 941 w 1249"/>
              <a:gd name="T9" fmla="*/ 1079 h 1079"/>
              <a:gd name="T10" fmla="*/ 309 w 1249"/>
              <a:gd name="T11" fmla="*/ 1079 h 1079"/>
              <a:gd name="T12" fmla="*/ 0 w 1249"/>
              <a:gd name="T13" fmla="*/ 540 h 1079"/>
            </a:gdLst>
            <a:ahLst/>
            <a:cxnLst>
              <a:cxn ang="0">
                <a:pos x="T0" y="T1"/>
              </a:cxn>
              <a:cxn ang="0">
                <a:pos x="T2" y="T3"/>
              </a:cxn>
              <a:cxn ang="0">
                <a:pos x="T4" y="T5"/>
              </a:cxn>
              <a:cxn ang="0">
                <a:pos x="T6" y="T7"/>
              </a:cxn>
              <a:cxn ang="0">
                <a:pos x="T8" y="T9"/>
              </a:cxn>
              <a:cxn ang="0">
                <a:pos x="T10" y="T11"/>
              </a:cxn>
              <a:cxn ang="0">
                <a:pos x="T12" y="T13"/>
              </a:cxn>
            </a:cxnLst>
            <a:rect l="0" t="0" r="r" b="b"/>
            <a:pathLst>
              <a:path w="1249" h="1079" extrusionOk="0">
                <a:moveTo>
                  <a:pt x="0" y="540"/>
                </a:moveTo>
                <a:lnTo>
                  <a:pt x="309" y="0"/>
                </a:lnTo>
                <a:lnTo>
                  <a:pt x="941" y="0"/>
                </a:lnTo>
                <a:lnTo>
                  <a:pt x="1249" y="540"/>
                </a:lnTo>
                <a:lnTo>
                  <a:pt x="941" y="1079"/>
                </a:lnTo>
                <a:lnTo>
                  <a:pt x="309" y="1079"/>
                </a:lnTo>
                <a:lnTo>
                  <a:pt x="0" y="540"/>
                </a:lnTo>
                <a:close/>
              </a:path>
            </a:pathLst>
          </a:custGeom>
          <a:solidFill>
            <a:schemeClr val="bg1"/>
          </a:solidFill>
          <a:ln w="71385">
            <a:solidFill>
              <a:schemeClr val="tx1"/>
            </a:solidFill>
            <a:round/>
            <a:headEnd/>
            <a:tailEnd/>
          </a:ln>
        </p:spPr>
        <p:txBody>
          <a:bodyPr vert="horz" wrap="square" lIns="0" tIns="0" rIns="0" bIns="0" numCol="1" anchor="ctr" anchorCtr="0" compatLnSpc="1">
            <a:prstTxWarp prst="textNoShape">
              <a:avLst/>
            </a:prstTxWarp>
          </a:bodyPr>
          <a:lstStyle/>
          <a:p>
            <a:pPr algn="ctr">
              <a:defRPr/>
            </a:pPr>
            <a:r>
              <a:rPr lang="en-US" sz="1100" dirty="0"/>
              <a:t>Energy</a:t>
            </a:r>
          </a:p>
          <a:p>
            <a:pPr algn="ctr">
              <a:defRPr/>
            </a:pPr>
            <a:r>
              <a:rPr lang="en-US" sz="1100" dirty="0"/>
              <a:t> management </a:t>
            </a:r>
          </a:p>
          <a:p>
            <a:pPr algn="ctr">
              <a:defRPr/>
            </a:pPr>
            <a:r>
              <a:rPr lang="en-US" sz="1100" dirty="0"/>
              <a:t>systems</a:t>
            </a:r>
          </a:p>
        </p:txBody>
      </p:sp>
      <p:sp>
        <p:nvSpPr>
          <p:cNvPr id="40" name="Freeform 22"/>
          <p:cNvSpPr/>
          <p:nvPr/>
        </p:nvSpPr>
        <p:spPr bwMode="auto">
          <a:xfrm>
            <a:off x="2642452" y="4921544"/>
            <a:ext cx="1313644" cy="1132452"/>
          </a:xfrm>
          <a:custGeom>
            <a:avLst/>
            <a:gdLst>
              <a:gd name="T0" fmla="*/ 0 w 1249"/>
              <a:gd name="T1" fmla="*/ 540 h 1079"/>
              <a:gd name="T2" fmla="*/ 309 w 1249"/>
              <a:gd name="T3" fmla="*/ 0 h 1079"/>
              <a:gd name="T4" fmla="*/ 941 w 1249"/>
              <a:gd name="T5" fmla="*/ 0 h 1079"/>
              <a:gd name="T6" fmla="*/ 1249 w 1249"/>
              <a:gd name="T7" fmla="*/ 540 h 1079"/>
              <a:gd name="T8" fmla="*/ 941 w 1249"/>
              <a:gd name="T9" fmla="*/ 1079 h 1079"/>
              <a:gd name="T10" fmla="*/ 309 w 1249"/>
              <a:gd name="T11" fmla="*/ 1079 h 1079"/>
              <a:gd name="T12" fmla="*/ 0 w 1249"/>
              <a:gd name="T13" fmla="*/ 540 h 1079"/>
            </a:gdLst>
            <a:ahLst/>
            <a:cxnLst>
              <a:cxn ang="0">
                <a:pos x="T0" y="T1"/>
              </a:cxn>
              <a:cxn ang="0">
                <a:pos x="T2" y="T3"/>
              </a:cxn>
              <a:cxn ang="0">
                <a:pos x="T4" y="T5"/>
              </a:cxn>
              <a:cxn ang="0">
                <a:pos x="T6" y="T7"/>
              </a:cxn>
              <a:cxn ang="0">
                <a:pos x="T8" y="T9"/>
              </a:cxn>
              <a:cxn ang="0">
                <a:pos x="T10" y="T11"/>
              </a:cxn>
              <a:cxn ang="0">
                <a:pos x="T12" y="T13"/>
              </a:cxn>
            </a:cxnLst>
            <a:rect l="0" t="0" r="r" b="b"/>
            <a:pathLst>
              <a:path w="1249" h="1079" extrusionOk="0">
                <a:moveTo>
                  <a:pt x="0" y="540"/>
                </a:moveTo>
                <a:lnTo>
                  <a:pt x="309" y="0"/>
                </a:lnTo>
                <a:lnTo>
                  <a:pt x="941" y="0"/>
                </a:lnTo>
                <a:lnTo>
                  <a:pt x="1249" y="540"/>
                </a:lnTo>
                <a:lnTo>
                  <a:pt x="941" y="1079"/>
                </a:lnTo>
                <a:lnTo>
                  <a:pt x="309" y="1079"/>
                </a:lnTo>
                <a:lnTo>
                  <a:pt x="0" y="540"/>
                </a:lnTo>
                <a:close/>
              </a:path>
            </a:pathLst>
          </a:custGeom>
          <a:solidFill>
            <a:schemeClr val="bg1"/>
          </a:solidFill>
          <a:ln w="71385">
            <a:solidFill>
              <a:schemeClr val="tx1"/>
            </a:solidFill>
            <a:round/>
            <a:headEnd/>
            <a:tailEnd/>
          </a:ln>
        </p:spPr>
        <p:txBody>
          <a:bodyPr vert="horz" wrap="square" lIns="0" tIns="0" rIns="0" bIns="0" numCol="1" anchor="ctr" anchorCtr="0" compatLnSpc="1">
            <a:prstTxWarp prst="textNoShape">
              <a:avLst/>
            </a:prstTxWarp>
          </a:bodyPr>
          <a:lstStyle/>
          <a:p>
            <a:pPr algn="ctr">
              <a:defRPr/>
            </a:pPr>
            <a:r>
              <a:rPr lang="en-US" sz="1100" dirty="0"/>
              <a:t>Smart </a:t>
            </a:r>
          </a:p>
          <a:p>
            <a:pPr algn="ctr">
              <a:defRPr/>
            </a:pPr>
            <a:r>
              <a:rPr lang="en-US" sz="1100" dirty="0"/>
              <a:t>Buildings</a:t>
            </a:r>
          </a:p>
          <a:p>
            <a:pPr algn="ctr">
              <a:defRPr/>
            </a:pPr>
            <a:r>
              <a:rPr lang="en-US" sz="1100" dirty="0"/>
              <a:t>and smart</a:t>
            </a:r>
          </a:p>
          <a:p>
            <a:pPr algn="ctr">
              <a:defRPr/>
            </a:pPr>
            <a:r>
              <a:rPr lang="en-US" sz="1100" dirty="0"/>
              <a:t> appliances</a:t>
            </a:r>
          </a:p>
        </p:txBody>
      </p:sp>
      <p:sp>
        <p:nvSpPr>
          <p:cNvPr id="41" name="Freeform 22"/>
          <p:cNvSpPr/>
          <p:nvPr/>
        </p:nvSpPr>
        <p:spPr bwMode="auto">
          <a:xfrm>
            <a:off x="4299140" y="3327383"/>
            <a:ext cx="1313644" cy="1132452"/>
          </a:xfrm>
          <a:custGeom>
            <a:avLst/>
            <a:gdLst>
              <a:gd name="T0" fmla="*/ 0 w 1249"/>
              <a:gd name="T1" fmla="*/ 540 h 1079"/>
              <a:gd name="T2" fmla="*/ 309 w 1249"/>
              <a:gd name="T3" fmla="*/ 0 h 1079"/>
              <a:gd name="T4" fmla="*/ 941 w 1249"/>
              <a:gd name="T5" fmla="*/ 0 h 1079"/>
              <a:gd name="T6" fmla="*/ 1249 w 1249"/>
              <a:gd name="T7" fmla="*/ 540 h 1079"/>
              <a:gd name="T8" fmla="*/ 941 w 1249"/>
              <a:gd name="T9" fmla="*/ 1079 h 1079"/>
              <a:gd name="T10" fmla="*/ 309 w 1249"/>
              <a:gd name="T11" fmla="*/ 1079 h 1079"/>
              <a:gd name="T12" fmla="*/ 0 w 1249"/>
              <a:gd name="T13" fmla="*/ 540 h 1079"/>
            </a:gdLst>
            <a:ahLst/>
            <a:cxnLst>
              <a:cxn ang="0">
                <a:pos x="T0" y="T1"/>
              </a:cxn>
              <a:cxn ang="0">
                <a:pos x="T2" y="T3"/>
              </a:cxn>
              <a:cxn ang="0">
                <a:pos x="T4" y="T5"/>
              </a:cxn>
              <a:cxn ang="0">
                <a:pos x="T6" y="T7"/>
              </a:cxn>
              <a:cxn ang="0">
                <a:pos x="T8" y="T9"/>
              </a:cxn>
              <a:cxn ang="0">
                <a:pos x="T10" y="T11"/>
              </a:cxn>
              <a:cxn ang="0">
                <a:pos x="T12" y="T13"/>
              </a:cxn>
            </a:cxnLst>
            <a:rect l="0" t="0" r="r" b="b"/>
            <a:pathLst>
              <a:path w="1249" h="1079" extrusionOk="0">
                <a:moveTo>
                  <a:pt x="0" y="540"/>
                </a:moveTo>
                <a:lnTo>
                  <a:pt x="309" y="0"/>
                </a:lnTo>
                <a:lnTo>
                  <a:pt x="941" y="0"/>
                </a:lnTo>
                <a:lnTo>
                  <a:pt x="1249" y="540"/>
                </a:lnTo>
                <a:lnTo>
                  <a:pt x="941" y="1079"/>
                </a:lnTo>
                <a:lnTo>
                  <a:pt x="309" y="1079"/>
                </a:lnTo>
                <a:lnTo>
                  <a:pt x="0" y="540"/>
                </a:lnTo>
                <a:close/>
              </a:path>
            </a:pathLst>
          </a:custGeom>
          <a:solidFill>
            <a:schemeClr val="bg1"/>
          </a:solidFill>
          <a:ln w="71385">
            <a:solidFill>
              <a:schemeClr val="tx1"/>
            </a:solidFill>
            <a:round/>
            <a:headEnd/>
            <a:tailEnd/>
          </a:ln>
        </p:spPr>
        <p:txBody>
          <a:bodyPr vert="horz" wrap="square" lIns="0" tIns="0" rIns="0" bIns="0" numCol="1" anchor="ctr" anchorCtr="0" compatLnSpc="1">
            <a:prstTxWarp prst="textNoShape">
              <a:avLst/>
            </a:prstTxWarp>
          </a:bodyPr>
          <a:lstStyle/>
          <a:p>
            <a:pPr algn="ctr">
              <a:defRPr/>
            </a:pPr>
            <a:r>
              <a:rPr lang="en-US" sz="1100" dirty="0"/>
              <a:t>Advanced  </a:t>
            </a:r>
          </a:p>
          <a:p>
            <a:pPr algn="ctr">
              <a:defRPr/>
            </a:pPr>
            <a:r>
              <a:rPr lang="en-US" sz="1100" dirty="0"/>
              <a:t>electric </a:t>
            </a:r>
          </a:p>
          <a:p>
            <a:pPr algn="ctr">
              <a:defRPr/>
            </a:pPr>
            <a:r>
              <a:rPr lang="en-US" sz="1100" dirty="0"/>
              <a:t>vehicles</a:t>
            </a:r>
          </a:p>
          <a:p>
            <a:pPr algn="ctr">
              <a:defRPr/>
            </a:pPr>
            <a:r>
              <a:rPr lang="en-US" sz="1100" dirty="0"/>
              <a:t> charging</a:t>
            </a:r>
          </a:p>
        </p:txBody>
      </p:sp>
      <p:sp>
        <p:nvSpPr>
          <p:cNvPr id="42" name="Freeform 22"/>
          <p:cNvSpPr/>
          <p:nvPr/>
        </p:nvSpPr>
        <p:spPr bwMode="auto">
          <a:xfrm>
            <a:off x="985763" y="3327383"/>
            <a:ext cx="1313644" cy="1132452"/>
          </a:xfrm>
          <a:custGeom>
            <a:avLst/>
            <a:gdLst>
              <a:gd name="T0" fmla="*/ 0 w 1249"/>
              <a:gd name="T1" fmla="*/ 540 h 1079"/>
              <a:gd name="T2" fmla="*/ 309 w 1249"/>
              <a:gd name="T3" fmla="*/ 0 h 1079"/>
              <a:gd name="T4" fmla="*/ 941 w 1249"/>
              <a:gd name="T5" fmla="*/ 0 h 1079"/>
              <a:gd name="T6" fmla="*/ 1249 w 1249"/>
              <a:gd name="T7" fmla="*/ 540 h 1079"/>
              <a:gd name="T8" fmla="*/ 941 w 1249"/>
              <a:gd name="T9" fmla="*/ 1079 h 1079"/>
              <a:gd name="T10" fmla="*/ 309 w 1249"/>
              <a:gd name="T11" fmla="*/ 1079 h 1079"/>
              <a:gd name="T12" fmla="*/ 0 w 1249"/>
              <a:gd name="T13" fmla="*/ 540 h 1079"/>
            </a:gdLst>
            <a:ahLst/>
            <a:cxnLst>
              <a:cxn ang="0">
                <a:pos x="T0" y="T1"/>
              </a:cxn>
              <a:cxn ang="0">
                <a:pos x="T2" y="T3"/>
              </a:cxn>
              <a:cxn ang="0">
                <a:pos x="T4" y="T5"/>
              </a:cxn>
              <a:cxn ang="0">
                <a:pos x="T6" y="T7"/>
              </a:cxn>
              <a:cxn ang="0">
                <a:pos x="T8" y="T9"/>
              </a:cxn>
              <a:cxn ang="0">
                <a:pos x="T10" y="T11"/>
              </a:cxn>
              <a:cxn ang="0">
                <a:pos x="T12" y="T13"/>
              </a:cxn>
            </a:cxnLst>
            <a:rect l="0" t="0" r="r" b="b"/>
            <a:pathLst>
              <a:path w="1249" h="1079" extrusionOk="0">
                <a:moveTo>
                  <a:pt x="0" y="540"/>
                </a:moveTo>
                <a:lnTo>
                  <a:pt x="309" y="0"/>
                </a:lnTo>
                <a:lnTo>
                  <a:pt x="941" y="0"/>
                </a:lnTo>
                <a:lnTo>
                  <a:pt x="1249" y="540"/>
                </a:lnTo>
                <a:lnTo>
                  <a:pt x="941" y="1079"/>
                </a:lnTo>
                <a:lnTo>
                  <a:pt x="309" y="1079"/>
                </a:lnTo>
                <a:lnTo>
                  <a:pt x="0" y="540"/>
                </a:lnTo>
                <a:close/>
              </a:path>
            </a:pathLst>
          </a:custGeom>
          <a:solidFill>
            <a:schemeClr val="bg1"/>
          </a:solidFill>
          <a:ln w="71385">
            <a:solidFill>
              <a:schemeClr val="tx1"/>
            </a:solidFill>
            <a:round/>
            <a:headEnd/>
            <a:tailEnd/>
          </a:ln>
        </p:spPr>
        <p:txBody>
          <a:bodyPr vert="horz" wrap="square" lIns="0" tIns="0" rIns="0" bIns="0" numCol="1" anchor="ctr" anchorCtr="0" compatLnSpc="1">
            <a:prstTxWarp prst="textNoShape">
              <a:avLst/>
            </a:prstTxWarp>
          </a:bodyPr>
          <a:lstStyle/>
          <a:p>
            <a:pPr algn="ctr">
              <a:defRPr/>
            </a:pPr>
            <a:r>
              <a:rPr lang="en-US" sz="1100" dirty="0"/>
              <a:t>Smart</a:t>
            </a:r>
            <a:br>
              <a:rPr lang="en-US" sz="1100" dirty="0"/>
            </a:br>
            <a:r>
              <a:rPr lang="en-US" sz="1100" dirty="0"/>
              <a:t>grid</a:t>
            </a:r>
          </a:p>
          <a:p>
            <a:pPr algn="ctr">
              <a:defRPr/>
            </a:pPr>
            <a:r>
              <a:rPr lang="en-US" sz="1100" dirty="0"/>
              <a:t> systems</a:t>
            </a:r>
          </a:p>
        </p:txBody>
      </p:sp>
      <p:cxnSp>
        <p:nvCxnSpPr>
          <p:cNvPr id="60" name="Straight Arrow Connector 59"/>
          <p:cNvCxnSpPr/>
          <p:nvPr/>
        </p:nvCxnSpPr>
        <p:spPr>
          <a:xfrm flipV="1">
            <a:off x="8188215" y="2900034"/>
            <a:ext cx="0" cy="271584"/>
          </a:xfrm>
          <a:prstGeom prst="straightConnector1">
            <a:avLst/>
          </a:prstGeom>
          <a:ln>
            <a:tailEnd type="triangle" w="med" len="med"/>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a:stCxn id="24" idx="3"/>
            <a:endCxn id="22" idx="0"/>
          </p:cNvCxnSpPr>
          <p:nvPr/>
        </p:nvCxnSpPr>
        <p:spPr>
          <a:xfrm flipV="1">
            <a:off x="8979856" y="3894134"/>
            <a:ext cx="215671" cy="110"/>
          </a:xfrm>
          <a:prstGeom prst="straightConnector1">
            <a:avLst/>
          </a:prstGeom>
          <a:ln>
            <a:tailEnd type="triangle" w="med" len="med"/>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a:stCxn id="24" idx="0"/>
            <a:endCxn id="26" idx="3"/>
          </p:cNvCxnSpPr>
          <p:nvPr/>
        </p:nvCxnSpPr>
        <p:spPr>
          <a:xfrm flipH="1" flipV="1">
            <a:off x="7180904" y="3894134"/>
            <a:ext cx="215671" cy="110"/>
          </a:xfrm>
          <a:prstGeom prst="straightConnector1">
            <a:avLst/>
          </a:prstGeom>
          <a:ln>
            <a:tailEnd type="triangle" w="med" len="med"/>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a:stCxn id="24" idx="5"/>
            <a:endCxn id="29" idx="2"/>
          </p:cNvCxnSpPr>
          <p:nvPr/>
        </p:nvCxnSpPr>
        <p:spPr>
          <a:xfrm flipH="1">
            <a:off x="7621621" y="4577502"/>
            <a:ext cx="166654" cy="344042"/>
          </a:xfrm>
          <a:prstGeom prst="straightConnector1">
            <a:avLst/>
          </a:prstGeom>
          <a:ln>
            <a:tailEnd type="triangle" w="med" len="med"/>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a:stCxn id="24" idx="4"/>
            <a:endCxn id="31" idx="1"/>
          </p:cNvCxnSpPr>
          <p:nvPr/>
        </p:nvCxnSpPr>
        <p:spPr>
          <a:xfrm>
            <a:off x="8589423" y="4577502"/>
            <a:ext cx="166439" cy="344043"/>
          </a:xfrm>
          <a:prstGeom prst="straightConnector1">
            <a:avLst/>
          </a:prstGeom>
          <a:ln>
            <a:tailEnd type="triangle" w="med" len="med"/>
          </a:ln>
        </p:spPr>
        <p:style>
          <a:lnRef idx="1">
            <a:schemeClr val="accent1"/>
          </a:lnRef>
          <a:fillRef idx="0">
            <a:schemeClr val="accent1"/>
          </a:fillRef>
          <a:effectRef idx="0">
            <a:schemeClr val="accent1"/>
          </a:effectRef>
          <a:fontRef idx="minor">
            <a:schemeClr val="tx1"/>
          </a:fontRef>
        </p:style>
      </p:cxnSp>
      <p:pic>
        <p:nvPicPr>
          <p:cNvPr id="34" name="Picture 1" descr="image002">
            <a:extLst>
              <a:ext uri="{FF2B5EF4-FFF2-40B4-BE49-F238E27FC236}">
                <a16:creationId xmlns:a16="http://schemas.microsoft.com/office/drawing/2014/main" id="{D9553DC7-AF32-4E6C-9553-113F4E398721}"/>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6293916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41" name="Object 40"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286" imgH="286" progId="TCLayout.ActiveDocument.1">
                  <p:embed/>
                </p:oleObj>
              </mc:Choice>
              <mc:Fallback>
                <p:oleObj name="think-cell Slide" r:id="rId5" imgW="286" imgH="286" progId="TCLayout.ActiveDocument.1">
                  <p:embed/>
                  <p:pic>
                    <p:nvPicPr>
                      <p:cNvPr id="41" name="Object 40"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Slide Number Placeholder 1"/>
          <p:cNvSpPr>
            <a:spLocks noGrp="1"/>
          </p:cNvSpPr>
          <p:nvPr>
            <p:ph type="sldNum" sz="quarter" idx="4"/>
          </p:nvPr>
        </p:nvSpPr>
        <p:spPr/>
        <p:txBody>
          <a:bodyPr/>
          <a:lstStyle/>
          <a:p>
            <a:fld id="{EBC262BB-4310-134F-8D24-58475080D942}" type="slidenum">
              <a:rPr lang="en-US" smtClean="0"/>
              <a:pPr/>
              <a:t>46</a:t>
            </a:fld>
            <a:endParaRPr lang="en-US" dirty="0"/>
          </a:p>
        </p:txBody>
      </p:sp>
      <p:sp>
        <p:nvSpPr>
          <p:cNvPr id="5" name="Text Placeholder 4"/>
          <p:cNvSpPr>
            <a:spLocks noGrp="1"/>
          </p:cNvSpPr>
          <p:nvPr>
            <p:ph type="body" sz="quarter" idx="10"/>
          </p:nvPr>
        </p:nvSpPr>
        <p:spPr/>
        <p:txBody>
          <a:bodyPr/>
          <a:lstStyle/>
          <a:p>
            <a:r>
              <a:rPr lang="en-US" dirty="0"/>
              <a:t>What impacts do we expect achieve?</a:t>
            </a:r>
          </a:p>
        </p:txBody>
      </p:sp>
      <p:sp>
        <p:nvSpPr>
          <p:cNvPr id="9" name="TextBox 11"/>
          <p:cNvSpPr>
            <a:spLocks/>
          </p:cNvSpPr>
          <p:nvPr/>
        </p:nvSpPr>
        <p:spPr bwMode="auto">
          <a:xfrm>
            <a:off x="985763" y="3788649"/>
            <a:ext cx="2608337" cy="553998"/>
          </a:xfrm>
          <a:prstGeom prst="rect">
            <a:avLst/>
          </a:prstGeom>
          <a:noFill/>
        </p:spPr>
        <p:txBody>
          <a:bodyPr wrap="square" lIns="0" tIns="0" rIns="0" bIns="0" rtlCol="0" anchor="b">
            <a:noAutofit/>
          </a:bodyPr>
          <a:lstStyle/>
          <a:p>
            <a:pPr>
              <a:defRPr/>
            </a:pPr>
            <a:r>
              <a:rPr lang="en-US" sz="1200" b="1" dirty="0">
                <a:solidFill>
                  <a:schemeClr val="tx2"/>
                </a:solidFill>
              </a:rPr>
              <a:t>Energy apps, services and connected devices and appliances</a:t>
            </a:r>
            <a:endParaRPr lang="en-US" sz="1200" dirty="0">
              <a:solidFill>
                <a:schemeClr val="tx2"/>
              </a:solidFill>
            </a:endParaRPr>
          </a:p>
        </p:txBody>
      </p:sp>
      <p:sp>
        <p:nvSpPr>
          <p:cNvPr id="53" name="TextBox 52"/>
          <p:cNvSpPr txBox="1"/>
          <p:nvPr/>
        </p:nvSpPr>
        <p:spPr>
          <a:xfrm>
            <a:off x="985763" y="4407042"/>
            <a:ext cx="2608337" cy="1107996"/>
          </a:xfrm>
          <a:prstGeom prst="rect">
            <a:avLst/>
          </a:prstGeom>
        </p:spPr>
        <p:txBody>
          <a:bodyPr wrap="square" lIns="0" tIns="0" rIns="0" bIns="0" rtlCol="0">
            <a:spAutoFit/>
          </a:bodyPr>
          <a:lstStyle/>
          <a:p>
            <a:pPr marL="0" indent="0">
              <a:lnSpc>
                <a:spcPct val="100000"/>
              </a:lnSpc>
              <a:spcBef>
                <a:spcPts val="2200"/>
              </a:spcBef>
              <a:buClr>
                <a:schemeClr val="accent3"/>
              </a:buClr>
              <a:buSzPct val="150000"/>
              <a:buFontTx/>
              <a:buNone/>
            </a:pPr>
            <a:r>
              <a:rPr lang="en-US" sz="1200" b="0" spc="0" dirty="0"/>
              <a:t>Increasing number of energy apps, services - energy (ex: building energy efficiency, electrical mobility, renewable integration) and non-energy (comfort, convenience, security, privacy) - and connected devices and appliances</a:t>
            </a:r>
          </a:p>
        </p:txBody>
      </p:sp>
      <p:sp>
        <p:nvSpPr>
          <p:cNvPr id="12" name="TextBox 14"/>
          <p:cNvSpPr>
            <a:spLocks/>
          </p:cNvSpPr>
          <p:nvPr/>
        </p:nvSpPr>
        <p:spPr bwMode="auto">
          <a:xfrm>
            <a:off x="985763" y="1451715"/>
            <a:ext cx="2608337" cy="369332"/>
          </a:xfrm>
          <a:prstGeom prst="rect">
            <a:avLst/>
          </a:prstGeom>
          <a:noFill/>
        </p:spPr>
        <p:txBody>
          <a:bodyPr wrap="square" lIns="0" tIns="0" rIns="0" bIns="0" rtlCol="0" anchor="b">
            <a:noAutofit/>
          </a:bodyPr>
          <a:lstStyle/>
          <a:p>
            <a:pPr>
              <a:defRPr/>
            </a:pPr>
            <a:r>
              <a:rPr lang="en-US" sz="1200" b="1" dirty="0">
                <a:solidFill>
                  <a:schemeClr val="tx2"/>
                </a:solidFill>
              </a:rPr>
              <a:t>Deployment and adoption of IoT standards and platforms</a:t>
            </a:r>
            <a:endParaRPr lang="en-US" sz="1200" dirty="0">
              <a:solidFill>
                <a:schemeClr val="tx2"/>
              </a:solidFill>
            </a:endParaRPr>
          </a:p>
        </p:txBody>
      </p:sp>
      <p:sp>
        <p:nvSpPr>
          <p:cNvPr id="13" name="TextBox 15"/>
          <p:cNvSpPr>
            <a:spLocks/>
          </p:cNvSpPr>
          <p:nvPr/>
        </p:nvSpPr>
        <p:spPr bwMode="auto">
          <a:xfrm>
            <a:off x="985763" y="1884547"/>
            <a:ext cx="2608337" cy="1477328"/>
          </a:xfrm>
          <a:prstGeom prst="rect">
            <a:avLst/>
          </a:prstGeom>
          <a:noFill/>
        </p:spPr>
        <p:txBody>
          <a:bodyPr wrap="square" lIns="0" tIns="0" rIns="0" bIns="0" rtlCol="0" anchor="t">
            <a:spAutoFit/>
          </a:bodyPr>
          <a:lstStyle/>
          <a:p>
            <a:pPr>
              <a:defRPr/>
            </a:pPr>
            <a:r>
              <a:rPr lang="en-US" sz="1200" dirty="0"/>
              <a:t>Accelerate a wider deployment and adoption of IoT standards and platforms in smart homes and buildings in Europe and development of secure, cost-effective and sustainable IoT ecosystems and related business models</a:t>
            </a:r>
          </a:p>
        </p:txBody>
      </p:sp>
      <p:sp>
        <p:nvSpPr>
          <p:cNvPr id="16" name="TextBox 14"/>
          <p:cNvSpPr>
            <a:spLocks/>
          </p:cNvSpPr>
          <p:nvPr/>
        </p:nvSpPr>
        <p:spPr bwMode="auto">
          <a:xfrm>
            <a:off x="7670801" y="1451715"/>
            <a:ext cx="2604856" cy="369332"/>
          </a:xfrm>
          <a:prstGeom prst="rect">
            <a:avLst/>
          </a:prstGeom>
          <a:noFill/>
        </p:spPr>
        <p:txBody>
          <a:bodyPr wrap="square" lIns="0" tIns="0" rIns="0" bIns="0" rtlCol="0" anchor="b">
            <a:noAutofit/>
          </a:bodyPr>
          <a:lstStyle/>
          <a:p>
            <a:pPr>
              <a:defRPr/>
            </a:pPr>
            <a:r>
              <a:rPr lang="en-US" sz="1200" b="1" dirty="0">
                <a:solidFill>
                  <a:schemeClr val="tx2"/>
                </a:solidFill>
              </a:rPr>
              <a:t>User acceptance and demonstration of concepts</a:t>
            </a:r>
            <a:endParaRPr lang="en-US" sz="1200" dirty="0">
              <a:solidFill>
                <a:schemeClr val="tx2"/>
              </a:solidFill>
            </a:endParaRPr>
          </a:p>
        </p:txBody>
      </p:sp>
      <p:sp>
        <p:nvSpPr>
          <p:cNvPr id="17" name="TextBox 15"/>
          <p:cNvSpPr>
            <a:spLocks/>
          </p:cNvSpPr>
          <p:nvPr/>
        </p:nvSpPr>
        <p:spPr bwMode="auto">
          <a:xfrm>
            <a:off x="7670801" y="1884547"/>
            <a:ext cx="2604856" cy="1107996"/>
          </a:xfrm>
          <a:prstGeom prst="rect">
            <a:avLst/>
          </a:prstGeom>
          <a:noFill/>
        </p:spPr>
        <p:txBody>
          <a:bodyPr wrap="square" lIns="0" tIns="0" rIns="0" bIns="0" rtlCol="0" anchor="t">
            <a:spAutoFit/>
          </a:bodyPr>
          <a:lstStyle/>
          <a:p>
            <a:pPr>
              <a:defRPr/>
            </a:pPr>
            <a:r>
              <a:rPr lang="en-US" sz="1200" dirty="0"/>
              <a:t>Validation of end user acceptance, as well as demonstration of viable concepts that ensure privacy, liability and trust in connected data spaces</a:t>
            </a:r>
          </a:p>
        </p:txBody>
      </p:sp>
      <p:sp>
        <p:nvSpPr>
          <p:cNvPr id="19" name="TextBox 14"/>
          <p:cNvSpPr>
            <a:spLocks/>
          </p:cNvSpPr>
          <p:nvPr/>
        </p:nvSpPr>
        <p:spPr bwMode="auto">
          <a:xfrm>
            <a:off x="7670800" y="3066020"/>
            <a:ext cx="2604856" cy="369332"/>
          </a:xfrm>
          <a:prstGeom prst="rect">
            <a:avLst/>
          </a:prstGeom>
          <a:noFill/>
        </p:spPr>
        <p:txBody>
          <a:bodyPr wrap="square" lIns="0" tIns="0" rIns="0" bIns="0" rtlCol="0" anchor="b">
            <a:spAutoFit/>
          </a:bodyPr>
          <a:lstStyle/>
          <a:p>
            <a:pPr>
              <a:defRPr/>
            </a:pPr>
            <a:r>
              <a:rPr lang="en-US" sz="1200" b="1" dirty="0">
                <a:solidFill>
                  <a:schemeClr val="tx2"/>
                </a:solidFill>
              </a:rPr>
              <a:t>Marketplace for news services in EU</a:t>
            </a:r>
            <a:endParaRPr lang="en-US" sz="1200" dirty="0">
              <a:solidFill>
                <a:schemeClr val="tx2"/>
              </a:solidFill>
            </a:endParaRPr>
          </a:p>
        </p:txBody>
      </p:sp>
      <p:sp>
        <p:nvSpPr>
          <p:cNvPr id="20" name="TextBox 15"/>
          <p:cNvSpPr>
            <a:spLocks/>
          </p:cNvSpPr>
          <p:nvPr/>
        </p:nvSpPr>
        <p:spPr bwMode="auto">
          <a:xfrm>
            <a:off x="7670801" y="3499747"/>
            <a:ext cx="2604856" cy="1107996"/>
          </a:xfrm>
          <a:prstGeom prst="rect">
            <a:avLst/>
          </a:prstGeom>
          <a:noFill/>
        </p:spPr>
        <p:txBody>
          <a:bodyPr wrap="square" lIns="0" tIns="0" rIns="0" bIns="0" rtlCol="0" anchor="t">
            <a:spAutoFit/>
          </a:bodyPr>
          <a:lstStyle/>
          <a:p>
            <a:pPr>
              <a:defRPr/>
            </a:pPr>
            <a:r>
              <a:rPr lang="en-US" sz="1200" dirty="0"/>
              <a:t>Demonstrate that IoT platforms lead to a marketplace for new services in EU homes and buildings with opportunities for SMEs and start-ups</a:t>
            </a:r>
          </a:p>
        </p:txBody>
      </p:sp>
      <p:sp>
        <p:nvSpPr>
          <p:cNvPr id="22" name="TextBox 14"/>
          <p:cNvSpPr>
            <a:spLocks/>
          </p:cNvSpPr>
          <p:nvPr/>
        </p:nvSpPr>
        <p:spPr bwMode="auto">
          <a:xfrm>
            <a:off x="7670801" y="4681220"/>
            <a:ext cx="2604856" cy="369332"/>
          </a:xfrm>
          <a:prstGeom prst="rect">
            <a:avLst/>
          </a:prstGeom>
          <a:noFill/>
        </p:spPr>
        <p:txBody>
          <a:bodyPr wrap="square" lIns="0" tIns="0" rIns="0" bIns="0" rtlCol="0" anchor="b">
            <a:spAutoFit/>
          </a:bodyPr>
          <a:lstStyle/>
          <a:p>
            <a:pPr>
              <a:defRPr/>
            </a:pPr>
            <a:r>
              <a:rPr lang="en-US" sz="1200" b="1" dirty="0">
                <a:solidFill>
                  <a:schemeClr val="tx2"/>
                </a:solidFill>
              </a:rPr>
              <a:t>Increase the use of renewables &amp; energy efficiency</a:t>
            </a:r>
            <a:endParaRPr lang="en-US" sz="1200" dirty="0">
              <a:solidFill>
                <a:schemeClr val="tx2"/>
              </a:solidFill>
            </a:endParaRPr>
          </a:p>
        </p:txBody>
      </p:sp>
      <p:sp>
        <p:nvSpPr>
          <p:cNvPr id="23" name="TextBox 15"/>
          <p:cNvSpPr>
            <a:spLocks/>
          </p:cNvSpPr>
          <p:nvPr/>
        </p:nvSpPr>
        <p:spPr bwMode="auto">
          <a:xfrm>
            <a:off x="7670801" y="5114947"/>
            <a:ext cx="2604856" cy="1107996"/>
          </a:xfrm>
          <a:prstGeom prst="rect">
            <a:avLst/>
          </a:prstGeom>
          <a:noFill/>
        </p:spPr>
        <p:txBody>
          <a:bodyPr wrap="square" lIns="0" tIns="0" rIns="0" bIns="0" rtlCol="0" anchor="t">
            <a:spAutoFit/>
          </a:bodyPr>
          <a:lstStyle/>
          <a:p>
            <a:pPr>
              <a:defRPr/>
            </a:pPr>
            <a:r>
              <a:rPr lang="en-US" sz="1200" dirty="0"/>
              <a:t>Contribute to increase the use of renewables and energy efficiency, offering access to cheaper and sustainable energy for consumers and maximising social welfare</a:t>
            </a:r>
          </a:p>
        </p:txBody>
      </p:sp>
      <p:grpSp>
        <p:nvGrpSpPr>
          <p:cNvPr id="49" name="Group 48"/>
          <p:cNvGrpSpPr/>
          <p:nvPr/>
        </p:nvGrpSpPr>
        <p:grpSpPr>
          <a:xfrm>
            <a:off x="3672044" y="1451794"/>
            <a:ext cx="77788" cy="4771149"/>
            <a:chOff x="3672044" y="1451794"/>
            <a:chExt cx="77788" cy="4147278"/>
          </a:xfrm>
        </p:grpSpPr>
        <p:cxnSp>
          <p:nvCxnSpPr>
            <p:cNvPr id="34" name="Straight Connector 33"/>
            <p:cNvCxnSpPr/>
            <p:nvPr/>
          </p:nvCxnSpPr>
          <p:spPr>
            <a:xfrm>
              <a:off x="3710939" y="1529582"/>
              <a:ext cx="0" cy="3991702"/>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9" name="Oval 38"/>
            <p:cNvSpPr/>
            <p:nvPr/>
          </p:nvSpPr>
          <p:spPr>
            <a:xfrm>
              <a:off x="3672044" y="5521284"/>
              <a:ext cx="77788" cy="77788"/>
            </a:xfrm>
            <a:prstGeom prst="ellipse">
              <a:avLst/>
            </a:prstGeom>
            <a:solidFill>
              <a:schemeClr val="bg1"/>
            </a:solidFill>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40" name="Oval 39"/>
            <p:cNvSpPr/>
            <p:nvPr/>
          </p:nvSpPr>
          <p:spPr>
            <a:xfrm>
              <a:off x="3672044" y="1451794"/>
              <a:ext cx="77788" cy="77788"/>
            </a:xfrm>
            <a:prstGeom prst="ellipse">
              <a:avLst/>
            </a:prstGeom>
            <a:solidFill>
              <a:schemeClr val="bg1"/>
            </a:solidFill>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grpSp>
      <p:grpSp>
        <p:nvGrpSpPr>
          <p:cNvPr id="48" name="Group 47"/>
          <p:cNvGrpSpPr/>
          <p:nvPr/>
        </p:nvGrpSpPr>
        <p:grpSpPr>
          <a:xfrm>
            <a:off x="7519207" y="1451794"/>
            <a:ext cx="77788" cy="4771149"/>
            <a:chOff x="7519207" y="1451794"/>
            <a:chExt cx="77788" cy="4147278"/>
          </a:xfrm>
        </p:grpSpPr>
        <p:cxnSp>
          <p:nvCxnSpPr>
            <p:cNvPr id="35" name="Straight Connector 34"/>
            <p:cNvCxnSpPr/>
            <p:nvPr/>
          </p:nvCxnSpPr>
          <p:spPr>
            <a:xfrm>
              <a:off x="7558101" y="1529582"/>
              <a:ext cx="0" cy="3991702"/>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37" name="Oval 36"/>
            <p:cNvSpPr/>
            <p:nvPr/>
          </p:nvSpPr>
          <p:spPr>
            <a:xfrm>
              <a:off x="7519207" y="5521284"/>
              <a:ext cx="77788" cy="77788"/>
            </a:xfrm>
            <a:prstGeom prst="ellipse">
              <a:avLst/>
            </a:prstGeom>
            <a:solidFill>
              <a:schemeClr val="bg1"/>
            </a:solidFill>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38" name="Oval 37"/>
            <p:cNvSpPr/>
            <p:nvPr/>
          </p:nvSpPr>
          <p:spPr>
            <a:xfrm>
              <a:off x="7519207" y="1451794"/>
              <a:ext cx="77788" cy="77788"/>
            </a:xfrm>
            <a:prstGeom prst="ellipse">
              <a:avLst/>
            </a:prstGeom>
            <a:solidFill>
              <a:schemeClr val="bg1"/>
            </a:solidFill>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t"/>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grpSp>
      <p:pic>
        <p:nvPicPr>
          <p:cNvPr id="42" name="Imagem 20" descr="Uma imagem com espelho, escuro, grande, sentado&#10;&#10;Descrição gerada automaticamente"/>
          <p:cNvPicPr>
            <a:picLocks noChangeAspect="1"/>
          </p:cNvPicPr>
          <p:nvPr/>
        </p:nvPicPr>
        <p:blipFill>
          <a:blip r:embed="rId7"/>
          <a:srcRect l="27824" t="24692" r="28557"/>
          <a:stretch/>
        </p:blipFill>
        <p:spPr bwMode="auto">
          <a:xfrm>
            <a:off x="4018184" y="2056797"/>
            <a:ext cx="3308412" cy="3302329"/>
          </a:xfrm>
          <a:prstGeom prst="rect">
            <a:avLst/>
          </a:prstGeom>
        </p:spPr>
      </p:pic>
      <p:sp>
        <p:nvSpPr>
          <p:cNvPr id="7" name="Oval 21"/>
          <p:cNvSpPr/>
          <p:nvPr/>
        </p:nvSpPr>
        <p:spPr bwMode="auto">
          <a:xfrm>
            <a:off x="4018184" y="5359126"/>
            <a:ext cx="3308412" cy="734291"/>
          </a:xfrm>
          <a:prstGeom prst="ellipse">
            <a:avLst/>
          </a:prstGeom>
          <a:gradFill>
            <a:gsLst>
              <a:gs pos="0">
                <a:schemeClr val="tx1"/>
              </a:gs>
              <a:gs pos="100000">
                <a:srgbClr val="2B323B">
                  <a:alpha val="0"/>
                </a:srgbClr>
              </a:gs>
            </a:gsLst>
            <a:path path="shape"/>
          </a:gradFill>
          <a:ln w="9525">
            <a:noFill/>
            <a:round/>
            <a:headEnd/>
            <a:tailEnd/>
          </a:ln>
        </p:spPr>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defRPr/>
            </a:pPr>
            <a:endParaRPr lang="en-US" sz="1350" dirty="0">
              <a:solidFill>
                <a:sysClr val="windowText" lastClr="000000"/>
              </a:solidFill>
              <a:ea typeface="宋体"/>
            </a:endParaRPr>
          </a:p>
        </p:txBody>
      </p:sp>
      <p:sp>
        <p:nvSpPr>
          <p:cNvPr id="29" name="Arc 28"/>
          <p:cNvSpPr/>
          <p:nvPr/>
        </p:nvSpPr>
        <p:spPr>
          <a:xfrm>
            <a:off x="3891338" y="2118884"/>
            <a:ext cx="3279082" cy="3383254"/>
          </a:xfrm>
          <a:prstGeom prst="arc">
            <a:avLst>
              <a:gd name="adj1" fmla="val 7453432"/>
              <a:gd name="adj2" fmla="val 14212245"/>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rgbClr val="575757"/>
              </a:solidFill>
              <a:latin typeface="Trebuchet MS" panose="020B0603020202020204" pitchFamily="34" charset="0"/>
              <a:sym typeface="Trebuchet MS" panose="020B0603020202020204" pitchFamily="34" charset="0"/>
            </a:endParaRPr>
          </a:p>
        </p:txBody>
      </p:sp>
      <p:sp>
        <p:nvSpPr>
          <p:cNvPr id="30" name="Arc 29"/>
          <p:cNvSpPr/>
          <p:nvPr/>
        </p:nvSpPr>
        <p:spPr>
          <a:xfrm flipH="1">
            <a:off x="3773890" y="2009883"/>
            <a:ext cx="3601812" cy="3601812"/>
          </a:xfrm>
          <a:prstGeom prst="arc">
            <a:avLst>
              <a:gd name="adj1" fmla="val 7453432"/>
              <a:gd name="adj2" fmla="val 14212245"/>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rgbClr val="575757"/>
              </a:solidFill>
              <a:latin typeface="Trebuchet MS" panose="020B0603020202020204" pitchFamily="34" charset="0"/>
              <a:sym typeface="Trebuchet MS" panose="020B0603020202020204" pitchFamily="34" charset="0"/>
            </a:endParaRPr>
          </a:p>
        </p:txBody>
      </p:sp>
      <p:cxnSp>
        <p:nvCxnSpPr>
          <p:cNvPr id="32" name="Straight Connector 31"/>
          <p:cNvCxnSpPr/>
          <p:nvPr/>
        </p:nvCxnSpPr>
        <p:spPr>
          <a:xfrm>
            <a:off x="3710939" y="3755703"/>
            <a:ext cx="175261" cy="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7383322" y="3755703"/>
            <a:ext cx="174779" cy="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4" name="TextBox 30"/>
          <p:cNvSpPr>
            <a:spLocks/>
          </p:cNvSpPr>
          <p:nvPr/>
        </p:nvSpPr>
        <p:spPr bwMode="auto">
          <a:xfrm>
            <a:off x="5097553" y="3523295"/>
            <a:ext cx="1149674" cy="369332"/>
          </a:xfrm>
          <a:prstGeom prst="rect">
            <a:avLst/>
          </a:prstGeom>
          <a:noFill/>
        </p:spPr>
        <p:txBody>
          <a:bodyPr wrap="none" rtlCol="0">
            <a:spAutoFit/>
          </a:bodyPr>
          <a:lstStyle/>
          <a:p>
            <a:pPr algn="ctr">
              <a:defRPr/>
            </a:pPr>
            <a:r>
              <a:rPr lang="en-US" b="1" dirty="0">
                <a:solidFill>
                  <a:schemeClr val="tx2">
                    <a:lumMod val="50000"/>
                  </a:schemeClr>
                </a:solidFill>
              </a:rPr>
              <a:t>Impacts</a:t>
            </a:r>
            <a:endParaRPr lang="en-US" dirty="0">
              <a:solidFill>
                <a:schemeClr val="tx2">
                  <a:lumMod val="50000"/>
                </a:schemeClr>
              </a:solidFill>
            </a:endParaRPr>
          </a:p>
        </p:txBody>
      </p:sp>
      <p:pic>
        <p:nvPicPr>
          <p:cNvPr id="33" name="Picture 1" descr="image002">
            <a:extLst>
              <a:ext uri="{FF2B5EF4-FFF2-40B4-BE49-F238E27FC236}">
                <a16:creationId xmlns:a16="http://schemas.microsoft.com/office/drawing/2014/main" id="{8CB1B8D8-FD70-412D-9E99-6D3665094E13}"/>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6250263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Slide Number Placeholder 1"/>
          <p:cNvSpPr>
            <a:spLocks noGrp="1"/>
          </p:cNvSpPr>
          <p:nvPr>
            <p:ph type="sldNum" sz="quarter" idx="4"/>
          </p:nvPr>
        </p:nvSpPr>
        <p:spPr/>
        <p:txBody>
          <a:bodyPr/>
          <a:lstStyle/>
          <a:p>
            <a:fld id="{EBC262BB-4310-134F-8D24-58475080D942}" type="slidenum">
              <a:rPr lang="en-US" smtClean="0"/>
              <a:pPr/>
              <a:t>47</a:t>
            </a:fld>
            <a:endParaRPr lang="en-US" dirty="0"/>
          </a:p>
        </p:txBody>
      </p:sp>
      <p:sp>
        <p:nvSpPr>
          <p:cNvPr id="5" name="Text Placeholder 4"/>
          <p:cNvSpPr>
            <a:spLocks noGrp="1"/>
          </p:cNvSpPr>
          <p:nvPr>
            <p:ph type="body" sz="quarter" idx="10"/>
          </p:nvPr>
        </p:nvSpPr>
        <p:spPr/>
        <p:txBody>
          <a:bodyPr/>
          <a:lstStyle/>
          <a:p>
            <a:r>
              <a:rPr lang="en-US" dirty="0"/>
              <a:t>Seven large scale pilots leading to market driven deployments will be installed</a:t>
            </a:r>
          </a:p>
        </p:txBody>
      </p:sp>
      <p:sp>
        <p:nvSpPr>
          <p:cNvPr id="6" name="TextBox 14"/>
          <p:cNvSpPr>
            <a:spLocks/>
          </p:cNvSpPr>
          <p:nvPr/>
        </p:nvSpPr>
        <p:spPr bwMode="auto">
          <a:xfrm>
            <a:off x="985763" y="1530062"/>
            <a:ext cx="9289894" cy="584775"/>
          </a:xfrm>
          <a:prstGeom prst="rect">
            <a:avLst/>
          </a:prstGeom>
          <a:noFill/>
        </p:spPr>
        <p:txBody>
          <a:bodyPr wrap="square" lIns="0" rIns="0" rtlCol="0" anchor="b">
            <a:spAutoFit/>
          </a:bodyPr>
          <a:lstStyle/>
          <a:p>
            <a:pPr algn="just">
              <a:defRPr/>
            </a:pPr>
            <a:r>
              <a:rPr lang="en-US" sz="1600" b="1" dirty="0">
                <a:solidFill>
                  <a:schemeClr val="tx2">
                    <a:lumMod val="50000"/>
                  </a:schemeClr>
                </a:solidFill>
              </a:rPr>
              <a:t>The future of smart energy management solutions will start by testing seven connected large-scale pilots across Europe:</a:t>
            </a:r>
            <a:endParaRPr lang="en-US" dirty="0">
              <a:solidFill>
                <a:schemeClr val="tx2">
                  <a:lumMod val="50000"/>
                </a:schemeClr>
              </a:solidFill>
            </a:endParaRPr>
          </a:p>
        </p:txBody>
      </p:sp>
      <p:pic>
        <p:nvPicPr>
          <p:cNvPr id="7" name="Imagem 38" descr="Uma imagem com texto, mapa&#10;&#10;Descrição gerada automaticamente"/>
          <p:cNvPicPr>
            <a:picLocks noChangeAspect="1"/>
          </p:cNvPicPr>
          <p:nvPr/>
        </p:nvPicPr>
        <p:blipFill rotWithShape="1">
          <a:blip r:embed="rId3"/>
          <a:srcRect l="2321" t="7451" r="36577" b="2613"/>
          <a:stretch/>
        </p:blipFill>
        <p:spPr bwMode="auto">
          <a:xfrm>
            <a:off x="6886830" y="2332477"/>
            <a:ext cx="3388827" cy="4132717"/>
          </a:xfrm>
          <a:prstGeom prst="rect">
            <a:avLst/>
          </a:prstGeom>
        </p:spPr>
      </p:pic>
      <p:sp>
        <p:nvSpPr>
          <p:cNvPr id="8" name="CaixaDeTexto 39"/>
          <p:cNvSpPr>
            <a:spLocks/>
          </p:cNvSpPr>
          <p:nvPr/>
        </p:nvSpPr>
        <p:spPr bwMode="auto">
          <a:xfrm>
            <a:off x="1116529" y="2332477"/>
            <a:ext cx="5632001" cy="3539430"/>
          </a:xfrm>
          <a:prstGeom prst="rect">
            <a:avLst/>
          </a:prstGeom>
          <a:noFill/>
        </p:spPr>
        <p:txBody>
          <a:bodyPr wrap="square" lIns="0" tIns="0" rIns="0" bIns="0" rtlCol="0">
            <a:spAutoFit/>
          </a:bodyPr>
          <a:lstStyle/>
          <a:p>
            <a:pPr marL="324000" lvl="1" indent="-216000">
              <a:buClr>
                <a:schemeClr val="tx2">
                  <a:lumMod val="100000"/>
                </a:schemeClr>
              </a:buClr>
              <a:buSzPct val="100000"/>
              <a:buFont typeface="Trebuchet MS" panose="020B0603020202020204" pitchFamily="34" charset="0"/>
              <a:buChar char="•"/>
              <a:defRPr/>
            </a:pPr>
            <a:r>
              <a:rPr lang="en-US" sz="1400" b="1" dirty="0">
                <a:solidFill>
                  <a:schemeClr val="tx2"/>
                </a:solidFill>
              </a:rPr>
              <a:t>Greece</a:t>
            </a:r>
            <a:endParaRPr lang="en-US" b="1" dirty="0">
              <a:solidFill>
                <a:schemeClr val="tx2"/>
              </a:solidFill>
            </a:endParaRPr>
          </a:p>
          <a:p>
            <a:pPr marL="648000" lvl="2" indent="-216000">
              <a:buClr>
                <a:schemeClr val="tx2">
                  <a:lumMod val="100000"/>
                </a:schemeClr>
              </a:buClr>
              <a:buSzPct val="100000"/>
              <a:buFont typeface="Trebuchet MS" panose="020B0603020202020204" pitchFamily="34" charset="0"/>
              <a:buChar char="–"/>
              <a:defRPr/>
            </a:pPr>
            <a:r>
              <a:rPr lang="en-US" sz="1200" dirty="0">
                <a:solidFill>
                  <a:schemeClr val="tx1">
                    <a:lumMod val="100000"/>
                  </a:schemeClr>
                </a:solidFill>
              </a:rPr>
              <a:t>Large residential community with smart appliances and EV integration</a:t>
            </a:r>
            <a:endParaRPr lang="en-US" dirty="0">
              <a:solidFill>
                <a:schemeClr val="tx1">
                  <a:lumMod val="100000"/>
                </a:schemeClr>
              </a:solidFill>
            </a:endParaRPr>
          </a:p>
          <a:p>
            <a:pPr marL="324000" lvl="1" indent="-216000">
              <a:buClr>
                <a:schemeClr val="tx2">
                  <a:lumMod val="100000"/>
                </a:schemeClr>
              </a:buClr>
              <a:buSzPct val="100000"/>
              <a:buFont typeface="Trebuchet MS" panose="020B0603020202020204" pitchFamily="34" charset="0"/>
              <a:buChar char="•"/>
              <a:defRPr/>
            </a:pPr>
            <a:r>
              <a:rPr lang="en-US" sz="1400" b="1" dirty="0">
                <a:solidFill>
                  <a:schemeClr val="tx2"/>
                </a:solidFill>
              </a:rPr>
              <a:t>France</a:t>
            </a:r>
          </a:p>
          <a:p>
            <a:pPr marL="648000" lvl="2" indent="-216000">
              <a:buClr>
                <a:schemeClr val="tx2">
                  <a:lumMod val="100000"/>
                </a:schemeClr>
              </a:buClr>
              <a:buSzPct val="100000"/>
              <a:buFont typeface="Trebuchet MS" panose="020B0603020202020204" pitchFamily="34" charset="0"/>
              <a:buChar char="–"/>
              <a:defRPr/>
            </a:pPr>
            <a:r>
              <a:rPr lang="en-US" sz="1200" dirty="0">
                <a:solidFill>
                  <a:schemeClr val="tx1">
                    <a:lumMod val="100000"/>
                  </a:schemeClr>
                </a:solidFill>
              </a:rPr>
              <a:t>Residential &amp; non-residential, with tertiary buildings and apartments</a:t>
            </a:r>
            <a:endParaRPr lang="en-US" dirty="0">
              <a:solidFill>
                <a:schemeClr val="tx1">
                  <a:lumMod val="100000"/>
                </a:schemeClr>
              </a:solidFill>
            </a:endParaRPr>
          </a:p>
          <a:p>
            <a:pPr marL="324000" lvl="1" indent="-216000">
              <a:buClr>
                <a:schemeClr val="tx2">
                  <a:lumMod val="100000"/>
                </a:schemeClr>
              </a:buClr>
              <a:buSzPct val="100000"/>
              <a:buFont typeface="Trebuchet MS" panose="020B0603020202020204" pitchFamily="34" charset="0"/>
              <a:buChar char="•"/>
              <a:defRPr/>
            </a:pPr>
            <a:r>
              <a:rPr lang="en-US" sz="1400" b="1" dirty="0">
                <a:solidFill>
                  <a:schemeClr val="tx2"/>
                </a:solidFill>
              </a:rPr>
              <a:t>Portugal</a:t>
            </a:r>
          </a:p>
          <a:p>
            <a:pPr marL="648000" lvl="2" indent="-216000">
              <a:buClr>
                <a:schemeClr val="tx2">
                  <a:lumMod val="100000"/>
                </a:schemeClr>
              </a:buClr>
              <a:buSzPct val="100000"/>
              <a:buFont typeface="Trebuchet MS" panose="020B0603020202020204" pitchFamily="34" charset="0"/>
              <a:buChar char="–"/>
              <a:defRPr/>
            </a:pPr>
            <a:r>
              <a:rPr lang="en-US" sz="1200" dirty="0">
                <a:solidFill>
                  <a:schemeClr val="tx1">
                    <a:lumMod val="100000"/>
                  </a:schemeClr>
                </a:solidFill>
              </a:rPr>
              <a:t>Residential &amp; geographically widespread tertiary buildings</a:t>
            </a:r>
            <a:endParaRPr lang="en-US" dirty="0">
              <a:solidFill>
                <a:schemeClr val="tx1">
                  <a:lumMod val="100000"/>
                </a:schemeClr>
              </a:solidFill>
            </a:endParaRPr>
          </a:p>
          <a:p>
            <a:pPr marL="324000" lvl="1" indent="-216000">
              <a:buClr>
                <a:schemeClr val="tx2">
                  <a:lumMod val="100000"/>
                </a:schemeClr>
              </a:buClr>
              <a:buSzPct val="100000"/>
              <a:buFont typeface="Trebuchet MS" panose="020B0603020202020204" pitchFamily="34" charset="0"/>
              <a:buChar char="•"/>
              <a:defRPr/>
            </a:pPr>
            <a:r>
              <a:rPr lang="en-US" sz="1400" b="1" dirty="0">
                <a:solidFill>
                  <a:schemeClr val="tx2"/>
                </a:solidFill>
              </a:rPr>
              <a:t>Netherlands</a:t>
            </a:r>
          </a:p>
          <a:p>
            <a:pPr marL="648000" lvl="2" indent="-216000">
              <a:buClr>
                <a:schemeClr val="tx2">
                  <a:lumMod val="100000"/>
                </a:schemeClr>
              </a:buClr>
              <a:buSzPct val="100000"/>
              <a:buFont typeface="Trebuchet MS" panose="020B0603020202020204" pitchFamily="34" charset="0"/>
              <a:buChar char="–"/>
              <a:defRPr/>
            </a:pPr>
            <a:r>
              <a:rPr lang="en-US" sz="1200" dirty="0">
                <a:solidFill>
                  <a:schemeClr val="tx1">
                    <a:lumMod val="100000"/>
                  </a:schemeClr>
                </a:solidFill>
              </a:rPr>
              <a:t>Residential &amp; non-residential buildings</a:t>
            </a:r>
            <a:endParaRPr lang="en-US" dirty="0">
              <a:solidFill>
                <a:schemeClr val="tx1">
                  <a:lumMod val="100000"/>
                </a:schemeClr>
              </a:solidFill>
            </a:endParaRPr>
          </a:p>
          <a:p>
            <a:pPr marL="324000" lvl="1" indent="-216000">
              <a:buClr>
                <a:schemeClr val="tx2">
                  <a:lumMod val="100000"/>
                </a:schemeClr>
              </a:buClr>
              <a:buSzPct val="100000"/>
              <a:buFont typeface="Trebuchet MS" panose="020B0603020202020204" pitchFamily="34" charset="0"/>
              <a:buChar char="•"/>
              <a:defRPr/>
            </a:pPr>
            <a:r>
              <a:rPr lang="en-US" sz="1400" b="1" dirty="0">
                <a:solidFill>
                  <a:schemeClr val="tx2"/>
                </a:solidFill>
              </a:rPr>
              <a:t>Germany</a:t>
            </a:r>
          </a:p>
          <a:p>
            <a:pPr marL="648000" lvl="2" indent="-216000">
              <a:buClr>
                <a:schemeClr val="tx2">
                  <a:lumMod val="100000"/>
                </a:schemeClr>
              </a:buClr>
              <a:buSzPct val="100000"/>
              <a:buFont typeface="Trebuchet MS" panose="020B0603020202020204" pitchFamily="34" charset="0"/>
              <a:buChar char="–"/>
              <a:defRPr/>
            </a:pPr>
            <a:r>
              <a:rPr lang="en-US" sz="1200" dirty="0">
                <a:solidFill>
                  <a:schemeClr val="tx1">
                    <a:lumMod val="100000"/>
                  </a:schemeClr>
                </a:solidFill>
              </a:rPr>
              <a:t>Groups of residential buildings and hotels</a:t>
            </a:r>
            <a:endParaRPr lang="en-US" dirty="0">
              <a:solidFill>
                <a:schemeClr val="tx1">
                  <a:lumMod val="100000"/>
                </a:schemeClr>
              </a:solidFill>
            </a:endParaRPr>
          </a:p>
          <a:p>
            <a:pPr marL="324000" lvl="1" indent="-216000">
              <a:buClr>
                <a:schemeClr val="tx2">
                  <a:lumMod val="100000"/>
                </a:schemeClr>
              </a:buClr>
              <a:buSzPct val="100000"/>
              <a:buFont typeface="Trebuchet MS" panose="020B0603020202020204" pitchFamily="34" charset="0"/>
              <a:buChar char="•"/>
              <a:defRPr/>
            </a:pPr>
            <a:r>
              <a:rPr lang="en-US" sz="1400" b="1" dirty="0">
                <a:solidFill>
                  <a:schemeClr val="tx2"/>
                </a:solidFill>
              </a:rPr>
              <a:t>Belgium</a:t>
            </a:r>
          </a:p>
          <a:p>
            <a:pPr marL="648000" lvl="2" indent="-216000">
              <a:buClr>
                <a:schemeClr val="tx2">
                  <a:lumMod val="100000"/>
                </a:schemeClr>
              </a:buClr>
              <a:buSzPct val="100000"/>
              <a:buFont typeface="Trebuchet MS" panose="020B0603020202020204" pitchFamily="34" charset="0"/>
              <a:buChar char="–"/>
              <a:defRPr/>
            </a:pPr>
            <a:r>
              <a:rPr lang="en-US" sz="1200" dirty="0">
                <a:solidFill>
                  <a:schemeClr val="tx1">
                    <a:lumMod val="100000"/>
                  </a:schemeClr>
                </a:solidFill>
              </a:rPr>
              <a:t>Residential and tertiary buildings in communities of multi-energy vectors</a:t>
            </a:r>
            <a:endParaRPr lang="en-US" dirty="0">
              <a:solidFill>
                <a:schemeClr val="tx1">
                  <a:lumMod val="100000"/>
                </a:schemeClr>
              </a:solidFill>
            </a:endParaRPr>
          </a:p>
          <a:p>
            <a:pPr marL="324000" lvl="1" indent="-216000">
              <a:buClr>
                <a:schemeClr val="tx2">
                  <a:lumMod val="100000"/>
                </a:schemeClr>
              </a:buClr>
              <a:buSzPct val="100000"/>
              <a:buFont typeface="Trebuchet MS" panose="020B0603020202020204" pitchFamily="34" charset="0"/>
              <a:buChar char="•"/>
              <a:defRPr/>
            </a:pPr>
            <a:r>
              <a:rPr lang="en-US" sz="1400" b="1" dirty="0">
                <a:solidFill>
                  <a:schemeClr val="tx2"/>
                </a:solidFill>
              </a:rPr>
              <a:t>Italy </a:t>
            </a:r>
          </a:p>
          <a:p>
            <a:pPr marL="648000" lvl="2" indent="-216000">
              <a:buClr>
                <a:schemeClr val="tx2">
                  <a:lumMod val="100000"/>
                </a:schemeClr>
              </a:buClr>
              <a:buSzPct val="100000"/>
              <a:buFont typeface="Trebuchet MS" panose="020B0603020202020204" pitchFamily="34" charset="0"/>
              <a:buChar char="–"/>
              <a:defRPr/>
            </a:pPr>
            <a:r>
              <a:rPr lang="en-US" sz="1200" dirty="0">
                <a:solidFill>
                  <a:schemeClr val="tx1">
                    <a:lumMod val="100000"/>
                  </a:schemeClr>
                </a:solidFill>
              </a:rPr>
              <a:t>Residential social housing</a:t>
            </a:r>
          </a:p>
        </p:txBody>
      </p:sp>
      <p:pic>
        <p:nvPicPr>
          <p:cNvPr id="10" name="Picture 1" descr="image002">
            <a:extLst>
              <a:ext uri="{FF2B5EF4-FFF2-40B4-BE49-F238E27FC236}">
                <a16:creationId xmlns:a16="http://schemas.microsoft.com/office/drawing/2014/main" id="{6751F7B1-2A8E-4C43-8C75-E164BD65AEA7}"/>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5544820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Slide Number Placeholder 1"/>
          <p:cNvSpPr>
            <a:spLocks noGrp="1"/>
          </p:cNvSpPr>
          <p:nvPr>
            <p:ph type="sldNum" sz="quarter" idx="4"/>
          </p:nvPr>
        </p:nvSpPr>
        <p:spPr bwMode="auto"/>
        <p:txBody>
          <a:bodyPr/>
          <a:lstStyle/>
          <a:p>
            <a:pPr>
              <a:defRPr/>
            </a:pPr>
            <a:fld id="{EBC262BB-4310-134F-8D24-58475080D942}" type="slidenum">
              <a:rPr lang="en-US"/>
              <a:t>48</a:t>
            </a:fld>
            <a:endParaRPr lang="en-US" dirty="0"/>
          </a:p>
        </p:txBody>
      </p:sp>
      <p:sp>
        <p:nvSpPr>
          <p:cNvPr id="5" name="Text Placeholder 4"/>
          <p:cNvSpPr>
            <a:spLocks noGrp="1"/>
          </p:cNvSpPr>
          <p:nvPr>
            <p:ph type="body" sz="quarter" idx="10"/>
          </p:nvPr>
        </p:nvSpPr>
        <p:spPr bwMode="auto"/>
        <p:txBody>
          <a:bodyPr/>
          <a:lstStyle/>
          <a:p>
            <a:pPr>
              <a:defRPr/>
            </a:pPr>
            <a:r>
              <a:rPr lang="en-US" dirty="0"/>
              <a:t>The consortium is composed by 50 members </a:t>
            </a:r>
          </a:p>
          <a:p>
            <a:pPr>
              <a:defRPr/>
            </a:pPr>
            <a:r>
              <a:rPr lang="en-US" dirty="0"/>
              <a:t>covering full IoT &amp; energy value chain</a:t>
            </a:r>
            <a:endParaRPr dirty="0"/>
          </a:p>
        </p:txBody>
      </p:sp>
      <p:sp>
        <p:nvSpPr>
          <p:cNvPr id="8" name="ee4pHeader1"/>
          <p:cNvSpPr>
            <a:spLocks noChangeArrowheads="1"/>
          </p:cNvSpPr>
          <p:nvPr>
            <p:custDataLst>
              <p:tags r:id="rId1"/>
            </p:custDataLst>
          </p:nvPr>
        </p:nvSpPr>
        <p:spPr bwMode="gray">
          <a:xfrm>
            <a:off x="985071" y="5456399"/>
            <a:ext cx="1987092" cy="235948"/>
          </a:xfrm>
          <a:prstGeom prst="homePlate">
            <a:avLst>
              <a:gd name="adj" fmla="val 12004"/>
            </a:avLst>
          </a:prstGeom>
          <a:solidFill>
            <a:schemeClr val="tx2"/>
          </a:solidFill>
          <a:ln w="38100" cap="rnd" algn="ctr">
            <a:noFill/>
            <a:round/>
            <a:headEnd/>
            <a:tailEnd/>
          </a:ln>
        </p:spPr>
        <p:txBody>
          <a:bodyPr lIns="365760" tIns="0" rIns="0" bIns="0" anchor="ctr" anchorCtr="0"/>
          <a:lstStyle/>
          <a:p>
            <a:pPr eaLnBrk="0" hangingPunct="0"/>
            <a:r>
              <a:rPr lang="en-US" sz="1400" dirty="0">
                <a:solidFill>
                  <a:schemeClr val="bg1"/>
                </a:solidFill>
                <a:sym typeface="Trebuchet MS" panose="020B0603020202020204" pitchFamily="34" charset="0"/>
              </a:rPr>
              <a:t>DSOs</a:t>
            </a:r>
          </a:p>
        </p:txBody>
      </p:sp>
      <p:sp>
        <p:nvSpPr>
          <p:cNvPr id="9" name="ee4pHeader2"/>
          <p:cNvSpPr>
            <a:spLocks noChangeArrowheads="1"/>
          </p:cNvSpPr>
          <p:nvPr>
            <p:custDataLst>
              <p:tags r:id="rId2"/>
            </p:custDataLst>
          </p:nvPr>
        </p:nvSpPr>
        <p:spPr bwMode="gray">
          <a:xfrm>
            <a:off x="2979476" y="5456399"/>
            <a:ext cx="3208164" cy="235948"/>
          </a:xfrm>
          <a:prstGeom prst="chevron">
            <a:avLst>
              <a:gd name="adj" fmla="val 12004"/>
            </a:avLst>
          </a:prstGeom>
          <a:solidFill>
            <a:schemeClr val="tx2"/>
          </a:solidFill>
          <a:ln w="38100" cap="rnd" algn="ctr">
            <a:noFill/>
            <a:round/>
            <a:headEnd/>
            <a:tailEnd/>
          </a:ln>
        </p:spPr>
        <p:txBody>
          <a:bodyPr lIns="365760" tIns="0" rIns="0" bIns="0" anchor="ctr" anchorCtr="0"/>
          <a:lstStyle/>
          <a:p>
            <a:pPr eaLnBrk="0" hangingPunct="0"/>
            <a:r>
              <a:rPr lang="en-US" sz="1400" dirty="0">
                <a:solidFill>
                  <a:schemeClr val="bg1"/>
                </a:solidFill>
                <a:sym typeface="Trebuchet MS" panose="020B0603020202020204" pitchFamily="34" charset="0"/>
              </a:rPr>
              <a:t>Retailers</a:t>
            </a:r>
          </a:p>
        </p:txBody>
      </p:sp>
      <p:sp>
        <p:nvSpPr>
          <p:cNvPr id="10" name="ee4pHeader3"/>
          <p:cNvSpPr>
            <a:spLocks noChangeArrowheads="1"/>
          </p:cNvSpPr>
          <p:nvPr>
            <p:custDataLst>
              <p:tags r:id="rId3"/>
            </p:custDataLst>
          </p:nvPr>
        </p:nvSpPr>
        <p:spPr bwMode="gray">
          <a:xfrm>
            <a:off x="6199447" y="5456399"/>
            <a:ext cx="4076209" cy="235948"/>
          </a:xfrm>
          <a:prstGeom prst="chevron">
            <a:avLst>
              <a:gd name="adj" fmla="val 12004"/>
            </a:avLst>
          </a:prstGeom>
          <a:solidFill>
            <a:schemeClr val="tx2"/>
          </a:solidFill>
          <a:ln w="38100" cap="rnd" algn="ctr">
            <a:noFill/>
            <a:round/>
            <a:headEnd/>
            <a:tailEnd/>
          </a:ln>
        </p:spPr>
        <p:txBody>
          <a:bodyPr lIns="365760" tIns="0" rIns="0" bIns="0" anchor="ctr" anchorCtr="0"/>
          <a:lstStyle/>
          <a:p>
            <a:pPr eaLnBrk="0" hangingPunct="0"/>
            <a:r>
              <a:rPr lang="en-US" sz="1400" dirty="0">
                <a:solidFill>
                  <a:schemeClr val="bg1"/>
                </a:solidFill>
                <a:sym typeface="Trebuchet MS" panose="020B0603020202020204" pitchFamily="34" charset="0"/>
              </a:rPr>
              <a:t>End-User</a:t>
            </a:r>
          </a:p>
        </p:txBody>
      </p:sp>
      <p:sp>
        <p:nvSpPr>
          <p:cNvPr id="15" name="ee4pHeader1"/>
          <p:cNvSpPr>
            <a:spLocks noChangeArrowheads="1"/>
          </p:cNvSpPr>
          <p:nvPr>
            <p:custDataLst>
              <p:tags r:id="rId4"/>
            </p:custDataLst>
          </p:nvPr>
        </p:nvSpPr>
        <p:spPr bwMode="gray">
          <a:xfrm>
            <a:off x="985071" y="4484334"/>
            <a:ext cx="2035763" cy="235948"/>
          </a:xfrm>
          <a:prstGeom prst="homePlate">
            <a:avLst>
              <a:gd name="adj" fmla="val 12004"/>
            </a:avLst>
          </a:prstGeom>
          <a:solidFill>
            <a:schemeClr val="tx2"/>
          </a:solidFill>
          <a:ln w="38100" cap="rnd" algn="ctr">
            <a:noFill/>
            <a:round/>
            <a:headEnd/>
            <a:tailEnd/>
          </a:ln>
        </p:spPr>
        <p:txBody>
          <a:bodyPr lIns="365760" tIns="0" rIns="0" bIns="0" anchor="ctr" anchorCtr="0"/>
          <a:lstStyle/>
          <a:p>
            <a:pPr eaLnBrk="0" hangingPunct="0"/>
            <a:r>
              <a:rPr lang="en-US" sz="1400" dirty="0">
                <a:solidFill>
                  <a:schemeClr val="bg1"/>
                </a:solidFill>
                <a:sym typeface="Trebuchet MS" panose="020B0603020202020204" pitchFamily="34" charset="0"/>
              </a:rPr>
              <a:t>Associations</a:t>
            </a:r>
          </a:p>
        </p:txBody>
      </p:sp>
      <p:sp>
        <p:nvSpPr>
          <p:cNvPr id="16" name="ee4pHeader2"/>
          <p:cNvSpPr>
            <a:spLocks noChangeArrowheads="1"/>
          </p:cNvSpPr>
          <p:nvPr>
            <p:custDataLst>
              <p:tags r:id="rId5"/>
            </p:custDataLst>
          </p:nvPr>
        </p:nvSpPr>
        <p:spPr bwMode="gray">
          <a:xfrm>
            <a:off x="3028326" y="4484334"/>
            <a:ext cx="7247330" cy="235948"/>
          </a:xfrm>
          <a:prstGeom prst="chevron">
            <a:avLst>
              <a:gd name="adj" fmla="val 12004"/>
            </a:avLst>
          </a:prstGeom>
          <a:solidFill>
            <a:schemeClr val="tx2"/>
          </a:solidFill>
          <a:ln w="38100" cap="rnd" algn="ctr">
            <a:noFill/>
            <a:round/>
            <a:headEnd/>
            <a:tailEnd/>
          </a:ln>
        </p:spPr>
        <p:txBody>
          <a:bodyPr lIns="365760" tIns="0" rIns="0" bIns="0" anchor="ctr" anchorCtr="0"/>
          <a:lstStyle/>
          <a:p>
            <a:pPr eaLnBrk="0" hangingPunct="0"/>
            <a:r>
              <a:rPr lang="en-US" sz="1400" dirty="0">
                <a:solidFill>
                  <a:schemeClr val="bg1"/>
                </a:solidFill>
                <a:sym typeface="Trebuchet MS" panose="020B0603020202020204" pitchFamily="34" charset="0"/>
              </a:rPr>
              <a:t>IoT/ICT Providers</a:t>
            </a:r>
          </a:p>
        </p:txBody>
      </p:sp>
      <p:sp>
        <p:nvSpPr>
          <p:cNvPr id="19" name="ee4pHeader1"/>
          <p:cNvSpPr>
            <a:spLocks noChangeArrowheads="1"/>
          </p:cNvSpPr>
          <p:nvPr>
            <p:custDataLst>
              <p:tags r:id="rId6"/>
            </p:custDataLst>
          </p:nvPr>
        </p:nvSpPr>
        <p:spPr bwMode="gray">
          <a:xfrm>
            <a:off x="985070" y="3542788"/>
            <a:ext cx="9290586" cy="235948"/>
          </a:xfrm>
          <a:prstGeom prst="homePlate">
            <a:avLst>
              <a:gd name="adj" fmla="val 12004"/>
            </a:avLst>
          </a:prstGeom>
          <a:solidFill>
            <a:schemeClr val="tx2"/>
          </a:solidFill>
          <a:ln w="38100" cap="rnd" algn="ctr">
            <a:noFill/>
            <a:round/>
            <a:headEnd/>
            <a:tailEnd/>
          </a:ln>
        </p:spPr>
        <p:txBody>
          <a:bodyPr lIns="365760" tIns="0" rIns="0" bIns="0" anchor="ctr" anchorCtr="0"/>
          <a:lstStyle/>
          <a:p>
            <a:pPr eaLnBrk="0" hangingPunct="0"/>
            <a:r>
              <a:rPr lang="en-US" sz="1400" dirty="0">
                <a:solidFill>
                  <a:schemeClr val="bg1"/>
                </a:solidFill>
                <a:sym typeface="Trebuchet MS" panose="020B0603020202020204" pitchFamily="34" charset="0"/>
              </a:rPr>
              <a:t>Manufacturers</a:t>
            </a:r>
          </a:p>
        </p:txBody>
      </p:sp>
      <p:sp>
        <p:nvSpPr>
          <p:cNvPr id="23" name="ee4pHeader1"/>
          <p:cNvSpPr>
            <a:spLocks noChangeArrowheads="1"/>
          </p:cNvSpPr>
          <p:nvPr>
            <p:custDataLst>
              <p:tags r:id="rId7"/>
            </p:custDataLst>
          </p:nvPr>
        </p:nvSpPr>
        <p:spPr bwMode="gray">
          <a:xfrm>
            <a:off x="985070" y="2614216"/>
            <a:ext cx="9290586" cy="235948"/>
          </a:xfrm>
          <a:prstGeom prst="homePlate">
            <a:avLst>
              <a:gd name="adj" fmla="val 12004"/>
            </a:avLst>
          </a:prstGeom>
          <a:solidFill>
            <a:schemeClr val="tx2"/>
          </a:solidFill>
          <a:ln w="38100" cap="rnd" algn="ctr">
            <a:noFill/>
            <a:round/>
            <a:headEnd/>
            <a:tailEnd/>
          </a:ln>
        </p:spPr>
        <p:txBody>
          <a:bodyPr lIns="365760" tIns="0" rIns="0" bIns="0" anchor="ctr" anchorCtr="0"/>
          <a:lstStyle/>
          <a:p>
            <a:pPr eaLnBrk="0" hangingPunct="0"/>
            <a:r>
              <a:rPr lang="en-US" sz="1400" dirty="0">
                <a:solidFill>
                  <a:schemeClr val="bg1"/>
                </a:solidFill>
                <a:sym typeface="Trebuchet MS" panose="020B0603020202020204" pitchFamily="34" charset="0"/>
              </a:rPr>
              <a:t>Consultancy</a:t>
            </a:r>
          </a:p>
        </p:txBody>
      </p:sp>
      <p:sp>
        <p:nvSpPr>
          <p:cNvPr id="27" name="ee4pHeader1"/>
          <p:cNvSpPr>
            <a:spLocks noChangeArrowheads="1"/>
          </p:cNvSpPr>
          <p:nvPr>
            <p:custDataLst>
              <p:tags r:id="rId8"/>
            </p:custDataLst>
          </p:nvPr>
        </p:nvSpPr>
        <p:spPr bwMode="gray">
          <a:xfrm>
            <a:off x="985070" y="1632514"/>
            <a:ext cx="9290586" cy="235948"/>
          </a:xfrm>
          <a:prstGeom prst="homePlate">
            <a:avLst>
              <a:gd name="adj" fmla="val 12004"/>
            </a:avLst>
          </a:prstGeom>
          <a:solidFill>
            <a:schemeClr val="tx2"/>
          </a:solidFill>
          <a:ln w="38100" cap="rnd" algn="ctr">
            <a:noFill/>
            <a:round/>
            <a:headEnd/>
            <a:tailEnd/>
          </a:ln>
        </p:spPr>
        <p:txBody>
          <a:bodyPr lIns="365760" tIns="0" rIns="0" bIns="0" anchor="ctr" anchorCtr="0"/>
          <a:lstStyle/>
          <a:p>
            <a:pPr eaLnBrk="0" hangingPunct="0"/>
            <a:r>
              <a:rPr lang="en-US" sz="1400" dirty="0">
                <a:solidFill>
                  <a:schemeClr val="bg1"/>
                </a:solidFill>
                <a:sym typeface="Trebuchet MS" panose="020B0603020202020204" pitchFamily="34" charset="0"/>
              </a:rPr>
              <a:t>R&amp;D</a:t>
            </a:r>
          </a:p>
        </p:txBody>
      </p:sp>
      <p:pic>
        <p:nvPicPr>
          <p:cNvPr id="33" name="Picture 32"/>
          <p:cNvPicPr>
            <a:picLocks noChangeAspect="1"/>
          </p:cNvPicPr>
          <p:nvPr/>
        </p:nvPicPr>
        <p:blipFill rotWithShape="1">
          <a:blip r:embed="rId10" cstate="print">
            <a:extLst>
              <a:ext uri="{28A0092B-C50C-407E-A947-70E740481C1C}">
                <a14:useLocalDpi xmlns:a14="http://schemas.microsoft.com/office/drawing/2010/main" val="0"/>
              </a:ext>
            </a:extLst>
          </a:blip>
          <a:srcRect l="5659" t="20045" r="5131" b="18694"/>
          <a:stretch/>
        </p:blipFill>
        <p:spPr>
          <a:xfrm>
            <a:off x="985070" y="2009709"/>
            <a:ext cx="769589" cy="154829"/>
          </a:xfrm>
          <a:prstGeom prst="rect">
            <a:avLst/>
          </a:prstGeom>
        </p:spPr>
      </p:pic>
      <p:pic>
        <p:nvPicPr>
          <p:cNvPr id="34" name="Picture 3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864891" y="2034872"/>
            <a:ext cx="348340" cy="104502"/>
          </a:xfrm>
          <a:prstGeom prst="rect">
            <a:avLst/>
          </a:prstGeom>
        </p:spPr>
      </p:pic>
      <p:pic>
        <p:nvPicPr>
          <p:cNvPr id="35" name="Picture 34"/>
          <p:cNvPicPr>
            <a:picLocks noChangeAspect="1"/>
          </p:cNvPicPr>
          <p:nvPr/>
        </p:nvPicPr>
        <p:blipFill rotWithShape="1">
          <a:blip r:embed="rId12" cstate="print">
            <a:extLst>
              <a:ext uri="{28A0092B-C50C-407E-A947-70E740481C1C}">
                <a14:useLocalDpi xmlns:a14="http://schemas.microsoft.com/office/drawing/2010/main" val="0"/>
              </a:ext>
            </a:extLst>
          </a:blip>
          <a:srcRect l="8528" t="17996" r="8528" b="17996"/>
          <a:stretch/>
        </p:blipFill>
        <p:spPr>
          <a:xfrm>
            <a:off x="2323463" y="2034872"/>
            <a:ext cx="290180" cy="104502"/>
          </a:xfrm>
          <a:prstGeom prst="rect">
            <a:avLst/>
          </a:prstGeom>
        </p:spPr>
      </p:pic>
      <p:pic>
        <p:nvPicPr>
          <p:cNvPr id="36" name="Picture 35"/>
          <p:cNvPicPr>
            <a:picLocks noChangeAspect="1"/>
          </p:cNvPicPr>
          <p:nvPr/>
        </p:nvPicPr>
        <p:blipFill rotWithShape="1">
          <a:blip r:embed="rId13" cstate="print">
            <a:extLst>
              <a:ext uri="{28A0092B-C50C-407E-A947-70E740481C1C}">
                <a14:useLocalDpi xmlns:a14="http://schemas.microsoft.com/office/drawing/2010/main" val="0"/>
              </a:ext>
            </a:extLst>
          </a:blip>
          <a:srcRect l="10000" t="38267" r="10000" b="36000"/>
          <a:stretch/>
        </p:blipFill>
        <p:spPr>
          <a:xfrm>
            <a:off x="2723875" y="2034872"/>
            <a:ext cx="324877" cy="104502"/>
          </a:xfrm>
          <a:prstGeom prst="rect">
            <a:avLst/>
          </a:prstGeom>
        </p:spPr>
      </p:pic>
      <p:pic>
        <p:nvPicPr>
          <p:cNvPr id="37" name="Picture 3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158984" y="2009709"/>
            <a:ext cx="354910" cy="154829"/>
          </a:xfrm>
          <a:prstGeom prst="rect">
            <a:avLst/>
          </a:prstGeom>
        </p:spPr>
      </p:pic>
      <p:pic>
        <p:nvPicPr>
          <p:cNvPr id="38" name="Picture 37"/>
          <p:cNvPicPr>
            <a:picLocks noChangeAspect="1"/>
          </p:cNvPicPr>
          <p:nvPr/>
        </p:nvPicPr>
        <p:blipFill rotWithShape="1">
          <a:blip r:embed="rId15" cstate="print">
            <a:extLst>
              <a:ext uri="{28A0092B-C50C-407E-A947-70E740481C1C}">
                <a14:useLocalDpi xmlns:a14="http://schemas.microsoft.com/office/drawing/2010/main" val="0"/>
              </a:ext>
            </a:extLst>
          </a:blip>
          <a:srcRect l="475" t="36950" r="1177" b="38614"/>
          <a:stretch/>
        </p:blipFill>
        <p:spPr>
          <a:xfrm>
            <a:off x="3624126" y="2009709"/>
            <a:ext cx="623135" cy="154829"/>
          </a:xfrm>
          <a:prstGeom prst="rect">
            <a:avLst/>
          </a:prstGeom>
        </p:spPr>
      </p:pic>
      <p:pic>
        <p:nvPicPr>
          <p:cNvPr id="39" name="Picture 38"/>
          <p:cNvPicPr>
            <a:picLocks noChangeAspect="1"/>
          </p:cNvPicPr>
          <p:nvPr/>
        </p:nvPicPr>
        <p:blipFill rotWithShape="1">
          <a:blip r:embed="rId16" cstate="print">
            <a:clrChange>
              <a:clrFrom>
                <a:srgbClr val="878786"/>
              </a:clrFrom>
              <a:clrTo>
                <a:srgbClr val="878786">
                  <a:alpha val="0"/>
                </a:srgbClr>
              </a:clrTo>
            </a:clrChange>
            <a:extLst>
              <a:ext uri="{28A0092B-C50C-407E-A947-70E740481C1C}">
                <a14:useLocalDpi xmlns:a14="http://schemas.microsoft.com/office/drawing/2010/main" val="0"/>
              </a:ext>
            </a:extLst>
          </a:blip>
          <a:srcRect l="4879" t="18020" r="4879" b="21179"/>
          <a:stretch/>
        </p:blipFill>
        <p:spPr>
          <a:xfrm>
            <a:off x="4357493" y="2009709"/>
            <a:ext cx="540701" cy="154829"/>
          </a:xfrm>
          <a:prstGeom prst="rect">
            <a:avLst/>
          </a:prstGeom>
        </p:spPr>
      </p:pic>
      <p:pic>
        <p:nvPicPr>
          <p:cNvPr id="40" name="Picture 39"/>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5008426" y="2009709"/>
            <a:ext cx="545557" cy="154829"/>
          </a:xfrm>
          <a:prstGeom prst="rect">
            <a:avLst/>
          </a:prstGeom>
        </p:spPr>
      </p:pic>
      <p:pic>
        <p:nvPicPr>
          <p:cNvPr id="2050" name="Picture 2" descr="VUB - Green Deal"/>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5664215" y="2009709"/>
            <a:ext cx="438647" cy="154829"/>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Politecnico di Milano – AMATHO"/>
          <p:cNvPicPr>
            <a:picLocks noChangeAspect="1" noChangeArrowheads="1"/>
          </p:cNvPicPr>
          <p:nvPr/>
        </p:nvPicPr>
        <p:blipFill rotWithShape="1">
          <a:blip r:embed="rId19" cstate="print">
            <a:extLst>
              <a:ext uri="{28A0092B-C50C-407E-A947-70E740481C1C}">
                <a14:useLocalDpi xmlns:a14="http://schemas.microsoft.com/office/drawing/2010/main" val="0"/>
              </a:ext>
            </a:extLst>
          </a:blip>
          <a:srcRect l="933" t="12279" r="933" b="14221"/>
          <a:stretch/>
        </p:blipFill>
        <p:spPr bwMode="auto">
          <a:xfrm>
            <a:off x="6213094" y="1984923"/>
            <a:ext cx="682260" cy="204400"/>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RSE, Research on the Energy System - ZeroEmission Show"/>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7005586" y="2006853"/>
            <a:ext cx="349846" cy="160540"/>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File:Logo Uni-Kassel.svg - Wikimedia Commons"/>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7465664" y="2019640"/>
            <a:ext cx="623667" cy="134966"/>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Vrije Universiteit Amsterdam - First Street Foundation"/>
          <p:cNvPicPr>
            <a:picLocks noChangeAspect="1" noChangeArrowheads="1"/>
          </p:cNvPicPr>
          <p:nvPr/>
        </p:nvPicPr>
        <p:blipFill rotWithShape="1">
          <a:blip r:embed="rId22" cstate="print">
            <a:extLst>
              <a:ext uri="{28A0092B-C50C-407E-A947-70E740481C1C}">
                <a14:useLocalDpi xmlns:a14="http://schemas.microsoft.com/office/drawing/2010/main" val="0"/>
              </a:ext>
            </a:extLst>
          </a:blip>
          <a:srcRect l="4748" t="6589" r="4748" b="18581"/>
          <a:stretch/>
        </p:blipFill>
        <p:spPr bwMode="auto">
          <a:xfrm>
            <a:off x="8199563" y="2015139"/>
            <a:ext cx="587526" cy="143969"/>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Careers"/>
          <p:cNvPicPr>
            <a:picLocks noChangeAspect="1" noChangeArrowheads="1"/>
          </p:cNvPicPr>
          <p:nvPr/>
        </p:nvPicPr>
        <p:blipFill rotWithShape="1">
          <a:blip r:embed="rId23" cstate="print">
            <a:extLst>
              <a:ext uri="{28A0092B-C50C-407E-A947-70E740481C1C}">
                <a14:useLocalDpi xmlns:a14="http://schemas.microsoft.com/office/drawing/2010/main" val="0"/>
              </a:ext>
            </a:extLst>
          </a:blip>
          <a:srcRect l="1665" t="28176" r="2665" b="29602"/>
          <a:stretch/>
        </p:blipFill>
        <p:spPr bwMode="auto">
          <a:xfrm>
            <a:off x="8897321" y="2015139"/>
            <a:ext cx="621366" cy="143969"/>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descr="File:FH Dortmund-logo.svg - Wikimedia Commons"/>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9628922" y="2000232"/>
            <a:ext cx="482729" cy="173783"/>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42"/>
          <p:cNvPicPr>
            <a:picLocks noChangeAspect="1"/>
          </p:cNvPicPr>
          <p:nvPr/>
        </p:nvPicPr>
        <p:blipFill rotWithShape="1">
          <a:blip r:embed="rId25"/>
          <a:srcRect l="6000" t="4667" r="11338" b="13556"/>
          <a:stretch/>
        </p:blipFill>
        <p:spPr>
          <a:xfrm>
            <a:off x="1035177" y="2910095"/>
            <a:ext cx="276892" cy="273930"/>
          </a:xfrm>
          <a:prstGeom prst="rect">
            <a:avLst/>
          </a:prstGeom>
        </p:spPr>
      </p:pic>
      <p:pic>
        <p:nvPicPr>
          <p:cNvPr id="2068" name="Picture 20" descr="GFI Informatique India customer references of Oracle"/>
          <p:cNvPicPr>
            <a:picLocks noChangeAspect="1" noChangeArrowheads="1"/>
          </p:cNvPicPr>
          <p:nvPr/>
        </p:nvPicPr>
        <p:blipFill rotWithShape="1">
          <a:blip r:embed="rId26" cstate="print">
            <a:extLst>
              <a:ext uri="{28A0092B-C50C-407E-A947-70E740481C1C}">
                <a14:useLocalDpi xmlns:a14="http://schemas.microsoft.com/office/drawing/2010/main" val="0"/>
              </a:ext>
            </a:extLst>
          </a:blip>
          <a:srcRect t="19734" b="9469"/>
          <a:stretch/>
        </p:blipFill>
        <p:spPr bwMode="auto">
          <a:xfrm>
            <a:off x="2407339" y="2910095"/>
            <a:ext cx="821790" cy="273930"/>
          </a:xfrm>
          <a:prstGeom prst="rect">
            <a:avLst/>
          </a:prstGeom>
          <a:noFill/>
          <a:extLst>
            <a:ext uri="{909E8E84-426E-40DD-AFC4-6F175D3DCCD1}">
              <a14:hiddenFill xmlns:a14="http://schemas.microsoft.com/office/drawing/2010/main">
                <a:solidFill>
                  <a:srgbClr val="FFFFFF"/>
                </a:solidFill>
              </a14:hiddenFill>
            </a:ext>
          </a:extLst>
        </p:spPr>
      </p:pic>
      <p:pic>
        <p:nvPicPr>
          <p:cNvPr id="2070" name="Picture 22" descr="Partner trialog - interflex"/>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3510064" y="2918987"/>
            <a:ext cx="878114" cy="256146"/>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2" descr="FundingBox"/>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4669112" y="2918987"/>
            <a:ext cx="954100" cy="256146"/>
          </a:xfrm>
          <a:prstGeom prst="rect">
            <a:avLst/>
          </a:prstGeom>
          <a:noFill/>
          <a:extLst>
            <a:ext uri="{909E8E84-426E-40DD-AFC4-6F175D3DCCD1}">
              <a14:hiddenFill xmlns:a14="http://schemas.microsoft.com/office/drawing/2010/main">
                <a:solidFill>
                  <a:srgbClr val="FFFFFF"/>
                </a:solidFill>
              </a14:hiddenFill>
            </a:ext>
          </a:extLst>
        </p:spPr>
      </p:pic>
      <p:pic>
        <p:nvPicPr>
          <p:cNvPr id="2072" name="Picture 24" descr="File:Schneider Electric 2007.svg - Wikimedia Commons"/>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1028616" y="3880485"/>
            <a:ext cx="726043" cy="218947"/>
          </a:xfrm>
          <a:prstGeom prst="rect">
            <a:avLst/>
          </a:prstGeom>
          <a:noFill/>
          <a:extLst>
            <a:ext uri="{909E8E84-426E-40DD-AFC4-6F175D3DCCD1}">
              <a14:hiddenFill xmlns:a14="http://schemas.microsoft.com/office/drawing/2010/main">
                <a:solidFill>
                  <a:srgbClr val="FFFFFF"/>
                </a:solidFill>
              </a14:hiddenFill>
            </a:ext>
          </a:extLst>
        </p:spPr>
      </p:pic>
      <p:pic>
        <p:nvPicPr>
          <p:cNvPr id="2074" name="Picture 26" descr="File:ABB logo.svg - Wikimedia Commons"/>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1989901" y="3899837"/>
            <a:ext cx="453262" cy="180242"/>
          </a:xfrm>
          <a:prstGeom prst="rect">
            <a:avLst/>
          </a:prstGeom>
          <a:noFill/>
          <a:extLst>
            <a:ext uri="{909E8E84-426E-40DD-AFC4-6F175D3DCCD1}">
              <a14:hiddenFill xmlns:a14="http://schemas.microsoft.com/office/drawing/2010/main">
                <a:solidFill>
                  <a:srgbClr val="FFFFFF"/>
                </a:solidFill>
              </a14:hiddenFill>
            </a:ext>
          </a:extLst>
        </p:spPr>
      </p:pic>
      <p:pic>
        <p:nvPicPr>
          <p:cNvPr id="2076" name="Picture 28" descr="File:Whirlpool Corporation Logo.png - Wikimedia Commons"/>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2827527" y="3899837"/>
            <a:ext cx="541267" cy="180242"/>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44"/>
          <p:cNvPicPr>
            <a:picLocks noChangeAspect="1"/>
          </p:cNvPicPr>
          <p:nvPr/>
        </p:nvPicPr>
        <p:blipFill>
          <a:blip r:embed="rId32">
            <a:clrChange>
              <a:clrFrom>
                <a:srgbClr val="000000"/>
              </a:clrFrom>
              <a:clrTo>
                <a:srgbClr val="000000">
                  <a:alpha val="0"/>
                </a:srgbClr>
              </a:clrTo>
            </a:clrChange>
          </a:blip>
          <a:stretch>
            <a:fillRect/>
          </a:stretch>
        </p:blipFill>
        <p:spPr>
          <a:xfrm>
            <a:off x="3743751" y="3899837"/>
            <a:ext cx="585930" cy="180242"/>
          </a:xfrm>
          <a:prstGeom prst="rect">
            <a:avLst/>
          </a:prstGeom>
        </p:spPr>
      </p:pic>
      <p:pic>
        <p:nvPicPr>
          <p:cNvPr id="2080" name="Picture 32" descr="Wirelane | HTGF"/>
          <p:cNvPicPr>
            <a:picLocks noChangeAspect="1" noChangeArrowheads="1"/>
          </p:cNvPicPr>
          <p:nvPr/>
        </p:nvPicPr>
        <p:blipFill rotWithShape="1">
          <a:blip r:embed="rId33" cstate="print">
            <a:extLst>
              <a:ext uri="{28A0092B-C50C-407E-A947-70E740481C1C}">
                <a14:useLocalDpi xmlns:a14="http://schemas.microsoft.com/office/drawing/2010/main" val="0"/>
              </a:ext>
            </a:extLst>
          </a:blip>
          <a:srcRect l="12056" t="28816" r="12056" b="28816"/>
          <a:stretch/>
        </p:blipFill>
        <p:spPr bwMode="auto">
          <a:xfrm>
            <a:off x="4670971" y="3899837"/>
            <a:ext cx="709541" cy="180242"/>
          </a:xfrm>
          <a:prstGeom prst="rect">
            <a:avLst/>
          </a:prstGeom>
          <a:noFill/>
          <a:extLst>
            <a:ext uri="{909E8E84-426E-40DD-AFC4-6F175D3DCCD1}">
              <a14:hiddenFill xmlns:a14="http://schemas.microsoft.com/office/drawing/2010/main">
                <a:solidFill>
                  <a:srgbClr val="FFFFFF"/>
                </a:solidFill>
              </a14:hiddenFill>
            </a:ext>
          </a:extLst>
        </p:spPr>
      </p:pic>
      <p:pic>
        <p:nvPicPr>
          <p:cNvPr id="2082" name="Picture 34" descr="Vaillant Group Vector Logo - (.SVG + .PNG) - SeekVectorLogo.Net"/>
          <p:cNvPicPr>
            <a:picLocks noChangeAspect="1" noChangeArrowheads="1"/>
          </p:cNvPicPr>
          <p:nvPr/>
        </p:nvPicPr>
        <p:blipFill rotWithShape="1">
          <a:blip r:embed="rId34" cstate="print">
            <a:extLst>
              <a:ext uri="{28A0092B-C50C-407E-A947-70E740481C1C}">
                <a14:useLocalDpi xmlns:a14="http://schemas.microsoft.com/office/drawing/2010/main" val="0"/>
              </a:ext>
            </a:extLst>
          </a:blip>
          <a:srcRect t="26661" b="26661"/>
          <a:stretch/>
        </p:blipFill>
        <p:spPr bwMode="auto">
          <a:xfrm>
            <a:off x="5734659" y="3899837"/>
            <a:ext cx="695063" cy="180242"/>
          </a:xfrm>
          <a:prstGeom prst="rect">
            <a:avLst/>
          </a:prstGeom>
          <a:noFill/>
          <a:extLst>
            <a:ext uri="{909E8E84-426E-40DD-AFC4-6F175D3DCCD1}">
              <a14:hiddenFill xmlns:a14="http://schemas.microsoft.com/office/drawing/2010/main">
                <a:solidFill>
                  <a:srgbClr val="FFFFFF"/>
                </a:solidFill>
              </a14:hiddenFill>
            </a:ext>
          </a:extLst>
        </p:spPr>
      </p:pic>
      <p:pic>
        <p:nvPicPr>
          <p:cNvPr id="2084" name="Picture 36" descr="Exposanten | Salon van de mede-eigendom"/>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6783869" y="3868470"/>
            <a:ext cx="333211" cy="242976"/>
          </a:xfrm>
          <a:prstGeom prst="rect">
            <a:avLst/>
          </a:prstGeom>
          <a:noFill/>
          <a:extLst>
            <a:ext uri="{909E8E84-426E-40DD-AFC4-6F175D3DCCD1}">
              <a14:hiddenFill xmlns:a14="http://schemas.microsoft.com/office/drawing/2010/main">
                <a:solidFill>
                  <a:srgbClr val="FFFFFF"/>
                </a:solidFill>
              </a14:hiddenFill>
            </a:ext>
          </a:extLst>
        </p:spPr>
      </p:pic>
      <p:pic>
        <p:nvPicPr>
          <p:cNvPr id="2086" name="Picture 38" descr="daikin-logo-transparent - HPC 2017"/>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7560397" y="3899837"/>
            <a:ext cx="698784" cy="180242"/>
          </a:xfrm>
          <a:prstGeom prst="rect">
            <a:avLst/>
          </a:prstGeom>
          <a:noFill/>
          <a:extLst>
            <a:ext uri="{909E8E84-426E-40DD-AFC4-6F175D3DCCD1}">
              <a14:hiddenFill xmlns:a14="http://schemas.microsoft.com/office/drawing/2010/main">
                <a:solidFill>
                  <a:srgbClr val="FFFFFF"/>
                </a:solidFill>
              </a14:hiddenFill>
            </a:ext>
          </a:extLst>
        </p:spPr>
      </p:pic>
      <p:pic>
        <p:nvPicPr>
          <p:cNvPr id="2088" name="Picture 40" descr="File:Miele Logo M Red sRGB.png - Wikimedia Commons"/>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8585648" y="3899837"/>
            <a:ext cx="470606" cy="180242"/>
          </a:xfrm>
          <a:prstGeom prst="rect">
            <a:avLst/>
          </a:prstGeom>
          <a:noFill/>
          <a:extLst>
            <a:ext uri="{909E8E84-426E-40DD-AFC4-6F175D3DCCD1}">
              <a14:hiddenFill xmlns:a14="http://schemas.microsoft.com/office/drawing/2010/main">
                <a:solidFill>
                  <a:srgbClr val="FFFFFF"/>
                </a:solidFill>
              </a14:hiddenFill>
            </a:ext>
          </a:extLst>
        </p:spPr>
      </p:pic>
      <p:pic>
        <p:nvPicPr>
          <p:cNvPr id="2090" name="Picture 42" descr="Media &amp; Downloads - EEBus Initiative e.V."/>
          <p:cNvPicPr>
            <a:picLocks noChangeAspect="1" noChangeArrowheads="1"/>
          </p:cNvPicPr>
          <p:nvPr/>
        </p:nvPicPr>
        <p:blipFill rotWithShape="1">
          <a:blip r:embed="rId38" cstate="print">
            <a:extLst>
              <a:ext uri="{28A0092B-C50C-407E-A947-70E740481C1C}">
                <a14:useLocalDpi xmlns:a14="http://schemas.microsoft.com/office/drawing/2010/main" val="0"/>
              </a:ext>
            </a:extLst>
          </a:blip>
          <a:srcRect l="3756" t="4651" r="3756" b="4651"/>
          <a:stretch/>
        </p:blipFill>
        <p:spPr bwMode="auto">
          <a:xfrm>
            <a:off x="2212802" y="4856092"/>
            <a:ext cx="235357" cy="180242"/>
          </a:xfrm>
          <a:prstGeom prst="rect">
            <a:avLst/>
          </a:prstGeom>
          <a:noFill/>
          <a:extLst>
            <a:ext uri="{909E8E84-426E-40DD-AFC4-6F175D3DCCD1}">
              <a14:hiddenFill xmlns:a14="http://schemas.microsoft.com/office/drawing/2010/main">
                <a:solidFill>
                  <a:srgbClr val="FFFFFF"/>
                </a:solidFill>
              </a14:hiddenFill>
            </a:ext>
          </a:extLst>
        </p:spPr>
      </p:pic>
      <p:pic>
        <p:nvPicPr>
          <p:cNvPr id="2092" name="Picture 44" descr="WINGS Ict Solutions ⋆ Easy Global Market"/>
          <p:cNvPicPr>
            <a:picLocks noChangeAspect="1" noChangeArrowheads="1"/>
          </p:cNvPicPr>
          <p:nvPr/>
        </p:nvPicPr>
        <p:blipFill rotWithShape="1">
          <a:blip r:embed="rId39" cstate="print">
            <a:extLst>
              <a:ext uri="{28A0092B-C50C-407E-A947-70E740481C1C}">
                <a14:useLocalDpi xmlns:a14="http://schemas.microsoft.com/office/drawing/2010/main" val="0"/>
              </a:ext>
            </a:extLst>
          </a:blip>
          <a:srcRect l="10389" t="10000" r="10389" b="10000"/>
          <a:stretch/>
        </p:blipFill>
        <p:spPr bwMode="auto">
          <a:xfrm>
            <a:off x="3114524" y="4856092"/>
            <a:ext cx="535469" cy="180242"/>
          </a:xfrm>
          <a:prstGeom prst="rect">
            <a:avLst/>
          </a:prstGeom>
          <a:noFill/>
          <a:extLst>
            <a:ext uri="{909E8E84-426E-40DD-AFC4-6F175D3DCCD1}">
              <a14:hiddenFill xmlns:a14="http://schemas.microsoft.com/office/drawing/2010/main">
                <a:solidFill>
                  <a:srgbClr val="FFFFFF"/>
                </a:solidFill>
              </a14:hiddenFill>
            </a:ext>
          </a:extLst>
        </p:spPr>
      </p:pic>
      <p:pic>
        <p:nvPicPr>
          <p:cNvPr id="2094" name="Picture 46" descr="cyberGRID_logo_RGB_transparent-background - cyberGRID"/>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3867052" y="4825696"/>
            <a:ext cx="529912" cy="241034"/>
          </a:xfrm>
          <a:prstGeom prst="rect">
            <a:avLst/>
          </a:prstGeom>
          <a:noFill/>
          <a:extLst>
            <a:ext uri="{909E8E84-426E-40DD-AFC4-6F175D3DCCD1}">
              <a14:hiddenFill xmlns:a14="http://schemas.microsoft.com/office/drawing/2010/main">
                <a:solidFill>
                  <a:srgbClr val="FFFFFF"/>
                </a:solidFill>
              </a14:hiddenFill>
            </a:ext>
          </a:extLst>
        </p:spPr>
      </p:pic>
      <p:pic>
        <p:nvPicPr>
          <p:cNvPr id="2096" name="Picture 48" descr="Sensinov logo by Alex Arnaud on Dribbble"/>
          <p:cNvPicPr>
            <a:picLocks noChangeAspect="1" noChangeArrowheads="1"/>
          </p:cNvPicPr>
          <p:nvPr/>
        </p:nvPicPr>
        <p:blipFill rotWithShape="1">
          <a:blip r:embed="rId41" cstate="print">
            <a:clrChange>
              <a:clrFrom>
                <a:srgbClr val="FFFFFF"/>
              </a:clrFrom>
              <a:clrTo>
                <a:srgbClr val="FFFFFF">
                  <a:alpha val="0"/>
                </a:srgbClr>
              </a:clrTo>
            </a:clrChange>
            <a:extLst>
              <a:ext uri="{28A0092B-C50C-407E-A947-70E740481C1C}">
                <a14:useLocalDpi xmlns:a14="http://schemas.microsoft.com/office/drawing/2010/main" val="0"/>
              </a:ext>
            </a:extLst>
          </a:blip>
          <a:srcRect l="20245" t="20486" r="20245" b="20486"/>
          <a:stretch/>
        </p:blipFill>
        <p:spPr bwMode="auto">
          <a:xfrm>
            <a:off x="4614023" y="4825696"/>
            <a:ext cx="323994" cy="241034"/>
          </a:xfrm>
          <a:prstGeom prst="rect">
            <a:avLst/>
          </a:prstGeom>
          <a:noFill/>
          <a:extLst>
            <a:ext uri="{909E8E84-426E-40DD-AFC4-6F175D3DCCD1}">
              <a14:hiddenFill xmlns:a14="http://schemas.microsoft.com/office/drawing/2010/main">
                <a:solidFill>
                  <a:srgbClr val="FFFFFF"/>
                </a:solidFill>
              </a14:hiddenFill>
            </a:ext>
          </a:extLst>
        </p:spPr>
      </p:pic>
      <p:pic>
        <p:nvPicPr>
          <p:cNvPr id="2098" name="Picture 50" descr="Trikala Challenge - EMBERS"/>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5155076" y="4825696"/>
            <a:ext cx="661373" cy="241034"/>
          </a:xfrm>
          <a:prstGeom prst="rect">
            <a:avLst/>
          </a:prstGeom>
          <a:noFill/>
          <a:extLst>
            <a:ext uri="{909E8E84-426E-40DD-AFC4-6F175D3DCCD1}">
              <a14:hiddenFill xmlns:a14="http://schemas.microsoft.com/office/drawing/2010/main">
                <a:solidFill>
                  <a:srgbClr val="FFFFFF"/>
                </a:solidFill>
              </a14:hiddenFill>
            </a:ext>
          </a:extLst>
        </p:spPr>
      </p:pic>
      <p:pic>
        <p:nvPicPr>
          <p:cNvPr id="2100" name="Picture 52" descr="Boundless innovation - Vizlore"/>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6033508" y="4825696"/>
            <a:ext cx="843619" cy="241034"/>
          </a:xfrm>
          <a:prstGeom prst="rect">
            <a:avLst/>
          </a:prstGeom>
          <a:noFill/>
          <a:extLst>
            <a:ext uri="{909E8E84-426E-40DD-AFC4-6F175D3DCCD1}">
              <a14:hiddenFill xmlns:a14="http://schemas.microsoft.com/office/drawing/2010/main">
                <a:solidFill>
                  <a:srgbClr val="FFFFFF"/>
                </a:solidFill>
              </a14:hiddenFill>
            </a:ext>
          </a:extLst>
        </p:spPr>
      </p:pic>
      <p:pic>
        <p:nvPicPr>
          <p:cNvPr id="2102" name="Picture 54" descr="Cosmote - Halberd Bastion"/>
          <p:cNvPicPr>
            <a:picLocks noChangeAspect="1" noChangeArrowheads="1"/>
          </p:cNvPicPr>
          <p:nvPr/>
        </p:nvPicPr>
        <p:blipFill rotWithShape="1">
          <a:blip r:embed="rId44" cstate="print">
            <a:extLst>
              <a:ext uri="{28A0092B-C50C-407E-A947-70E740481C1C}">
                <a14:useLocalDpi xmlns:a14="http://schemas.microsoft.com/office/drawing/2010/main" val="0"/>
              </a:ext>
            </a:extLst>
          </a:blip>
          <a:srcRect b="16100"/>
          <a:stretch/>
        </p:blipFill>
        <p:spPr bwMode="auto">
          <a:xfrm>
            <a:off x="7094186" y="4825696"/>
            <a:ext cx="314445" cy="241034"/>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6"/>
          <p:cNvPicPr>
            <a:picLocks noChangeAspect="1"/>
          </p:cNvPicPr>
          <p:nvPr/>
        </p:nvPicPr>
        <p:blipFill rotWithShape="1">
          <a:blip r:embed="rId45"/>
          <a:srcRect l="18323" t="26282" r="18323" b="26282"/>
          <a:stretch/>
        </p:blipFill>
        <p:spPr>
          <a:xfrm>
            <a:off x="7625690" y="4825696"/>
            <a:ext cx="664472" cy="241034"/>
          </a:xfrm>
          <a:prstGeom prst="rect">
            <a:avLst/>
          </a:prstGeom>
        </p:spPr>
      </p:pic>
      <p:pic>
        <p:nvPicPr>
          <p:cNvPr id="2106" name="Picture 58" descr="Partners - Nereus Project"/>
          <p:cNvPicPr>
            <a:picLocks noChangeAspect="1" noChangeArrowheads="1"/>
          </p:cNvPicPr>
          <p:nvPr/>
        </p:nvPicPr>
        <p:blipFill rotWithShape="1">
          <a:blip r:embed="rId46" cstate="print">
            <a:extLst>
              <a:ext uri="{28A0092B-C50C-407E-A947-70E740481C1C}">
                <a14:useLocalDpi xmlns:a14="http://schemas.microsoft.com/office/drawing/2010/main" val="0"/>
              </a:ext>
            </a:extLst>
          </a:blip>
          <a:srcRect t="19693" b="19693"/>
          <a:stretch/>
        </p:blipFill>
        <p:spPr bwMode="auto">
          <a:xfrm>
            <a:off x="8507221" y="4825697"/>
            <a:ext cx="397658" cy="241034"/>
          </a:xfrm>
          <a:prstGeom prst="rect">
            <a:avLst/>
          </a:prstGeom>
          <a:noFill/>
          <a:extLst>
            <a:ext uri="{909E8E84-426E-40DD-AFC4-6F175D3DCCD1}">
              <a14:hiddenFill xmlns:a14="http://schemas.microsoft.com/office/drawing/2010/main">
                <a:solidFill>
                  <a:srgbClr val="FFFFFF"/>
                </a:solidFill>
              </a14:hiddenFill>
            </a:ext>
          </a:extLst>
        </p:spPr>
      </p:pic>
      <p:pic>
        <p:nvPicPr>
          <p:cNvPr id="2108" name="Picture 60" descr="Domótica SGTA, Gestão Técnica e Automação, Lda. | Schneider ..."/>
          <p:cNvPicPr>
            <a:picLocks noChangeAspect="1" noChangeArrowheads="1"/>
          </p:cNvPicPr>
          <p:nvPr/>
        </p:nvPicPr>
        <p:blipFill>
          <a:blip r:embed="rId47" cstate="print">
            <a:extLst>
              <a:ext uri="{28A0092B-C50C-407E-A947-70E740481C1C}">
                <a14:useLocalDpi xmlns:a14="http://schemas.microsoft.com/office/drawing/2010/main" val="0"/>
              </a:ext>
            </a:extLst>
          </a:blip>
          <a:srcRect/>
          <a:stretch>
            <a:fillRect/>
          </a:stretch>
        </p:blipFill>
        <p:spPr bwMode="auto">
          <a:xfrm>
            <a:off x="9121941" y="4825697"/>
            <a:ext cx="1116350" cy="241034"/>
          </a:xfrm>
          <a:prstGeom prst="rect">
            <a:avLst/>
          </a:prstGeom>
          <a:noFill/>
          <a:extLst>
            <a:ext uri="{909E8E84-426E-40DD-AFC4-6F175D3DCCD1}">
              <a14:hiddenFill xmlns:a14="http://schemas.microsoft.com/office/drawing/2010/main">
                <a:solidFill>
                  <a:srgbClr val="FFFFFF"/>
                </a:solidFill>
              </a14:hiddenFill>
            </a:ext>
          </a:extLst>
        </p:spPr>
      </p:pic>
      <p:pic>
        <p:nvPicPr>
          <p:cNvPr id="2110" name="Picture 62" descr="100% certification for EDP Distribuição - Energia S.A. for ..."/>
          <p:cNvPicPr>
            <a:picLocks noChangeAspect="1" noChangeArrowheads="1"/>
          </p:cNvPicPr>
          <p:nvPr/>
        </p:nvPicPr>
        <p:blipFill rotWithShape="1">
          <a:blip r:embed="rId48" cstate="print">
            <a:extLst>
              <a:ext uri="{28A0092B-C50C-407E-A947-70E740481C1C}">
                <a14:useLocalDpi xmlns:a14="http://schemas.microsoft.com/office/drawing/2010/main" val="0"/>
              </a:ext>
            </a:extLst>
          </a:blip>
          <a:srcRect l="7368" t="16393" r="7368" b="25786"/>
          <a:stretch/>
        </p:blipFill>
        <p:spPr bwMode="auto">
          <a:xfrm>
            <a:off x="985070" y="5782533"/>
            <a:ext cx="626719" cy="214630"/>
          </a:xfrm>
          <a:prstGeom prst="rect">
            <a:avLst/>
          </a:prstGeom>
          <a:noFill/>
          <a:extLst>
            <a:ext uri="{909E8E84-426E-40DD-AFC4-6F175D3DCCD1}">
              <a14:hiddenFill xmlns:a14="http://schemas.microsoft.com/office/drawing/2010/main">
                <a:solidFill>
                  <a:srgbClr val="FFFFFF"/>
                </a:solidFill>
              </a14:hiddenFill>
            </a:ext>
          </a:extLst>
        </p:spPr>
      </p:pic>
      <p:pic>
        <p:nvPicPr>
          <p:cNvPr id="2112" name="Picture 64" descr="Elektro Ljubljana - ADD d.o.o. - Business Solutions"/>
          <p:cNvPicPr>
            <a:picLocks noChangeAspect="1" noChangeArrowheads="1"/>
          </p:cNvPicPr>
          <p:nvPr/>
        </p:nvPicPr>
        <p:blipFill rotWithShape="1">
          <a:blip r:embed="rId49" cstate="print">
            <a:extLst>
              <a:ext uri="{28A0092B-C50C-407E-A947-70E740481C1C}">
                <a14:useLocalDpi xmlns:a14="http://schemas.microsoft.com/office/drawing/2010/main" val="0"/>
              </a:ext>
            </a:extLst>
          </a:blip>
          <a:srcRect t="30000" b="30000"/>
          <a:stretch/>
        </p:blipFill>
        <p:spPr bwMode="auto">
          <a:xfrm>
            <a:off x="1635220" y="5792811"/>
            <a:ext cx="727782" cy="194075"/>
          </a:xfrm>
          <a:prstGeom prst="rect">
            <a:avLst/>
          </a:prstGeom>
          <a:noFill/>
          <a:extLst>
            <a:ext uri="{909E8E84-426E-40DD-AFC4-6F175D3DCCD1}">
              <a14:hiddenFill xmlns:a14="http://schemas.microsoft.com/office/drawing/2010/main">
                <a:solidFill>
                  <a:srgbClr val="FFFFFF"/>
                </a:solidFill>
              </a14:hiddenFill>
            </a:ext>
          </a:extLst>
        </p:spPr>
      </p:pic>
      <p:pic>
        <p:nvPicPr>
          <p:cNvPr id="2114" name="Picture 66" descr="Logo Enedis Png Transparent Images – Free PNG Images Vector, PSD ..."/>
          <p:cNvPicPr>
            <a:picLocks noChangeAspect="1" noChangeArrowheads="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2386433" y="5796444"/>
            <a:ext cx="593043" cy="186809"/>
          </a:xfrm>
          <a:prstGeom prst="rect">
            <a:avLst/>
          </a:prstGeom>
          <a:noFill/>
          <a:extLst>
            <a:ext uri="{909E8E84-426E-40DD-AFC4-6F175D3DCCD1}">
              <a14:hiddenFill xmlns:a14="http://schemas.microsoft.com/office/drawing/2010/main">
                <a:solidFill>
                  <a:srgbClr val="FFFFFF"/>
                </a:solidFill>
              </a14:hiddenFill>
            </a:ext>
          </a:extLst>
        </p:spPr>
      </p:pic>
      <p:pic>
        <p:nvPicPr>
          <p:cNvPr id="2116" name="Picture 68" descr="Partners - NTNU"/>
          <p:cNvPicPr>
            <a:picLocks noChangeAspect="1" noChangeArrowheads="1"/>
          </p:cNvPicPr>
          <p:nvPr/>
        </p:nvPicPr>
        <p:blipFill>
          <a:blip r:embed="rId51" cstate="print">
            <a:extLst>
              <a:ext uri="{28A0092B-C50C-407E-A947-70E740481C1C}">
                <a14:useLocalDpi xmlns:a14="http://schemas.microsoft.com/office/drawing/2010/main" val="0"/>
              </a:ext>
            </a:extLst>
          </a:blip>
          <a:srcRect/>
          <a:stretch>
            <a:fillRect/>
          </a:stretch>
        </p:blipFill>
        <p:spPr bwMode="auto">
          <a:xfrm>
            <a:off x="3228452" y="5792007"/>
            <a:ext cx="981211" cy="120440"/>
          </a:xfrm>
          <a:prstGeom prst="rect">
            <a:avLst/>
          </a:prstGeom>
          <a:noFill/>
          <a:extLst>
            <a:ext uri="{909E8E84-426E-40DD-AFC4-6F175D3DCCD1}">
              <a14:hiddenFill xmlns:a14="http://schemas.microsoft.com/office/drawing/2010/main">
                <a:solidFill>
                  <a:srgbClr val="FFFFFF"/>
                </a:solidFill>
              </a14:hiddenFill>
            </a:ext>
          </a:extLst>
        </p:spPr>
      </p:pic>
      <p:pic>
        <p:nvPicPr>
          <p:cNvPr id="2118" name="Picture 70" descr="Engie Logo - PNG and Vector - Logo Download"/>
          <p:cNvPicPr>
            <a:picLocks noChangeAspect="1" noChangeArrowheads="1"/>
          </p:cNvPicPr>
          <p:nvPr/>
        </p:nvPicPr>
        <p:blipFill>
          <a:blip r:embed="rId52" cstate="print">
            <a:extLst>
              <a:ext uri="{28A0092B-C50C-407E-A947-70E740481C1C}">
                <a14:useLocalDpi xmlns:a14="http://schemas.microsoft.com/office/drawing/2010/main" val="0"/>
              </a:ext>
            </a:extLst>
          </a:blip>
          <a:srcRect/>
          <a:stretch>
            <a:fillRect/>
          </a:stretch>
        </p:blipFill>
        <p:spPr bwMode="auto">
          <a:xfrm>
            <a:off x="5339526" y="5772415"/>
            <a:ext cx="525890" cy="186809"/>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68" descr="Partners - NTNU"/>
          <p:cNvPicPr>
            <a:picLocks noChangeAspect="1" noChangeArrowheads="1"/>
          </p:cNvPicPr>
          <p:nvPr/>
        </p:nvPicPr>
        <p:blipFill>
          <a:blip r:embed="rId51" cstate="print">
            <a:extLst>
              <a:ext uri="{28A0092B-C50C-407E-A947-70E740481C1C}">
                <a14:useLocalDpi xmlns:a14="http://schemas.microsoft.com/office/drawing/2010/main" val="0"/>
              </a:ext>
            </a:extLst>
          </a:blip>
          <a:srcRect/>
          <a:stretch>
            <a:fillRect/>
          </a:stretch>
        </p:blipFill>
        <p:spPr bwMode="auto">
          <a:xfrm>
            <a:off x="6326203" y="5792007"/>
            <a:ext cx="981211" cy="120440"/>
          </a:xfrm>
          <a:prstGeom prst="rect">
            <a:avLst/>
          </a:prstGeom>
          <a:noFill/>
          <a:extLst>
            <a:ext uri="{909E8E84-426E-40DD-AFC4-6F175D3DCCD1}">
              <a14:hiddenFill xmlns:a14="http://schemas.microsoft.com/office/drawing/2010/main">
                <a:solidFill>
                  <a:srgbClr val="FFFFFF"/>
                </a:solidFill>
              </a14:hiddenFill>
            </a:ext>
          </a:extLst>
        </p:spPr>
      </p:pic>
      <p:pic>
        <p:nvPicPr>
          <p:cNvPr id="2120" name="Picture 72" descr="Planet Smart City | Places That Matter"/>
          <p:cNvPicPr>
            <a:picLocks noChangeAspect="1" noChangeArrowheads="1"/>
          </p:cNvPicPr>
          <p:nvPr/>
        </p:nvPicPr>
        <p:blipFill rotWithShape="1">
          <a:blip r:embed="rId53" cstate="print">
            <a:extLst>
              <a:ext uri="{28A0092B-C50C-407E-A947-70E740481C1C}">
                <a14:useLocalDpi xmlns:a14="http://schemas.microsoft.com/office/drawing/2010/main" val="0"/>
              </a:ext>
            </a:extLst>
          </a:blip>
          <a:srcRect l="14374" r="14374"/>
          <a:stretch/>
        </p:blipFill>
        <p:spPr bwMode="auto">
          <a:xfrm>
            <a:off x="7748839" y="5762604"/>
            <a:ext cx="439253" cy="186809"/>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48"/>
          <p:cNvPicPr>
            <a:picLocks noChangeAspect="1"/>
          </p:cNvPicPr>
          <p:nvPr/>
        </p:nvPicPr>
        <p:blipFill>
          <a:blip r:embed="rId54"/>
          <a:stretch>
            <a:fillRect/>
          </a:stretch>
        </p:blipFill>
        <p:spPr>
          <a:xfrm>
            <a:off x="8629517" y="5762604"/>
            <a:ext cx="468338" cy="186809"/>
          </a:xfrm>
          <a:prstGeom prst="rect">
            <a:avLst/>
          </a:prstGeom>
        </p:spPr>
      </p:pic>
      <p:pic>
        <p:nvPicPr>
          <p:cNvPr id="50" name="Picture 49"/>
          <p:cNvPicPr>
            <a:picLocks noChangeAspect="1"/>
          </p:cNvPicPr>
          <p:nvPr/>
        </p:nvPicPr>
        <p:blipFill>
          <a:blip r:embed="rId55"/>
          <a:stretch>
            <a:fillRect/>
          </a:stretch>
        </p:blipFill>
        <p:spPr>
          <a:xfrm>
            <a:off x="1593004" y="2927997"/>
            <a:ext cx="533400" cy="238125"/>
          </a:xfrm>
          <a:prstGeom prst="rect">
            <a:avLst/>
          </a:prstGeom>
        </p:spPr>
      </p:pic>
      <p:pic>
        <p:nvPicPr>
          <p:cNvPr id="51" name="Picture 50"/>
          <p:cNvPicPr>
            <a:picLocks noChangeAspect="1"/>
          </p:cNvPicPr>
          <p:nvPr/>
        </p:nvPicPr>
        <p:blipFill>
          <a:blip r:embed="rId56"/>
          <a:stretch>
            <a:fillRect/>
          </a:stretch>
        </p:blipFill>
        <p:spPr>
          <a:xfrm>
            <a:off x="9402325" y="3908996"/>
            <a:ext cx="590550" cy="161925"/>
          </a:xfrm>
          <a:prstGeom prst="rect">
            <a:avLst/>
          </a:prstGeom>
        </p:spPr>
      </p:pic>
      <p:pic>
        <p:nvPicPr>
          <p:cNvPr id="52" name="Picture 51"/>
          <p:cNvPicPr>
            <a:picLocks noChangeAspect="1"/>
          </p:cNvPicPr>
          <p:nvPr/>
        </p:nvPicPr>
        <p:blipFill>
          <a:blip r:embed="rId57"/>
          <a:stretch>
            <a:fillRect/>
          </a:stretch>
        </p:blipFill>
        <p:spPr>
          <a:xfrm>
            <a:off x="1020176" y="4798576"/>
            <a:ext cx="485775" cy="295275"/>
          </a:xfrm>
          <a:prstGeom prst="rect">
            <a:avLst/>
          </a:prstGeom>
        </p:spPr>
      </p:pic>
      <p:pic>
        <p:nvPicPr>
          <p:cNvPr id="54" name="Picture 53"/>
          <p:cNvPicPr>
            <a:picLocks noChangeAspect="1"/>
          </p:cNvPicPr>
          <p:nvPr/>
        </p:nvPicPr>
        <p:blipFill>
          <a:blip r:embed="rId58"/>
          <a:stretch>
            <a:fillRect/>
          </a:stretch>
        </p:blipFill>
        <p:spPr>
          <a:xfrm>
            <a:off x="4460270" y="5768930"/>
            <a:ext cx="628650" cy="190500"/>
          </a:xfrm>
          <a:prstGeom prst="rect">
            <a:avLst/>
          </a:prstGeom>
        </p:spPr>
      </p:pic>
      <p:pic>
        <p:nvPicPr>
          <p:cNvPr id="55" name="Picture 54"/>
          <p:cNvPicPr>
            <a:picLocks noChangeAspect="1"/>
          </p:cNvPicPr>
          <p:nvPr/>
        </p:nvPicPr>
        <p:blipFill>
          <a:blip r:embed="rId59"/>
          <a:stretch>
            <a:fillRect/>
          </a:stretch>
        </p:blipFill>
        <p:spPr>
          <a:xfrm>
            <a:off x="9539279" y="5699827"/>
            <a:ext cx="495300" cy="304800"/>
          </a:xfrm>
          <a:prstGeom prst="rect">
            <a:avLst/>
          </a:prstGeom>
        </p:spPr>
      </p:pic>
      <p:grpSp>
        <p:nvGrpSpPr>
          <p:cNvPr id="89" name="bcgIcons_MagnifyingGlassSearch">
            <a:extLst>
              <a:ext uri="{FF2B5EF4-FFF2-40B4-BE49-F238E27FC236}">
                <a16:creationId xmlns:a16="http://schemas.microsoft.com/office/drawing/2014/main" id="{4F099AF5-3F1F-442A-8164-40E1EF5790A0}"/>
              </a:ext>
            </a:extLst>
          </p:cNvPr>
          <p:cNvGrpSpPr>
            <a:grpSpLocks noChangeAspect="1"/>
          </p:cNvGrpSpPr>
          <p:nvPr/>
        </p:nvGrpSpPr>
        <p:grpSpPr bwMode="auto">
          <a:xfrm>
            <a:off x="1046030" y="1632514"/>
            <a:ext cx="235730" cy="235948"/>
            <a:chOff x="1682" y="0"/>
            <a:chExt cx="4316" cy="4320"/>
          </a:xfrm>
        </p:grpSpPr>
        <p:sp>
          <p:nvSpPr>
            <p:cNvPr id="90" name="AutoShape 8">
              <a:extLst>
                <a:ext uri="{FF2B5EF4-FFF2-40B4-BE49-F238E27FC236}">
                  <a16:creationId xmlns:a16="http://schemas.microsoft.com/office/drawing/2014/main" id="{D00C3367-A1F1-486E-869A-AE901B8222BE}"/>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1" name="Freeform 10">
              <a:extLst>
                <a:ext uri="{FF2B5EF4-FFF2-40B4-BE49-F238E27FC236}">
                  <a16:creationId xmlns:a16="http://schemas.microsoft.com/office/drawing/2014/main" id="{2427C64B-B531-4BD9-B3E5-B07257186B30}"/>
                </a:ext>
              </a:extLst>
            </p:cNvPr>
            <p:cNvSpPr>
              <a:spLocks noEditPoints="1"/>
            </p:cNvSpPr>
            <p:nvPr/>
          </p:nvSpPr>
          <p:spPr bwMode="auto">
            <a:xfrm>
              <a:off x="3280" y="703"/>
              <a:ext cx="1821" cy="1802"/>
            </a:xfrm>
            <a:custGeom>
              <a:avLst/>
              <a:gdLst>
                <a:gd name="T0" fmla="*/ 748 w 972"/>
                <a:gd name="T1" fmla="*/ 142 h 961"/>
                <a:gd name="T2" fmla="*/ 145 w 972"/>
                <a:gd name="T3" fmla="*/ 223 h 961"/>
                <a:gd name="T4" fmla="*/ 225 w 972"/>
                <a:gd name="T5" fmla="*/ 818 h 961"/>
                <a:gd name="T6" fmla="*/ 827 w 972"/>
                <a:gd name="T7" fmla="*/ 738 h 961"/>
                <a:gd name="T8" fmla="*/ 748 w 972"/>
                <a:gd name="T9" fmla="*/ 142 h 961"/>
                <a:gd name="T10" fmla="*/ 777 w 972"/>
                <a:gd name="T11" fmla="*/ 700 h 961"/>
                <a:gd name="T12" fmla="*/ 701 w 972"/>
                <a:gd name="T13" fmla="*/ 774 h 961"/>
                <a:gd name="T14" fmla="*/ 688 w 972"/>
                <a:gd name="T15" fmla="*/ 778 h 961"/>
                <a:gd name="T16" fmla="*/ 670 w 972"/>
                <a:gd name="T17" fmla="*/ 769 h 961"/>
                <a:gd name="T18" fmla="*/ 675 w 972"/>
                <a:gd name="T19" fmla="*/ 738 h 961"/>
                <a:gd name="T20" fmla="*/ 742 w 972"/>
                <a:gd name="T21" fmla="*/ 673 h 961"/>
                <a:gd name="T22" fmla="*/ 806 w 972"/>
                <a:gd name="T23" fmla="*/ 438 h 961"/>
                <a:gd name="T24" fmla="*/ 683 w 972"/>
                <a:gd name="T25" fmla="*/ 227 h 961"/>
                <a:gd name="T26" fmla="*/ 641 w 972"/>
                <a:gd name="T27" fmla="*/ 200 h 961"/>
                <a:gd name="T28" fmla="*/ 632 w 972"/>
                <a:gd name="T29" fmla="*/ 170 h 961"/>
                <a:gd name="T30" fmla="*/ 661 w 972"/>
                <a:gd name="T31" fmla="*/ 161 h 961"/>
                <a:gd name="T32" fmla="*/ 709 w 972"/>
                <a:gd name="T33" fmla="*/ 192 h 961"/>
                <a:gd name="T34" fmla="*/ 850 w 972"/>
                <a:gd name="T35" fmla="*/ 432 h 961"/>
                <a:gd name="T36" fmla="*/ 777 w 972"/>
                <a:gd name="T37" fmla="*/ 700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72" h="961">
                  <a:moveTo>
                    <a:pt x="748" y="142"/>
                  </a:moveTo>
                  <a:cubicBezTo>
                    <a:pt x="560" y="0"/>
                    <a:pt x="290" y="36"/>
                    <a:pt x="145" y="223"/>
                  </a:cubicBezTo>
                  <a:cubicBezTo>
                    <a:pt x="0" y="409"/>
                    <a:pt x="35" y="676"/>
                    <a:pt x="225" y="818"/>
                  </a:cubicBezTo>
                  <a:cubicBezTo>
                    <a:pt x="413" y="961"/>
                    <a:pt x="683" y="925"/>
                    <a:pt x="827" y="738"/>
                  </a:cubicBezTo>
                  <a:cubicBezTo>
                    <a:pt x="972" y="551"/>
                    <a:pt x="936" y="285"/>
                    <a:pt x="748" y="142"/>
                  </a:cubicBezTo>
                  <a:close/>
                  <a:moveTo>
                    <a:pt x="777" y="700"/>
                  </a:moveTo>
                  <a:cubicBezTo>
                    <a:pt x="755" y="729"/>
                    <a:pt x="730" y="753"/>
                    <a:pt x="701" y="774"/>
                  </a:cubicBezTo>
                  <a:cubicBezTo>
                    <a:pt x="697" y="777"/>
                    <a:pt x="692" y="778"/>
                    <a:pt x="688" y="778"/>
                  </a:cubicBezTo>
                  <a:cubicBezTo>
                    <a:pt x="681" y="778"/>
                    <a:pt x="674" y="775"/>
                    <a:pt x="670" y="769"/>
                  </a:cubicBezTo>
                  <a:cubicBezTo>
                    <a:pt x="663" y="759"/>
                    <a:pt x="665" y="746"/>
                    <a:pt x="675" y="738"/>
                  </a:cubicBezTo>
                  <a:cubicBezTo>
                    <a:pt x="700" y="720"/>
                    <a:pt x="723" y="698"/>
                    <a:pt x="742" y="673"/>
                  </a:cubicBezTo>
                  <a:cubicBezTo>
                    <a:pt x="795" y="606"/>
                    <a:pt x="817" y="522"/>
                    <a:pt x="806" y="438"/>
                  </a:cubicBezTo>
                  <a:cubicBezTo>
                    <a:pt x="795" y="353"/>
                    <a:pt x="751" y="279"/>
                    <a:pt x="683" y="227"/>
                  </a:cubicBezTo>
                  <a:cubicBezTo>
                    <a:pt x="669" y="217"/>
                    <a:pt x="655" y="208"/>
                    <a:pt x="641" y="200"/>
                  </a:cubicBezTo>
                  <a:cubicBezTo>
                    <a:pt x="630" y="194"/>
                    <a:pt x="626" y="181"/>
                    <a:pt x="632" y="170"/>
                  </a:cubicBezTo>
                  <a:cubicBezTo>
                    <a:pt x="637" y="159"/>
                    <a:pt x="651" y="155"/>
                    <a:pt x="661" y="161"/>
                  </a:cubicBezTo>
                  <a:cubicBezTo>
                    <a:pt x="678" y="170"/>
                    <a:pt x="694" y="180"/>
                    <a:pt x="709" y="192"/>
                  </a:cubicBezTo>
                  <a:cubicBezTo>
                    <a:pt x="787" y="251"/>
                    <a:pt x="837" y="336"/>
                    <a:pt x="850" y="432"/>
                  </a:cubicBezTo>
                  <a:cubicBezTo>
                    <a:pt x="862" y="528"/>
                    <a:pt x="837" y="623"/>
                    <a:pt x="777" y="700"/>
                  </a:cubicBezTo>
                  <a:close/>
                </a:path>
              </a:pathLst>
            </a:custGeom>
            <a:solidFill>
              <a:srgbClr val="6E6F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2" name="Freeform 11">
              <a:extLst>
                <a:ext uri="{FF2B5EF4-FFF2-40B4-BE49-F238E27FC236}">
                  <a16:creationId xmlns:a16="http://schemas.microsoft.com/office/drawing/2014/main" id="{1173B41E-AE04-4090-AE4B-50B33B897C30}"/>
                </a:ext>
              </a:extLst>
            </p:cNvPr>
            <p:cNvSpPr>
              <a:spLocks noEditPoints="1"/>
            </p:cNvSpPr>
            <p:nvPr/>
          </p:nvSpPr>
          <p:spPr bwMode="auto">
            <a:xfrm>
              <a:off x="2422" y="465"/>
              <a:ext cx="2904" cy="3306"/>
            </a:xfrm>
            <a:custGeom>
              <a:avLst/>
              <a:gdLst>
                <a:gd name="T0" fmla="*/ 1270 w 1550"/>
                <a:gd name="T1" fmla="*/ 179 h 1763"/>
                <a:gd name="T2" fmla="*/ 517 w 1550"/>
                <a:gd name="T3" fmla="*/ 280 h 1763"/>
                <a:gd name="T4" fmla="*/ 545 w 1550"/>
                <a:gd name="T5" fmla="*/ 965 h 1763"/>
                <a:gd name="T6" fmla="*/ 437 w 1550"/>
                <a:gd name="T7" fmla="*/ 1107 h 1763"/>
                <a:gd name="T8" fmla="*/ 587 w 1550"/>
                <a:gd name="T9" fmla="*/ 1222 h 1763"/>
                <a:gd name="T10" fmla="*/ 694 w 1550"/>
                <a:gd name="T11" fmla="*/ 1082 h 1763"/>
                <a:gd name="T12" fmla="*/ 1370 w 1550"/>
                <a:gd name="T13" fmla="*/ 933 h 1763"/>
                <a:gd name="T14" fmla="*/ 1270 w 1550"/>
                <a:gd name="T15" fmla="*/ 179 h 1763"/>
                <a:gd name="T16" fmla="*/ 1317 w 1550"/>
                <a:gd name="T17" fmla="*/ 892 h 1763"/>
                <a:gd name="T18" fmla="*/ 701 w 1550"/>
                <a:gd name="T19" fmla="*/ 1009 h 1763"/>
                <a:gd name="T20" fmla="*/ 658 w 1550"/>
                <a:gd name="T21" fmla="*/ 980 h 1763"/>
                <a:gd name="T22" fmla="*/ 614 w 1550"/>
                <a:gd name="T23" fmla="*/ 941 h 1763"/>
                <a:gd name="T24" fmla="*/ 570 w 1550"/>
                <a:gd name="T25" fmla="*/ 320 h 1763"/>
                <a:gd name="T26" fmla="*/ 1229 w 1550"/>
                <a:gd name="T27" fmla="*/ 233 h 1763"/>
                <a:gd name="T28" fmla="*/ 1317 w 1550"/>
                <a:gd name="T29" fmla="*/ 892 h 1763"/>
                <a:gd name="T30" fmla="*/ 181 w 1550"/>
                <a:gd name="T31" fmla="*/ 1763 h 1763"/>
                <a:gd name="T32" fmla="*/ 162 w 1550"/>
                <a:gd name="T33" fmla="*/ 1761 h 1763"/>
                <a:gd name="T34" fmla="*/ 83 w 1550"/>
                <a:gd name="T35" fmla="*/ 1724 h 1763"/>
                <a:gd name="T36" fmla="*/ 27 w 1550"/>
                <a:gd name="T37" fmla="*/ 1584 h 1763"/>
                <a:gd name="T38" fmla="*/ 367 w 1550"/>
                <a:gd name="T39" fmla="*/ 1136 h 1763"/>
                <a:gd name="T40" fmla="*/ 382 w 1550"/>
                <a:gd name="T41" fmla="*/ 1128 h 1763"/>
                <a:gd name="T42" fmla="*/ 398 w 1550"/>
                <a:gd name="T43" fmla="*/ 1132 h 1763"/>
                <a:gd name="T44" fmla="*/ 568 w 1550"/>
                <a:gd name="T45" fmla="*/ 1263 h 1763"/>
                <a:gd name="T46" fmla="*/ 572 w 1550"/>
                <a:gd name="T47" fmla="*/ 1294 h 1763"/>
                <a:gd name="T48" fmla="*/ 233 w 1550"/>
                <a:gd name="T49" fmla="*/ 1740 h 1763"/>
                <a:gd name="T50" fmla="*/ 181 w 1550"/>
                <a:gd name="T51" fmla="*/ 1763 h 1763"/>
                <a:gd name="T52" fmla="*/ 389 w 1550"/>
                <a:gd name="T53" fmla="*/ 1181 h 1763"/>
                <a:gd name="T54" fmla="*/ 62 w 1550"/>
                <a:gd name="T55" fmla="*/ 1610 h 1763"/>
                <a:gd name="T56" fmla="*/ 109 w 1550"/>
                <a:gd name="T57" fmla="*/ 1689 h 1763"/>
                <a:gd name="T58" fmla="*/ 170 w 1550"/>
                <a:gd name="T59" fmla="*/ 1718 h 1763"/>
                <a:gd name="T60" fmla="*/ 198 w 1550"/>
                <a:gd name="T61" fmla="*/ 1714 h 1763"/>
                <a:gd name="T62" fmla="*/ 524 w 1550"/>
                <a:gd name="T63" fmla="*/ 1284 h 1763"/>
                <a:gd name="T64" fmla="*/ 389 w 1550"/>
                <a:gd name="T65" fmla="*/ 1181 h 1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50" h="1763">
                  <a:moveTo>
                    <a:pt x="1270" y="179"/>
                  </a:moveTo>
                  <a:cubicBezTo>
                    <a:pt x="1034" y="0"/>
                    <a:pt x="697" y="45"/>
                    <a:pt x="517" y="280"/>
                  </a:cubicBezTo>
                  <a:cubicBezTo>
                    <a:pt x="358" y="488"/>
                    <a:pt x="375" y="777"/>
                    <a:pt x="545" y="965"/>
                  </a:cubicBezTo>
                  <a:cubicBezTo>
                    <a:pt x="466" y="1068"/>
                    <a:pt x="444" y="1098"/>
                    <a:pt x="437" y="1107"/>
                  </a:cubicBezTo>
                  <a:cubicBezTo>
                    <a:pt x="587" y="1222"/>
                    <a:pt x="587" y="1222"/>
                    <a:pt x="587" y="1222"/>
                  </a:cubicBezTo>
                  <a:cubicBezTo>
                    <a:pt x="694" y="1082"/>
                    <a:pt x="694" y="1082"/>
                    <a:pt x="694" y="1082"/>
                  </a:cubicBezTo>
                  <a:cubicBezTo>
                    <a:pt x="921" y="1201"/>
                    <a:pt x="1209" y="1143"/>
                    <a:pt x="1370" y="933"/>
                  </a:cubicBezTo>
                  <a:cubicBezTo>
                    <a:pt x="1550" y="697"/>
                    <a:pt x="1505" y="360"/>
                    <a:pt x="1270" y="179"/>
                  </a:cubicBezTo>
                  <a:close/>
                  <a:moveTo>
                    <a:pt x="1317" y="892"/>
                  </a:moveTo>
                  <a:cubicBezTo>
                    <a:pt x="1170" y="1084"/>
                    <a:pt x="903" y="1131"/>
                    <a:pt x="701" y="1009"/>
                  </a:cubicBezTo>
                  <a:cubicBezTo>
                    <a:pt x="686" y="1000"/>
                    <a:pt x="672" y="990"/>
                    <a:pt x="658" y="980"/>
                  </a:cubicBezTo>
                  <a:cubicBezTo>
                    <a:pt x="643" y="968"/>
                    <a:pt x="628" y="955"/>
                    <a:pt x="614" y="941"/>
                  </a:cubicBezTo>
                  <a:cubicBezTo>
                    <a:pt x="447" y="778"/>
                    <a:pt x="425" y="511"/>
                    <a:pt x="570" y="320"/>
                  </a:cubicBezTo>
                  <a:cubicBezTo>
                    <a:pt x="728" y="114"/>
                    <a:pt x="1023" y="75"/>
                    <a:pt x="1229" y="233"/>
                  </a:cubicBezTo>
                  <a:cubicBezTo>
                    <a:pt x="1435" y="390"/>
                    <a:pt x="1474" y="686"/>
                    <a:pt x="1317" y="892"/>
                  </a:cubicBezTo>
                  <a:close/>
                  <a:moveTo>
                    <a:pt x="181" y="1763"/>
                  </a:moveTo>
                  <a:cubicBezTo>
                    <a:pt x="175" y="1763"/>
                    <a:pt x="169" y="1762"/>
                    <a:pt x="162" y="1761"/>
                  </a:cubicBezTo>
                  <a:cubicBezTo>
                    <a:pt x="137" y="1757"/>
                    <a:pt x="108" y="1743"/>
                    <a:pt x="83" y="1724"/>
                  </a:cubicBezTo>
                  <a:cubicBezTo>
                    <a:pt x="24" y="1679"/>
                    <a:pt x="0" y="1619"/>
                    <a:pt x="27" y="1584"/>
                  </a:cubicBezTo>
                  <a:cubicBezTo>
                    <a:pt x="367" y="1136"/>
                    <a:pt x="367" y="1136"/>
                    <a:pt x="367" y="1136"/>
                  </a:cubicBezTo>
                  <a:cubicBezTo>
                    <a:pt x="371" y="1132"/>
                    <a:pt x="376" y="1129"/>
                    <a:pt x="382" y="1128"/>
                  </a:cubicBezTo>
                  <a:cubicBezTo>
                    <a:pt x="387" y="1127"/>
                    <a:pt x="393" y="1129"/>
                    <a:pt x="398" y="1132"/>
                  </a:cubicBezTo>
                  <a:cubicBezTo>
                    <a:pt x="568" y="1263"/>
                    <a:pt x="568" y="1263"/>
                    <a:pt x="568" y="1263"/>
                  </a:cubicBezTo>
                  <a:cubicBezTo>
                    <a:pt x="578" y="1270"/>
                    <a:pt x="579" y="1284"/>
                    <a:pt x="572" y="1294"/>
                  </a:cubicBezTo>
                  <a:cubicBezTo>
                    <a:pt x="233" y="1740"/>
                    <a:pt x="233" y="1740"/>
                    <a:pt x="233" y="1740"/>
                  </a:cubicBezTo>
                  <a:cubicBezTo>
                    <a:pt x="221" y="1755"/>
                    <a:pt x="203" y="1763"/>
                    <a:pt x="181" y="1763"/>
                  </a:cubicBezTo>
                  <a:close/>
                  <a:moveTo>
                    <a:pt x="389" y="1181"/>
                  </a:moveTo>
                  <a:cubicBezTo>
                    <a:pt x="62" y="1610"/>
                    <a:pt x="62" y="1610"/>
                    <a:pt x="62" y="1610"/>
                  </a:cubicBezTo>
                  <a:cubicBezTo>
                    <a:pt x="54" y="1621"/>
                    <a:pt x="69" y="1658"/>
                    <a:pt x="109" y="1689"/>
                  </a:cubicBezTo>
                  <a:cubicBezTo>
                    <a:pt x="129" y="1704"/>
                    <a:pt x="151" y="1714"/>
                    <a:pt x="170" y="1718"/>
                  </a:cubicBezTo>
                  <a:cubicBezTo>
                    <a:pt x="183" y="1720"/>
                    <a:pt x="194" y="1718"/>
                    <a:pt x="198" y="1714"/>
                  </a:cubicBezTo>
                  <a:cubicBezTo>
                    <a:pt x="524" y="1284"/>
                    <a:pt x="524" y="1284"/>
                    <a:pt x="524" y="1284"/>
                  </a:cubicBezTo>
                  <a:lnTo>
                    <a:pt x="389" y="1181"/>
                  </a:lnTo>
                  <a:close/>
                </a:path>
              </a:pathLst>
            </a:custGeom>
            <a:solidFill>
              <a:srgbClr val="6E6F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93" name="Group 92"/>
          <p:cNvGrpSpPr>
            <a:grpSpLocks noChangeAspect="1"/>
          </p:cNvGrpSpPr>
          <p:nvPr/>
        </p:nvGrpSpPr>
        <p:grpSpPr>
          <a:xfrm>
            <a:off x="1046030" y="2614216"/>
            <a:ext cx="235730" cy="235948"/>
            <a:chOff x="5273801" y="2606040"/>
            <a:chExt cx="1644396" cy="1645920"/>
          </a:xfrm>
        </p:grpSpPr>
        <p:sp>
          <p:nvSpPr>
            <p:cNvPr id="94" name="AutoShape 18">
              <a:extLst>
                <a:ext uri="{FF2B5EF4-FFF2-40B4-BE49-F238E27FC236}">
                  <a16:creationId xmlns:a16="http://schemas.microsoft.com/office/drawing/2014/main" id="{100AC5BD-F30F-4F9C-94F8-3ECEAAF56365}"/>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5" name="Group 94"/>
            <p:cNvGrpSpPr/>
            <p:nvPr/>
          </p:nvGrpSpPr>
          <p:grpSpPr>
            <a:xfrm>
              <a:off x="5388863" y="2953131"/>
              <a:ext cx="1409319" cy="967359"/>
              <a:chOff x="5388863" y="2953131"/>
              <a:chExt cx="1409319" cy="967359"/>
            </a:xfrm>
          </p:grpSpPr>
          <p:sp>
            <p:nvSpPr>
              <p:cNvPr id="96" name="Freeform 20">
                <a:extLst>
                  <a:ext uri="{FF2B5EF4-FFF2-40B4-BE49-F238E27FC236}">
                    <a16:creationId xmlns:a16="http://schemas.microsoft.com/office/drawing/2014/main" id="{D44F01FC-0979-4CF2-A046-0010F3FF82EE}"/>
                  </a:ext>
                </a:extLst>
              </p:cNvPr>
              <p:cNvSpPr>
                <a:spLocks noEditPoints="1"/>
              </p:cNvSpPr>
              <p:nvPr/>
            </p:nvSpPr>
            <p:spPr bwMode="auto">
              <a:xfrm>
                <a:off x="5388863" y="3167634"/>
                <a:ext cx="737235" cy="752856"/>
              </a:xfrm>
              <a:custGeom>
                <a:avLst/>
                <a:gdLst>
                  <a:gd name="T0" fmla="*/ 989 w 1033"/>
                  <a:gd name="T1" fmla="*/ 0 h 1054"/>
                  <a:gd name="T2" fmla="*/ 44 w 1033"/>
                  <a:gd name="T3" fmla="*/ 0 h 1054"/>
                  <a:gd name="T4" fmla="*/ 0 w 1033"/>
                  <a:gd name="T5" fmla="*/ 44 h 1054"/>
                  <a:gd name="T6" fmla="*/ 0 w 1033"/>
                  <a:gd name="T7" fmla="*/ 725 h 1054"/>
                  <a:gd name="T8" fmla="*/ 44 w 1033"/>
                  <a:gd name="T9" fmla="*/ 769 h 1054"/>
                  <a:gd name="T10" fmla="*/ 299 w 1033"/>
                  <a:gd name="T11" fmla="*/ 769 h 1054"/>
                  <a:gd name="T12" fmla="*/ 299 w 1033"/>
                  <a:gd name="T13" fmla="*/ 1010 h 1054"/>
                  <a:gd name="T14" fmla="*/ 300 w 1033"/>
                  <a:gd name="T15" fmla="*/ 1017 h 1054"/>
                  <a:gd name="T16" fmla="*/ 337 w 1033"/>
                  <a:gd name="T17" fmla="*/ 1053 h 1054"/>
                  <a:gd name="T18" fmla="*/ 347 w 1033"/>
                  <a:gd name="T19" fmla="*/ 1054 h 1054"/>
                  <a:gd name="T20" fmla="*/ 401 w 1033"/>
                  <a:gd name="T21" fmla="*/ 1026 h 1054"/>
                  <a:gd name="T22" fmla="*/ 469 w 1033"/>
                  <a:gd name="T23" fmla="*/ 951 h 1054"/>
                  <a:gd name="T24" fmla="*/ 637 w 1033"/>
                  <a:gd name="T25" fmla="*/ 769 h 1054"/>
                  <a:gd name="T26" fmla="*/ 989 w 1033"/>
                  <a:gd name="T27" fmla="*/ 769 h 1054"/>
                  <a:gd name="T28" fmla="*/ 1033 w 1033"/>
                  <a:gd name="T29" fmla="*/ 725 h 1054"/>
                  <a:gd name="T30" fmla="*/ 1033 w 1033"/>
                  <a:gd name="T31" fmla="*/ 44 h 1054"/>
                  <a:gd name="T32" fmla="*/ 989 w 1033"/>
                  <a:gd name="T33" fmla="*/ 0 h 1054"/>
                  <a:gd name="T34" fmla="*/ 832 w 1033"/>
                  <a:gd name="T35" fmla="*/ 552 h 1054"/>
                  <a:gd name="T36" fmla="*/ 201 w 1033"/>
                  <a:gd name="T37" fmla="*/ 552 h 1054"/>
                  <a:gd name="T38" fmla="*/ 179 w 1033"/>
                  <a:gd name="T39" fmla="*/ 530 h 1054"/>
                  <a:gd name="T40" fmla="*/ 201 w 1033"/>
                  <a:gd name="T41" fmla="*/ 508 h 1054"/>
                  <a:gd name="T42" fmla="*/ 832 w 1033"/>
                  <a:gd name="T43" fmla="*/ 508 h 1054"/>
                  <a:gd name="T44" fmla="*/ 854 w 1033"/>
                  <a:gd name="T45" fmla="*/ 530 h 1054"/>
                  <a:gd name="T46" fmla="*/ 832 w 1033"/>
                  <a:gd name="T47" fmla="*/ 552 h 1054"/>
                  <a:gd name="T48" fmla="*/ 832 w 1033"/>
                  <a:gd name="T49" fmla="*/ 415 h 1054"/>
                  <a:gd name="T50" fmla="*/ 201 w 1033"/>
                  <a:gd name="T51" fmla="*/ 415 h 1054"/>
                  <a:gd name="T52" fmla="*/ 179 w 1033"/>
                  <a:gd name="T53" fmla="*/ 393 h 1054"/>
                  <a:gd name="T54" fmla="*/ 201 w 1033"/>
                  <a:gd name="T55" fmla="*/ 371 h 1054"/>
                  <a:gd name="T56" fmla="*/ 832 w 1033"/>
                  <a:gd name="T57" fmla="*/ 371 h 1054"/>
                  <a:gd name="T58" fmla="*/ 854 w 1033"/>
                  <a:gd name="T59" fmla="*/ 393 h 1054"/>
                  <a:gd name="T60" fmla="*/ 832 w 1033"/>
                  <a:gd name="T61" fmla="*/ 415 h 1054"/>
                  <a:gd name="T62" fmla="*/ 832 w 1033"/>
                  <a:gd name="T63" fmla="*/ 279 h 1054"/>
                  <a:gd name="T64" fmla="*/ 201 w 1033"/>
                  <a:gd name="T65" fmla="*/ 279 h 1054"/>
                  <a:gd name="T66" fmla="*/ 179 w 1033"/>
                  <a:gd name="T67" fmla="*/ 257 h 1054"/>
                  <a:gd name="T68" fmla="*/ 201 w 1033"/>
                  <a:gd name="T69" fmla="*/ 235 h 1054"/>
                  <a:gd name="T70" fmla="*/ 832 w 1033"/>
                  <a:gd name="T71" fmla="*/ 235 h 1054"/>
                  <a:gd name="T72" fmla="*/ 854 w 1033"/>
                  <a:gd name="T73" fmla="*/ 257 h 1054"/>
                  <a:gd name="T74" fmla="*/ 832 w 1033"/>
                  <a:gd name="T75" fmla="*/ 279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33" h="1054">
                    <a:moveTo>
                      <a:pt x="989" y="0"/>
                    </a:moveTo>
                    <a:cubicBezTo>
                      <a:pt x="44" y="0"/>
                      <a:pt x="44" y="0"/>
                      <a:pt x="44" y="0"/>
                    </a:cubicBezTo>
                    <a:cubicBezTo>
                      <a:pt x="20" y="0"/>
                      <a:pt x="0" y="20"/>
                      <a:pt x="0" y="44"/>
                    </a:cubicBezTo>
                    <a:cubicBezTo>
                      <a:pt x="0" y="725"/>
                      <a:pt x="0" y="725"/>
                      <a:pt x="0" y="725"/>
                    </a:cubicBezTo>
                    <a:cubicBezTo>
                      <a:pt x="0" y="750"/>
                      <a:pt x="20" y="769"/>
                      <a:pt x="44" y="769"/>
                    </a:cubicBezTo>
                    <a:cubicBezTo>
                      <a:pt x="299" y="769"/>
                      <a:pt x="299" y="769"/>
                      <a:pt x="299" y="769"/>
                    </a:cubicBezTo>
                    <a:cubicBezTo>
                      <a:pt x="299" y="1010"/>
                      <a:pt x="299" y="1010"/>
                      <a:pt x="299" y="1010"/>
                    </a:cubicBezTo>
                    <a:cubicBezTo>
                      <a:pt x="299" y="1012"/>
                      <a:pt x="299" y="1015"/>
                      <a:pt x="300" y="1017"/>
                    </a:cubicBezTo>
                    <a:cubicBezTo>
                      <a:pt x="301" y="1020"/>
                      <a:pt x="311" y="1047"/>
                      <a:pt x="337" y="1053"/>
                    </a:cubicBezTo>
                    <a:cubicBezTo>
                      <a:pt x="341" y="1054"/>
                      <a:pt x="344" y="1054"/>
                      <a:pt x="347" y="1054"/>
                    </a:cubicBezTo>
                    <a:cubicBezTo>
                      <a:pt x="365" y="1054"/>
                      <a:pt x="383" y="1045"/>
                      <a:pt x="401" y="1026"/>
                    </a:cubicBezTo>
                    <a:cubicBezTo>
                      <a:pt x="414" y="1013"/>
                      <a:pt x="438" y="986"/>
                      <a:pt x="469" y="951"/>
                    </a:cubicBezTo>
                    <a:cubicBezTo>
                      <a:pt x="516" y="899"/>
                      <a:pt x="579" y="829"/>
                      <a:pt x="637" y="769"/>
                    </a:cubicBezTo>
                    <a:cubicBezTo>
                      <a:pt x="989" y="769"/>
                      <a:pt x="989" y="769"/>
                      <a:pt x="989" y="769"/>
                    </a:cubicBezTo>
                    <a:cubicBezTo>
                      <a:pt x="1013" y="769"/>
                      <a:pt x="1033" y="750"/>
                      <a:pt x="1033" y="725"/>
                    </a:cubicBezTo>
                    <a:cubicBezTo>
                      <a:pt x="1033" y="44"/>
                      <a:pt x="1033" y="44"/>
                      <a:pt x="1033" y="44"/>
                    </a:cubicBezTo>
                    <a:cubicBezTo>
                      <a:pt x="1033" y="20"/>
                      <a:pt x="1013" y="0"/>
                      <a:pt x="989" y="0"/>
                    </a:cubicBezTo>
                    <a:close/>
                    <a:moveTo>
                      <a:pt x="832" y="552"/>
                    </a:moveTo>
                    <a:cubicBezTo>
                      <a:pt x="201" y="552"/>
                      <a:pt x="201" y="552"/>
                      <a:pt x="201" y="552"/>
                    </a:cubicBezTo>
                    <a:cubicBezTo>
                      <a:pt x="189" y="552"/>
                      <a:pt x="179" y="543"/>
                      <a:pt x="179" y="530"/>
                    </a:cubicBezTo>
                    <a:cubicBezTo>
                      <a:pt x="179" y="518"/>
                      <a:pt x="189" y="508"/>
                      <a:pt x="201" y="508"/>
                    </a:cubicBezTo>
                    <a:cubicBezTo>
                      <a:pt x="832" y="508"/>
                      <a:pt x="832" y="508"/>
                      <a:pt x="832" y="508"/>
                    </a:cubicBezTo>
                    <a:cubicBezTo>
                      <a:pt x="844" y="508"/>
                      <a:pt x="854" y="518"/>
                      <a:pt x="854" y="530"/>
                    </a:cubicBezTo>
                    <a:cubicBezTo>
                      <a:pt x="854" y="543"/>
                      <a:pt x="844" y="552"/>
                      <a:pt x="832" y="552"/>
                    </a:cubicBezTo>
                    <a:close/>
                    <a:moveTo>
                      <a:pt x="832" y="415"/>
                    </a:moveTo>
                    <a:cubicBezTo>
                      <a:pt x="201" y="415"/>
                      <a:pt x="201" y="415"/>
                      <a:pt x="201" y="415"/>
                    </a:cubicBezTo>
                    <a:cubicBezTo>
                      <a:pt x="189" y="415"/>
                      <a:pt x="179" y="405"/>
                      <a:pt x="179" y="393"/>
                    </a:cubicBezTo>
                    <a:cubicBezTo>
                      <a:pt x="179" y="380"/>
                      <a:pt x="189" y="371"/>
                      <a:pt x="201" y="371"/>
                    </a:cubicBezTo>
                    <a:cubicBezTo>
                      <a:pt x="832" y="371"/>
                      <a:pt x="832" y="371"/>
                      <a:pt x="832" y="371"/>
                    </a:cubicBezTo>
                    <a:cubicBezTo>
                      <a:pt x="844" y="371"/>
                      <a:pt x="854" y="380"/>
                      <a:pt x="854" y="393"/>
                    </a:cubicBezTo>
                    <a:cubicBezTo>
                      <a:pt x="854" y="405"/>
                      <a:pt x="844" y="415"/>
                      <a:pt x="832" y="415"/>
                    </a:cubicBezTo>
                    <a:close/>
                    <a:moveTo>
                      <a:pt x="832" y="279"/>
                    </a:moveTo>
                    <a:cubicBezTo>
                      <a:pt x="201" y="279"/>
                      <a:pt x="201" y="279"/>
                      <a:pt x="201" y="279"/>
                    </a:cubicBezTo>
                    <a:cubicBezTo>
                      <a:pt x="189" y="279"/>
                      <a:pt x="179" y="269"/>
                      <a:pt x="179" y="257"/>
                    </a:cubicBezTo>
                    <a:cubicBezTo>
                      <a:pt x="179" y="245"/>
                      <a:pt x="189" y="235"/>
                      <a:pt x="201" y="235"/>
                    </a:cubicBezTo>
                    <a:cubicBezTo>
                      <a:pt x="832" y="235"/>
                      <a:pt x="832" y="235"/>
                      <a:pt x="832" y="235"/>
                    </a:cubicBezTo>
                    <a:cubicBezTo>
                      <a:pt x="844" y="235"/>
                      <a:pt x="854" y="245"/>
                      <a:pt x="854" y="257"/>
                    </a:cubicBezTo>
                    <a:cubicBezTo>
                      <a:pt x="854" y="269"/>
                      <a:pt x="844" y="279"/>
                      <a:pt x="832" y="279"/>
                    </a:cubicBezTo>
                    <a:close/>
                  </a:path>
                </a:pathLst>
              </a:custGeom>
              <a:solidFill>
                <a:srgbClr val="6E6F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21">
                <a:extLst>
                  <a:ext uri="{FF2B5EF4-FFF2-40B4-BE49-F238E27FC236}">
                    <a16:creationId xmlns:a16="http://schemas.microsoft.com/office/drawing/2014/main" id="{9FEAEA2A-1D9C-469F-A298-EC5C9220C30F}"/>
                  </a:ext>
                </a:extLst>
              </p:cNvPr>
              <p:cNvSpPr>
                <a:spLocks noEditPoints="1"/>
              </p:cNvSpPr>
              <p:nvPr/>
            </p:nvSpPr>
            <p:spPr bwMode="auto">
              <a:xfrm>
                <a:off x="6060947" y="2953131"/>
                <a:ext cx="737235" cy="752856"/>
              </a:xfrm>
              <a:custGeom>
                <a:avLst/>
                <a:gdLst>
                  <a:gd name="T0" fmla="*/ 1033 w 1033"/>
                  <a:gd name="T1" fmla="*/ 44 h 1054"/>
                  <a:gd name="T2" fmla="*/ 1033 w 1033"/>
                  <a:gd name="T3" fmla="*/ 725 h 1054"/>
                  <a:gd name="T4" fmla="*/ 989 w 1033"/>
                  <a:gd name="T5" fmla="*/ 769 h 1054"/>
                  <a:gd name="T6" fmla="*/ 734 w 1033"/>
                  <a:gd name="T7" fmla="*/ 769 h 1054"/>
                  <a:gd name="T8" fmla="*/ 734 w 1033"/>
                  <a:gd name="T9" fmla="*/ 1010 h 1054"/>
                  <a:gd name="T10" fmla="*/ 733 w 1033"/>
                  <a:gd name="T11" fmla="*/ 1017 h 1054"/>
                  <a:gd name="T12" fmla="*/ 696 w 1033"/>
                  <a:gd name="T13" fmla="*/ 1053 h 1054"/>
                  <a:gd name="T14" fmla="*/ 686 w 1033"/>
                  <a:gd name="T15" fmla="*/ 1054 h 1054"/>
                  <a:gd name="T16" fmla="*/ 632 w 1033"/>
                  <a:gd name="T17" fmla="*/ 1025 h 1054"/>
                  <a:gd name="T18" fmla="*/ 564 w 1033"/>
                  <a:gd name="T19" fmla="*/ 951 h 1054"/>
                  <a:gd name="T20" fmla="*/ 396 w 1033"/>
                  <a:gd name="T21" fmla="*/ 769 h 1054"/>
                  <a:gd name="T22" fmla="*/ 135 w 1033"/>
                  <a:gd name="T23" fmla="*/ 769 h 1054"/>
                  <a:gd name="T24" fmla="*/ 135 w 1033"/>
                  <a:gd name="T25" fmla="*/ 725 h 1054"/>
                  <a:gd name="T26" fmla="*/ 405 w 1033"/>
                  <a:gd name="T27" fmla="*/ 725 h 1054"/>
                  <a:gd name="T28" fmla="*/ 421 w 1033"/>
                  <a:gd name="T29" fmla="*/ 732 h 1054"/>
                  <a:gd name="T30" fmla="*/ 597 w 1033"/>
                  <a:gd name="T31" fmla="*/ 922 h 1054"/>
                  <a:gd name="T32" fmla="*/ 663 w 1033"/>
                  <a:gd name="T33" fmla="*/ 994 h 1054"/>
                  <a:gd name="T34" fmla="*/ 686 w 1033"/>
                  <a:gd name="T35" fmla="*/ 1010 h 1054"/>
                  <a:gd name="T36" fmla="*/ 690 w 1033"/>
                  <a:gd name="T37" fmla="*/ 1005 h 1054"/>
                  <a:gd name="T38" fmla="*/ 690 w 1033"/>
                  <a:gd name="T39" fmla="*/ 747 h 1054"/>
                  <a:gd name="T40" fmla="*/ 712 w 1033"/>
                  <a:gd name="T41" fmla="*/ 725 h 1054"/>
                  <a:gd name="T42" fmla="*/ 989 w 1033"/>
                  <a:gd name="T43" fmla="*/ 725 h 1054"/>
                  <a:gd name="T44" fmla="*/ 989 w 1033"/>
                  <a:gd name="T45" fmla="*/ 44 h 1054"/>
                  <a:gd name="T46" fmla="*/ 44 w 1033"/>
                  <a:gd name="T47" fmla="*/ 44 h 1054"/>
                  <a:gd name="T48" fmla="*/ 44 w 1033"/>
                  <a:gd name="T49" fmla="*/ 256 h 1054"/>
                  <a:gd name="T50" fmla="*/ 0 w 1033"/>
                  <a:gd name="T51" fmla="*/ 256 h 1054"/>
                  <a:gd name="T52" fmla="*/ 0 w 1033"/>
                  <a:gd name="T53" fmla="*/ 44 h 1054"/>
                  <a:gd name="T54" fmla="*/ 44 w 1033"/>
                  <a:gd name="T55" fmla="*/ 0 h 1054"/>
                  <a:gd name="T56" fmla="*/ 989 w 1033"/>
                  <a:gd name="T57" fmla="*/ 0 h 1054"/>
                  <a:gd name="T58" fmla="*/ 1033 w 1033"/>
                  <a:gd name="T59" fmla="*/ 44 h 1054"/>
                  <a:gd name="T60" fmla="*/ 835 w 1033"/>
                  <a:gd name="T61" fmla="*/ 247 h 1054"/>
                  <a:gd name="T62" fmla="*/ 813 w 1033"/>
                  <a:gd name="T63" fmla="*/ 225 h 1054"/>
                  <a:gd name="T64" fmla="*/ 220 w 1033"/>
                  <a:gd name="T65" fmla="*/ 225 h 1054"/>
                  <a:gd name="T66" fmla="*/ 198 w 1033"/>
                  <a:gd name="T67" fmla="*/ 247 h 1054"/>
                  <a:gd name="T68" fmla="*/ 220 w 1033"/>
                  <a:gd name="T69" fmla="*/ 269 h 1054"/>
                  <a:gd name="T70" fmla="*/ 813 w 1033"/>
                  <a:gd name="T71" fmla="*/ 269 h 1054"/>
                  <a:gd name="T72" fmla="*/ 835 w 1033"/>
                  <a:gd name="T73" fmla="*/ 247 h 1054"/>
                  <a:gd name="T74" fmla="*/ 835 w 1033"/>
                  <a:gd name="T75" fmla="*/ 383 h 1054"/>
                  <a:gd name="T76" fmla="*/ 813 w 1033"/>
                  <a:gd name="T77" fmla="*/ 361 h 1054"/>
                  <a:gd name="T78" fmla="*/ 220 w 1033"/>
                  <a:gd name="T79" fmla="*/ 361 h 1054"/>
                  <a:gd name="T80" fmla="*/ 198 w 1033"/>
                  <a:gd name="T81" fmla="*/ 383 h 1054"/>
                  <a:gd name="T82" fmla="*/ 220 w 1033"/>
                  <a:gd name="T83" fmla="*/ 405 h 1054"/>
                  <a:gd name="T84" fmla="*/ 813 w 1033"/>
                  <a:gd name="T85" fmla="*/ 405 h 1054"/>
                  <a:gd name="T86" fmla="*/ 835 w 1033"/>
                  <a:gd name="T87" fmla="*/ 383 h 1054"/>
                  <a:gd name="T88" fmla="*/ 835 w 1033"/>
                  <a:gd name="T89" fmla="*/ 521 h 1054"/>
                  <a:gd name="T90" fmla="*/ 813 w 1033"/>
                  <a:gd name="T91" fmla="*/ 499 h 1054"/>
                  <a:gd name="T92" fmla="*/ 220 w 1033"/>
                  <a:gd name="T93" fmla="*/ 499 h 1054"/>
                  <a:gd name="T94" fmla="*/ 198 w 1033"/>
                  <a:gd name="T95" fmla="*/ 521 h 1054"/>
                  <a:gd name="T96" fmla="*/ 220 w 1033"/>
                  <a:gd name="T97" fmla="*/ 543 h 1054"/>
                  <a:gd name="T98" fmla="*/ 813 w 1033"/>
                  <a:gd name="T99" fmla="*/ 543 h 1054"/>
                  <a:gd name="T100" fmla="*/ 835 w 1033"/>
                  <a:gd name="T101" fmla="*/ 521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33" h="1054">
                    <a:moveTo>
                      <a:pt x="1033" y="44"/>
                    </a:moveTo>
                    <a:cubicBezTo>
                      <a:pt x="1033" y="725"/>
                      <a:pt x="1033" y="725"/>
                      <a:pt x="1033" y="725"/>
                    </a:cubicBezTo>
                    <a:cubicBezTo>
                      <a:pt x="1033" y="750"/>
                      <a:pt x="1013" y="769"/>
                      <a:pt x="989" y="769"/>
                    </a:cubicBezTo>
                    <a:cubicBezTo>
                      <a:pt x="734" y="769"/>
                      <a:pt x="734" y="769"/>
                      <a:pt x="734" y="769"/>
                    </a:cubicBezTo>
                    <a:cubicBezTo>
                      <a:pt x="734" y="1010"/>
                      <a:pt x="734" y="1010"/>
                      <a:pt x="734" y="1010"/>
                    </a:cubicBezTo>
                    <a:cubicBezTo>
                      <a:pt x="734" y="1012"/>
                      <a:pt x="734" y="1015"/>
                      <a:pt x="733" y="1017"/>
                    </a:cubicBezTo>
                    <a:cubicBezTo>
                      <a:pt x="732" y="1020"/>
                      <a:pt x="722" y="1047"/>
                      <a:pt x="696" y="1053"/>
                    </a:cubicBezTo>
                    <a:cubicBezTo>
                      <a:pt x="693" y="1054"/>
                      <a:pt x="689" y="1054"/>
                      <a:pt x="686" y="1054"/>
                    </a:cubicBezTo>
                    <a:cubicBezTo>
                      <a:pt x="668" y="1054"/>
                      <a:pt x="650" y="1044"/>
                      <a:pt x="632" y="1025"/>
                    </a:cubicBezTo>
                    <a:cubicBezTo>
                      <a:pt x="619" y="1013"/>
                      <a:pt x="595" y="985"/>
                      <a:pt x="564" y="951"/>
                    </a:cubicBezTo>
                    <a:cubicBezTo>
                      <a:pt x="517" y="899"/>
                      <a:pt x="454" y="829"/>
                      <a:pt x="396" y="769"/>
                    </a:cubicBezTo>
                    <a:cubicBezTo>
                      <a:pt x="135" y="769"/>
                      <a:pt x="135" y="769"/>
                      <a:pt x="135" y="769"/>
                    </a:cubicBezTo>
                    <a:cubicBezTo>
                      <a:pt x="135" y="725"/>
                      <a:pt x="135" y="725"/>
                      <a:pt x="135" y="725"/>
                    </a:cubicBezTo>
                    <a:cubicBezTo>
                      <a:pt x="405" y="725"/>
                      <a:pt x="405" y="725"/>
                      <a:pt x="405" y="725"/>
                    </a:cubicBezTo>
                    <a:cubicBezTo>
                      <a:pt x="411" y="725"/>
                      <a:pt x="417" y="728"/>
                      <a:pt x="421" y="732"/>
                    </a:cubicBezTo>
                    <a:cubicBezTo>
                      <a:pt x="481" y="793"/>
                      <a:pt x="548" y="867"/>
                      <a:pt x="597" y="922"/>
                    </a:cubicBezTo>
                    <a:cubicBezTo>
                      <a:pt x="627" y="956"/>
                      <a:pt x="651" y="982"/>
                      <a:pt x="663" y="994"/>
                    </a:cubicBezTo>
                    <a:cubicBezTo>
                      <a:pt x="677" y="1008"/>
                      <a:pt x="684" y="1010"/>
                      <a:pt x="686" y="1010"/>
                    </a:cubicBezTo>
                    <a:cubicBezTo>
                      <a:pt x="687" y="1010"/>
                      <a:pt x="689" y="1008"/>
                      <a:pt x="690" y="1005"/>
                    </a:cubicBezTo>
                    <a:cubicBezTo>
                      <a:pt x="690" y="747"/>
                      <a:pt x="690" y="747"/>
                      <a:pt x="690" y="747"/>
                    </a:cubicBezTo>
                    <a:cubicBezTo>
                      <a:pt x="690" y="735"/>
                      <a:pt x="700" y="725"/>
                      <a:pt x="712" y="725"/>
                    </a:cubicBezTo>
                    <a:cubicBezTo>
                      <a:pt x="989" y="725"/>
                      <a:pt x="989" y="725"/>
                      <a:pt x="989" y="725"/>
                    </a:cubicBezTo>
                    <a:cubicBezTo>
                      <a:pt x="989" y="44"/>
                      <a:pt x="989" y="44"/>
                      <a:pt x="989" y="44"/>
                    </a:cubicBezTo>
                    <a:cubicBezTo>
                      <a:pt x="44" y="44"/>
                      <a:pt x="44" y="44"/>
                      <a:pt x="44" y="44"/>
                    </a:cubicBezTo>
                    <a:cubicBezTo>
                      <a:pt x="44" y="256"/>
                      <a:pt x="44" y="256"/>
                      <a:pt x="44" y="256"/>
                    </a:cubicBezTo>
                    <a:cubicBezTo>
                      <a:pt x="0" y="256"/>
                      <a:pt x="0" y="256"/>
                      <a:pt x="0" y="256"/>
                    </a:cubicBezTo>
                    <a:cubicBezTo>
                      <a:pt x="0" y="44"/>
                      <a:pt x="0" y="44"/>
                      <a:pt x="0" y="44"/>
                    </a:cubicBezTo>
                    <a:cubicBezTo>
                      <a:pt x="0" y="20"/>
                      <a:pt x="20" y="0"/>
                      <a:pt x="44" y="0"/>
                    </a:cubicBezTo>
                    <a:cubicBezTo>
                      <a:pt x="989" y="0"/>
                      <a:pt x="989" y="0"/>
                      <a:pt x="989" y="0"/>
                    </a:cubicBezTo>
                    <a:cubicBezTo>
                      <a:pt x="1013" y="0"/>
                      <a:pt x="1033" y="20"/>
                      <a:pt x="1033" y="44"/>
                    </a:cubicBezTo>
                    <a:close/>
                    <a:moveTo>
                      <a:pt x="835" y="247"/>
                    </a:moveTo>
                    <a:cubicBezTo>
                      <a:pt x="835" y="235"/>
                      <a:pt x="826" y="225"/>
                      <a:pt x="813" y="225"/>
                    </a:cubicBezTo>
                    <a:cubicBezTo>
                      <a:pt x="220" y="225"/>
                      <a:pt x="220" y="225"/>
                      <a:pt x="220" y="225"/>
                    </a:cubicBezTo>
                    <a:cubicBezTo>
                      <a:pt x="208" y="225"/>
                      <a:pt x="198" y="235"/>
                      <a:pt x="198" y="247"/>
                    </a:cubicBezTo>
                    <a:cubicBezTo>
                      <a:pt x="198" y="259"/>
                      <a:pt x="208" y="269"/>
                      <a:pt x="220" y="269"/>
                    </a:cubicBezTo>
                    <a:cubicBezTo>
                      <a:pt x="813" y="269"/>
                      <a:pt x="813" y="269"/>
                      <a:pt x="813" y="269"/>
                    </a:cubicBezTo>
                    <a:cubicBezTo>
                      <a:pt x="826" y="269"/>
                      <a:pt x="835" y="259"/>
                      <a:pt x="835" y="247"/>
                    </a:cubicBezTo>
                    <a:close/>
                    <a:moveTo>
                      <a:pt x="835" y="383"/>
                    </a:moveTo>
                    <a:cubicBezTo>
                      <a:pt x="835" y="371"/>
                      <a:pt x="826" y="361"/>
                      <a:pt x="813" y="361"/>
                    </a:cubicBezTo>
                    <a:cubicBezTo>
                      <a:pt x="220" y="361"/>
                      <a:pt x="220" y="361"/>
                      <a:pt x="220" y="361"/>
                    </a:cubicBezTo>
                    <a:cubicBezTo>
                      <a:pt x="208" y="361"/>
                      <a:pt x="198" y="371"/>
                      <a:pt x="198" y="383"/>
                    </a:cubicBezTo>
                    <a:cubicBezTo>
                      <a:pt x="198" y="395"/>
                      <a:pt x="208" y="405"/>
                      <a:pt x="220" y="405"/>
                    </a:cubicBezTo>
                    <a:cubicBezTo>
                      <a:pt x="813" y="405"/>
                      <a:pt x="813" y="405"/>
                      <a:pt x="813" y="405"/>
                    </a:cubicBezTo>
                    <a:cubicBezTo>
                      <a:pt x="826" y="405"/>
                      <a:pt x="835" y="395"/>
                      <a:pt x="835" y="383"/>
                    </a:cubicBezTo>
                    <a:close/>
                    <a:moveTo>
                      <a:pt x="835" y="521"/>
                    </a:moveTo>
                    <a:cubicBezTo>
                      <a:pt x="835" y="508"/>
                      <a:pt x="826" y="499"/>
                      <a:pt x="813" y="499"/>
                    </a:cubicBezTo>
                    <a:cubicBezTo>
                      <a:pt x="220" y="499"/>
                      <a:pt x="220" y="499"/>
                      <a:pt x="220" y="499"/>
                    </a:cubicBezTo>
                    <a:cubicBezTo>
                      <a:pt x="208" y="499"/>
                      <a:pt x="198" y="508"/>
                      <a:pt x="198" y="521"/>
                    </a:cubicBezTo>
                    <a:cubicBezTo>
                      <a:pt x="198" y="533"/>
                      <a:pt x="208" y="543"/>
                      <a:pt x="220" y="543"/>
                    </a:cubicBezTo>
                    <a:cubicBezTo>
                      <a:pt x="813" y="543"/>
                      <a:pt x="813" y="543"/>
                      <a:pt x="813" y="543"/>
                    </a:cubicBezTo>
                    <a:cubicBezTo>
                      <a:pt x="826" y="543"/>
                      <a:pt x="835" y="533"/>
                      <a:pt x="835" y="521"/>
                    </a:cubicBezTo>
                    <a:close/>
                  </a:path>
                </a:pathLst>
              </a:custGeom>
              <a:solidFill>
                <a:srgbClr val="6E6F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98" name="Group 97"/>
          <p:cNvGrpSpPr>
            <a:grpSpLocks noChangeAspect="1"/>
          </p:cNvGrpSpPr>
          <p:nvPr/>
        </p:nvGrpSpPr>
        <p:grpSpPr>
          <a:xfrm>
            <a:off x="1046030" y="3542787"/>
            <a:ext cx="235730" cy="235948"/>
            <a:chOff x="5273801" y="2606040"/>
            <a:chExt cx="1644396" cy="1645920"/>
          </a:xfrm>
        </p:grpSpPr>
        <p:sp>
          <p:nvSpPr>
            <p:cNvPr id="99" name="AutoShape 23">
              <a:extLst>
                <a:ext uri="{FF2B5EF4-FFF2-40B4-BE49-F238E27FC236}">
                  <a16:creationId xmlns:a16="http://schemas.microsoft.com/office/drawing/2014/main" id="{21145B1E-CDCB-4DD6-B1E9-AD669D7521DE}"/>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00" name="Group 99"/>
            <p:cNvGrpSpPr/>
            <p:nvPr/>
          </p:nvGrpSpPr>
          <p:grpSpPr>
            <a:xfrm>
              <a:off x="5343905" y="2928366"/>
              <a:ext cx="1505712" cy="995553"/>
              <a:chOff x="5343905" y="2928366"/>
              <a:chExt cx="1505712" cy="995553"/>
            </a:xfrm>
          </p:grpSpPr>
          <p:sp>
            <p:nvSpPr>
              <p:cNvPr id="101" name="Freeform 25">
                <a:extLst>
                  <a:ext uri="{FF2B5EF4-FFF2-40B4-BE49-F238E27FC236}">
                    <a16:creationId xmlns:a16="http://schemas.microsoft.com/office/drawing/2014/main" id="{9F947C49-F917-4AD1-B35C-097F99CCE4E2}"/>
                  </a:ext>
                </a:extLst>
              </p:cNvPr>
              <p:cNvSpPr>
                <a:spLocks noEditPoints="1"/>
              </p:cNvSpPr>
              <p:nvPr/>
            </p:nvSpPr>
            <p:spPr bwMode="auto">
              <a:xfrm>
                <a:off x="5696330" y="2928366"/>
                <a:ext cx="1153287" cy="654177"/>
              </a:xfrm>
              <a:custGeom>
                <a:avLst/>
                <a:gdLst>
                  <a:gd name="T0" fmla="*/ 1610 w 1616"/>
                  <a:gd name="T1" fmla="*/ 362 h 916"/>
                  <a:gd name="T2" fmla="*/ 1552 w 1616"/>
                  <a:gd name="T3" fmla="*/ 327 h 916"/>
                  <a:gd name="T4" fmla="*/ 1530 w 1616"/>
                  <a:gd name="T5" fmla="*/ 261 h 916"/>
                  <a:gd name="T6" fmla="*/ 1495 w 1616"/>
                  <a:gd name="T7" fmla="*/ 196 h 916"/>
                  <a:gd name="T8" fmla="*/ 1508 w 1616"/>
                  <a:gd name="T9" fmla="*/ 130 h 916"/>
                  <a:gd name="T10" fmla="*/ 1369 w 1616"/>
                  <a:gd name="T11" fmla="*/ 28 h 916"/>
                  <a:gd name="T12" fmla="*/ 1309 w 1616"/>
                  <a:gd name="T13" fmla="*/ 62 h 916"/>
                  <a:gd name="T14" fmla="*/ 1178 w 1616"/>
                  <a:gd name="T15" fmla="*/ 47 h 916"/>
                  <a:gd name="T16" fmla="*/ 1127 w 1616"/>
                  <a:gd name="T17" fmla="*/ 0 h 916"/>
                  <a:gd name="T18" fmla="*/ 1043 w 1616"/>
                  <a:gd name="T19" fmla="*/ 26 h 916"/>
                  <a:gd name="T20" fmla="*/ 967 w 1616"/>
                  <a:gd name="T21" fmla="*/ 69 h 916"/>
                  <a:gd name="T22" fmla="*/ 967 w 1616"/>
                  <a:gd name="T23" fmla="*/ 140 h 916"/>
                  <a:gd name="T24" fmla="*/ 886 w 1616"/>
                  <a:gd name="T25" fmla="*/ 246 h 916"/>
                  <a:gd name="T26" fmla="*/ 821 w 1616"/>
                  <a:gd name="T27" fmla="*/ 267 h 916"/>
                  <a:gd name="T28" fmla="*/ 798 w 1616"/>
                  <a:gd name="T29" fmla="*/ 441 h 916"/>
                  <a:gd name="T30" fmla="*/ 856 w 1616"/>
                  <a:gd name="T31" fmla="*/ 475 h 916"/>
                  <a:gd name="T32" fmla="*/ 879 w 1616"/>
                  <a:gd name="T33" fmla="*/ 546 h 916"/>
                  <a:gd name="T34" fmla="*/ 912 w 1616"/>
                  <a:gd name="T35" fmla="*/ 607 h 916"/>
                  <a:gd name="T36" fmla="*/ 896 w 1616"/>
                  <a:gd name="T37" fmla="*/ 673 h 916"/>
                  <a:gd name="T38" fmla="*/ 1031 w 1616"/>
                  <a:gd name="T39" fmla="*/ 777 h 916"/>
                  <a:gd name="T40" fmla="*/ 1089 w 1616"/>
                  <a:gd name="T41" fmla="*/ 743 h 916"/>
                  <a:gd name="T42" fmla="*/ 1236 w 1616"/>
                  <a:gd name="T43" fmla="*/ 762 h 916"/>
                  <a:gd name="T44" fmla="*/ 1287 w 1616"/>
                  <a:gd name="T45" fmla="*/ 808 h 916"/>
                  <a:gd name="T46" fmla="*/ 1366 w 1616"/>
                  <a:gd name="T47" fmla="*/ 783 h 916"/>
                  <a:gd name="T48" fmla="*/ 1440 w 1616"/>
                  <a:gd name="T49" fmla="*/ 741 h 916"/>
                  <a:gd name="T50" fmla="*/ 1440 w 1616"/>
                  <a:gd name="T51" fmla="*/ 673 h 916"/>
                  <a:gd name="T52" fmla="*/ 1528 w 1616"/>
                  <a:gd name="T53" fmla="*/ 552 h 916"/>
                  <a:gd name="T54" fmla="*/ 1591 w 1616"/>
                  <a:gd name="T55" fmla="*/ 532 h 916"/>
                  <a:gd name="T56" fmla="*/ 1610 w 1616"/>
                  <a:gd name="T57" fmla="*/ 362 h 916"/>
                  <a:gd name="T58" fmla="*/ 1276 w 1616"/>
                  <a:gd name="T59" fmla="*/ 569 h 916"/>
                  <a:gd name="T60" fmla="*/ 1041 w 1616"/>
                  <a:gd name="T61" fmla="*/ 475 h 916"/>
                  <a:gd name="T62" fmla="*/ 1133 w 1616"/>
                  <a:gd name="T63" fmla="*/ 239 h 916"/>
                  <a:gd name="T64" fmla="*/ 1367 w 1616"/>
                  <a:gd name="T65" fmla="*/ 333 h 916"/>
                  <a:gd name="T66" fmla="*/ 1276 w 1616"/>
                  <a:gd name="T67" fmla="*/ 569 h 916"/>
                  <a:gd name="T68" fmla="*/ 187 w 1616"/>
                  <a:gd name="T69" fmla="*/ 916 h 916"/>
                  <a:gd name="T70" fmla="*/ 0 w 1616"/>
                  <a:gd name="T71" fmla="*/ 729 h 916"/>
                  <a:gd name="T72" fmla="*/ 187 w 1616"/>
                  <a:gd name="T73" fmla="*/ 541 h 916"/>
                  <a:gd name="T74" fmla="*/ 375 w 1616"/>
                  <a:gd name="T75" fmla="*/ 729 h 916"/>
                  <a:gd name="T76" fmla="*/ 187 w 1616"/>
                  <a:gd name="T77" fmla="*/ 91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6" h="916">
                    <a:moveTo>
                      <a:pt x="1610" y="362"/>
                    </a:moveTo>
                    <a:cubicBezTo>
                      <a:pt x="1552" y="327"/>
                      <a:pt x="1552" y="327"/>
                      <a:pt x="1552" y="327"/>
                    </a:cubicBezTo>
                    <a:cubicBezTo>
                      <a:pt x="1547" y="305"/>
                      <a:pt x="1539" y="283"/>
                      <a:pt x="1530" y="261"/>
                    </a:cubicBezTo>
                    <a:cubicBezTo>
                      <a:pt x="1521" y="239"/>
                      <a:pt x="1508" y="217"/>
                      <a:pt x="1495" y="196"/>
                    </a:cubicBezTo>
                    <a:cubicBezTo>
                      <a:pt x="1508" y="130"/>
                      <a:pt x="1508" y="130"/>
                      <a:pt x="1508" y="130"/>
                    </a:cubicBezTo>
                    <a:cubicBezTo>
                      <a:pt x="1470" y="87"/>
                      <a:pt x="1421" y="51"/>
                      <a:pt x="1369" y="28"/>
                    </a:cubicBezTo>
                    <a:cubicBezTo>
                      <a:pt x="1309" y="62"/>
                      <a:pt x="1309" y="62"/>
                      <a:pt x="1309" y="62"/>
                    </a:cubicBezTo>
                    <a:cubicBezTo>
                      <a:pt x="1266" y="48"/>
                      <a:pt x="1223" y="43"/>
                      <a:pt x="1178" y="47"/>
                    </a:cubicBezTo>
                    <a:cubicBezTo>
                      <a:pt x="1127" y="0"/>
                      <a:pt x="1127" y="0"/>
                      <a:pt x="1127" y="0"/>
                    </a:cubicBezTo>
                    <a:cubicBezTo>
                      <a:pt x="1099" y="6"/>
                      <a:pt x="1071" y="13"/>
                      <a:pt x="1043" y="26"/>
                    </a:cubicBezTo>
                    <a:cubicBezTo>
                      <a:pt x="1016" y="38"/>
                      <a:pt x="989" y="53"/>
                      <a:pt x="967" y="69"/>
                    </a:cubicBezTo>
                    <a:cubicBezTo>
                      <a:pt x="967" y="140"/>
                      <a:pt x="967" y="140"/>
                      <a:pt x="967" y="140"/>
                    </a:cubicBezTo>
                    <a:cubicBezTo>
                      <a:pt x="933" y="171"/>
                      <a:pt x="905" y="206"/>
                      <a:pt x="886" y="246"/>
                    </a:cubicBezTo>
                    <a:cubicBezTo>
                      <a:pt x="821" y="267"/>
                      <a:pt x="821" y="267"/>
                      <a:pt x="821" y="267"/>
                    </a:cubicBezTo>
                    <a:cubicBezTo>
                      <a:pt x="801" y="321"/>
                      <a:pt x="794" y="380"/>
                      <a:pt x="798" y="441"/>
                    </a:cubicBezTo>
                    <a:cubicBezTo>
                      <a:pt x="856" y="475"/>
                      <a:pt x="856" y="475"/>
                      <a:pt x="856" y="475"/>
                    </a:cubicBezTo>
                    <a:cubicBezTo>
                      <a:pt x="861" y="498"/>
                      <a:pt x="868" y="523"/>
                      <a:pt x="879" y="546"/>
                    </a:cubicBezTo>
                    <a:cubicBezTo>
                      <a:pt x="889" y="567"/>
                      <a:pt x="899" y="588"/>
                      <a:pt x="912" y="607"/>
                    </a:cubicBezTo>
                    <a:cubicBezTo>
                      <a:pt x="896" y="673"/>
                      <a:pt x="896" y="673"/>
                      <a:pt x="896" y="673"/>
                    </a:cubicBezTo>
                    <a:cubicBezTo>
                      <a:pt x="934" y="718"/>
                      <a:pt x="980" y="752"/>
                      <a:pt x="1031" y="777"/>
                    </a:cubicBezTo>
                    <a:cubicBezTo>
                      <a:pt x="1089" y="743"/>
                      <a:pt x="1089" y="743"/>
                      <a:pt x="1089" y="743"/>
                    </a:cubicBezTo>
                    <a:cubicBezTo>
                      <a:pt x="1136" y="760"/>
                      <a:pt x="1185" y="766"/>
                      <a:pt x="1236" y="762"/>
                    </a:cubicBezTo>
                    <a:cubicBezTo>
                      <a:pt x="1287" y="808"/>
                      <a:pt x="1287" y="808"/>
                      <a:pt x="1287" y="808"/>
                    </a:cubicBezTo>
                    <a:cubicBezTo>
                      <a:pt x="1312" y="802"/>
                      <a:pt x="1340" y="794"/>
                      <a:pt x="1366" y="783"/>
                    </a:cubicBezTo>
                    <a:cubicBezTo>
                      <a:pt x="1392" y="771"/>
                      <a:pt x="1416" y="757"/>
                      <a:pt x="1440" y="741"/>
                    </a:cubicBezTo>
                    <a:cubicBezTo>
                      <a:pt x="1440" y="673"/>
                      <a:pt x="1440" y="673"/>
                      <a:pt x="1440" y="673"/>
                    </a:cubicBezTo>
                    <a:cubicBezTo>
                      <a:pt x="1477" y="639"/>
                      <a:pt x="1507" y="597"/>
                      <a:pt x="1528" y="552"/>
                    </a:cubicBezTo>
                    <a:cubicBezTo>
                      <a:pt x="1591" y="532"/>
                      <a:pt x="1591" y="532"/>
                      <a:pt x="1591" y="532"/>
                    </a:cubicBezTo>
                    <a:cubicBezTo>
                      <a:pt x="1610" y="479"/>
                      <a:pt x="1616" y="420"/>
                      <a:pt x="1610" y="362"/>
                    </a:cubicBezTo>
                    <a:close/>
                    <a:moveTo>
                      <a:pt x="1276" y="569"/>
                    </a:moveTo>
                    <a:cubicBezTo>
                      <a:pt x="1185" y="610"/>
                      <a:pt x="1080" y="566"/>
                      <a:pt x="1041" y="475"/>
                    </a:cubicBezTo>
                    <a:cubicBezTo>
                      <a:pt x="1002" y="383"/>
                      <a:pt x="1043" y="278"/>
                      <a:pt x="1133" y="239"/>
                    </a:cubicBezTo>
                    <a:cubicBezTo>
                      <a:pt x="1224" y="199"/>
                      <a:pt x="1330" y="242"/>
                      <a:pt x="1367" y="333"/>
                    </a:cubicBezTo>
                    <a:cubicBezTo>
                      <a:pt x="1407" y="424"/>
                      <a:pt x="1366" y="531"/>
                      <a:pt x="1276" y="569"/>
                    </a:cubicBezTo>
                    <a:close/>
                    <a:moveTo>
                      <a:pt x="187" y="916"/>
                    </a:moveTo>
                    <a:cubicBezTo>
                      <a:pt x="84" y="916"/>
                      <a:pt x="0" y="832"/>
                      <a:pt x="0" y="729"/>
                    </a:cubicBezTo>
                    <a:cubicBezTo>
                      <a:pt x="0" y="625"/>
                      <a:pt x="84" y="541"/>
                      <a:pt x="187" y="541"/>
                    </a:cubicBezTo>
                    <a:cubicBezTo>
                      <a:pt x="291" y="541"/>
                      <a:pt x="375" y="625"/>
                      <a:pt x="375" y="729"/>
                    </a:cubicBezTo>
                    <a:cubicBezTo>
                      <a:pt x="375" y="832"/>
                      <a:pt x="291" y="916"/>
                      <a:pt x="187" y="916"/>
                    </a:cubicBezTo>
                    <a:close/>
                  </a:path>
                </a:pathLst>
              </a:custGeom>
              <a:solidFill>
                <a:srgbClr val="6E6F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 name="Freeform 26">
                <a:extLst>
                  <a:ext uri="{FF2B5EF4-FFF2-40B4-BE49-F238E27FC236}">
                    <a16:creationId xmlns:a16="http://schemas.microsoft.com/office/drawing/2014/main" id="{E2588303-321C-498F-B014-B990AEEA72D5}"/>
                  </a:ext>
                </a:extLst>
              </p:cNvPr>
              <p:cNvSpPr>
                <a:spLocks noEditPoints="1"/>
              </p:cNvSpPr>
              <p:nvPr/>
            </p:nvSpPr>
            <p:spPr bwMode="auto">
              <a:xfrm>
                <a:off x="5343905" y="2961132"/>
                <a:ext cx="971931" cy="962787"/>
              </a:xfrm>
              <a:custGeom>
                <a:avLst/>
                <a:gdLst>
                  <a:gd name="T0" fmla="*/ 638 w 1362"/>
                  <a:gd name="T1" fmla="*/ 1242 h 1348"/>
                  <a:gd name="T2" fmla="*/ 448 w 1362"/>
                  <a:gd name="T3" fmla="*/ 1319 h 1348"/>
                  <a:gd name="T4" fmla="*/ 352 w 1362"/>
                  <a:gd name="T5" fmla="*/ 1146 h 1348"/>
                  <a:gd name="T6" fmla="*/ 141 w 1362"/>
                  <a:gd name="T7" fmla="*/ 1095 h 1348"/>
                  <a:gd name="T8" fmla="*/ 46 w 1362"/>
                  <a:gd name="T9" fmla="*/ 928 h 1348"/>
                  <a:gd name="T10" fmla="*/ 0 w 1362"/>
                  <a:gd name="T11" fmla="*/ 664 h 1348"/>
                  <a:gd name="T12" fmla="*/ 32 w 1362"/>
                  <a:gd name="T13" fmla="*/ 474 h 1348"/>
                  <a:gd name="T14" fmla="*/ 212 w 1362"/>
                  <a:gd name="T15" fmla="*/ 351 h 1348"/>
                  <a:gd name="T16" fmla="*/ 244 w 1362"/>
                  <a:gd name="T17" fmla="*/ 159 h 1348"/>
                  <a:gd name="T18" fmla="*/ 451 w 1362"/>
                  <a:gd name="T19" fmla="*/ 167 h 1348"/>
                  <a:gd name="T20" fmla="*/ 592 w 1362"/>
                  <a:gd name="T21" fmla="*/ 5 h 1348"/>
                  <a:gd name="T22" fmla="*/ 784 w 1362"/>
                  <a:gd name="T23" fmla="*/ 6 h 1348"/>
                  <a:gd name="T24" fmla="*/ 1036 w 1362"/>
                  <a:gd name="T25" fmla="*/ 98 h 1348"/>
                  <a:gd name="T26" fmla="*/ 1184 w 1362"/>
                  <a:gd name="T27" fmla="*/ 220 h 1348"/>
                  <a:gd name="T28" fmla="*/ 1206 w 1362"/>
                  <a:gd name="T29" fmla="*/ 440 h 1348"/>
                  <a:gd name="T30" fmla="*/ 1351 w 1362"/>
                  <a:gd name="T31" fmla="*/ 562 h 1348"/>
                  <a:gd name="T32" fmla="*/ 1262 w 1362"/>
                  <a:gd name="T33" fmla="*/ 724 h 1348"/>
                  <a:gd name="T34" fmla="*/ 1310 w 1362"/>
                  <a:gd name="T35" fmla="*/ 940 h 1348"/>
                  <a:gd name="T36" fmla="*/ 1213 w 1362"/>
                  <a:gd name="T37" fmla="*/ 1106 h 1348"/>
                  <a:gd name="T38" fmla="*/ 1008 w 1362"/>
                  <a:gd name="T39" fmla="*/ 1278 h 1348"/>
                  <a:gd name="T40" fmla="*/ 828 w 1362"/>
                  <a:gd name="T41" fmla="*/ 1345 h 1348"/>
                  <a:gd name="T42" fmla="*/ 830 w 1362"/>
                  <a:gd name="T43" fmla="*/ 1299 h 1348"/>
                  <a:gd name="T44" fmla="*/ 965 w 1362"/>
                  <a:gd name="T45" fmla="*/ 1122 h 1348"/>
                  <a:gd name="T46" fmla="*/ 1072 w 1362"/>
                  <a:gd name="T47" fmla="*/ 1038 h 1348"/>
                  <a:gd name="T48" fmla="*/ 1264 w 1362"/>
                  <a:gd name="T49" fmla="*/ 935 h 1348"/>
                  <a:gd name="T50" fmla="*/ 1219 w 1362"/>
                  <a:gd name="T51" fmla="*/ 710 h 1348"/>
                  <a:gd name="T52" fmla="*/ 1308 w 1362"/>
                  <a:gd name="T53" fmla="*/ 570 h 1348"/>
                  <a:gd name="T54" fmla="*/ 1171 w 1362"/>
                  <a:gd name="T55" fmla="*/ 469 h 1348"/>
                  <a:gd name="T56" fmla="*/ 1142 w 1362"/>
                  <a:gd name="T57" fmla="*/ 241 h 1348"/>
                  <a:gd name="T58" fmla="*/ 915 w 1362"/>
                  <a:gd name="T59" fmla="*/ 217 h 1348"/>
                  <a:gd name="T60" fmla="*/ 802 w 1362"/>
                  <a:gd name="T61" fmla="*/ 179 h 1348"/>
                  <a:gd name="T62" fmla="*/ 610 w 1362"/>
                  <a:gd name="T63" fmla="*/ 47 h 1348"/>
                  <a:gd name="T64" fmla="*/ 458 w 1362"/>
                  <a:gd name="T65" fmla="*/ 212 h 1348"/>
                  <a:gd name="T66" fmla="*/ 272 w 1362"/>
                  <a:gd name="T67" fmla="*/ 192 h 1348"/>
                  <a:gd name="T68" fmla="*/ 254 w 1362"/>
                  <a:gd name="T69" fmla="*/ 369 h 1348"/>
                  <a:gd name="T70" fmla="*/ 70 w 1362"/>
                  <a:gd name="T71" fmla="*/ 500 h 1348"/>
                  <a:gd name="T72" fmla="*/ 143 w 1362"/>
                  <a:gd name="T73" fmla="*/ 698 h 1348"/>
                  <a:gd name="T74" fmla="*/ 170 w 1362"/>
                  <a:gd name="T75" fmla="*/ 846 h 1348"/>
                  <a:gd name="T76" fmla="*/ 168 w 1362"/>
                  <a:gd name="T77" fmla="*/ 1058 h 1348"/>
                  <a:gd name="T78" fmla="*/ 386 w 1362"/>
                  <a:gd name="T79" fmla="*/ 1115 h 1348"/>
                  <a:gd name="T80" fmla="*/ 463 w 1362"/>
                  <a:gd name="T81" fmla="*/ 1278 h 1348"/>
                  <a:gd name="T82" fmla="*/ 630 w 1362"/>
                  <a:gd name="T83" fmla="*/ 1198 h 1348"/>
                  <a:gd name="T84" fmla="*/ 742 w 1362"/>
                  <a:gd name="T85" fmla="*/ 1197 h 1348"/>
                  <a:gd name="T86" fmla="*/ 681 w 1362"/>
                  <a:gd name="T87" fmla="*/ 257 h 1348"/>
                  <a:gd name="T88" fmla="*/ 681 w 1362"/>
                  <a:gd name="T89" fmla="*/ 301 h 1348"/>
                  <a:gd name="T90" fmla="*/ 1063 w 1362"/>
                  <a:gd name="T91" fmla="*/ 683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2" h="1348">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moveTo>
                      <a:pt x="681" y="1108"/>
                    </a:moveTo>
                    <a:cubicBezTo>
                      <a:pt x="447" y="1108"/>
                      <a:pt x="256" y="917"/>
                      <a:pt x="256" y="683"/>
                    </a:cubicBezTo>
                    <a:cubicBezTo>
                      <a:pt x="256" y="448"/>
                      <a:pt x="447" y="257"/>
                      <a:pt x="681" y="257"/>
                    </a:cubicBezTo>
                    <a:cubicBezTo>
                      <a:pt x="916" y="257"/>
                      <a:pt x="1107" y="448"/>
                      <a:pt x="1107" y="683"/>
                    </a:cubicBezTo>
                    <a:cubicBezTo>
                      <a:pt x="1107" y="917"/>
                      <a:pt x="916" y="1108"/>
                      <a:pt x="681" y="1108"/>
                    </a:cubicBezTo>
                    <a:close/>
                    <a:moveTo>
                      <a:pt x="681" y="301"/>
                    </a:moveTo>
                    <a:cubicBezTo>
                      <a:pt x="471" y="301"/>
                      <a:pt x="300" y="473"/>
                      <a:pt x="300" y="683"/>
                    </a:cubicBezTo>
                    <a:cubicBezTo>
                      <a:pt x="300" y="893"/>
                      <a:pt x="471" y="1064"/>
                      <a:pt x="681" y="1064"/>
                    </a:cubicBezTo>
                    <a:cubicBezTo>
                      <a:pt x="892" y="1064"/>
                      <a:pt x="1063" y="893"/>
                      <a:pt x="1063" y="683"/>
                    </a:cubicBezTo>
                    <a:cubicBezTo>
                      <a:pt x="1063" y="473"/>
                      <a:pt x="892" y="301"/>
                      <a:pt x="681" y="301"/>
                    </a:cubicBezTo>
                    <a:close/>
                  </a:path>
                </a:pathLst>
              </a:custGeom>
              <a:solidFill>
                <a:srgbClr val="6E6F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03" name="Group 102"/>
          <p:cNvGrpSpPr>
            <a:grpSpLocks noChangeAspect="1"/>
          </p:cNvGrpSpPr>
          <p:nvPr/>
        </p:nvGrpSpPr>
        <p:grpSpPr>
          <a:xfrm>
            <a:off x="1045921" y="4484334"/>
            <a:ext cx="235948" cy="235948"/>
            <a:chOff x="5273675" y="2606675"/>
            <a:chExt cx="1644650" cy="1644650"/>
          </a:xfrm>
        </p:grpSpPr>
        <p:sp>
          <p:nvSpPr>
            <p:cNvPr id="104" name="AutoShape 14"/>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05" name="Group 104"/>
            <p:cNvGrpSpPr/>
            <p:nvPr/>
          </p:nvGrpSpPr>
          <p:grpSpPr>
            <a:xfrm>
              <a:off x="5532438" y="2775664"/>
              <a:ext cx="1125538" cy="1305799"/>
              <a:chOff x="5532438" y="2775664"/>
              <a:chExt cx="1125538" cy="1305799"/>
            </a:xfrm>
          </p:grpSpPr>
          <p:sp>
            <p:nvSpPr>
              <p:cNvPr id="106" name="Freeform 105"/>
              <p:cNvSpPr>
                <a:spLocks/>
              </p:cNvSpPr>
              <p:nvPr/>
            </p:nvSpPr>
            <p:spPr bwMode="auto">
              <a:xfrm>
                <a:off x="5532438" y="2775664"/>
                <a:ext cx="1125538" cy="1305799"/>
              </a:xfrm>
              <a:custGeom>
                <a:avLst/>
                <a:gdLst>
                  <a:gd name="connsiteX0" fmla="*/ 562769 w 1125538"/>
                  <a:gd name="connsiteY0" fmla="*/ 1058149 h 1305799"/>
                  <a:gd name="connsiteX1" fmla="*/ 469900 w 1125538"/>
                  <a:gd name="connsiteY1" fmla="*/ 1111013 h 1305799"/>
                  <a:gd name="connsiteX2" fmla="*/ 469900 w 1125538"/>
                  <a:gd name="connsiteY2" fmla="*/ 1218884 h 1305799"/>
                  <a:gd name="connsiteX3" fmla="*/ 562769 w 1125538"/>
                  <a:gd name="connsiteY3" fmla="*/ 1272462 h 1305799"/>
                  <a:gd name="connsiteX4" fmla="*/ 655638 w 1125538"/>
                  <a:gd name="connsiteY4" fmla="*/ 1218884 h 1305799"/>
                  <a:gd name="connsiteX5" fmla="*/ 655638 w 1125538"/>
                  <a:gd name="connsiteY5" fmla="*/ 1111013 h 1305799"/>
                  <a:gd name="connsiteX6" fmla="*/ 562769 w 1125538"/>
                  <a:gd name="connsiteY6" fmla="*/ 1058149 h 1305799"/>
                  <a:gd name="connsiteX7" fmla="*/ 1002148 w 1125538"/>
                  <a:gd name="connsiteY7" fmla="*/ 800974 h 1305799"/>
                  <a:gd name="connsiteX8" fmla="*/ 909637 w 1125538"/>
                  <a:gd name="connsiteY8" fmla="*/ 854374 h 1305799"/>
                  <a:gd name="connsiteX9" fmla="*/ 909637 w 1125538"/>
                  <a:gd name="connsiteY9" fmla="*/ 961887 h 1305799"/>
                  <a:gd name="connsiteX10" fmla="*/ 1002148 w 1125538"/>
                  <a:gd name="connsiteY10" fmla="*/ 1015287 h 1305799"/>
                  <a:gd name="connsiteX11" fmla="*/ 1095375 w 1125538"/>
                  <a:gd name="connsiteY11" fmla="*/ 961887 h 1305799"/>
                  <a:gd name="connsiteX12" fmla="*/ 1095375 w 1125538"/>
                  <a:gd name="connsiteY12" fmla="*/ 854374 h 1305799"/>
                  <a:gd name="connsiteX13" fmla="*/ 1002148 w 1125538"/>
                  <a:gd name="connsiteY13" fmla="*/ 800974 h 1305799"/>
                  <a:gd name="connsiteX14" fmla="*/ 124180 w 1125538"/>
                  <a:gd name="connsiteY14" fmla="*/ 800974 h 1305799"/>
                  <a:gd name="connsiteX15" fmla="*/ 31750 w 1125538"/>
                  <a:gd name="connsiteY15" fmla="*/ 854374 h 1305799"/>
                  <a:gd name="connsiteX16" fmla="*/ 31750 w 1125538"/>
                  <a:gd name="connsiteY16" fmla="*/ 961887 h 1305799"/>
                  <a:gd name="connsiteX17" fmla="*/ 124180 w 1125538"/>
                  <a:gd name="connsiteY17" fmla="*/ 1015287 h 1305799"/>
                  <a:gd name="connsiteX18" fmla="*/ 215900 w 1125538"/>
                  <a:gd name="connsiteY18" fmla="*/ 961887 h 1305799"/>
                  <a:gd name="connsiteX19" fmla="*/ 215900 w 1125538"/>
                  <a:gd name="connsiteY19" fmla="*/ 854374 h 1305799"/>
                  <a:gd name="connsiteX20" fmla="*/ 124180 w 1125538"/>
                  <a:gd name="connsiteY20" fmla="*/ 800974 h 1305799"/>
                  <a:gd name="connsiteX21" fmla="*/ 561975 w 1125538"/>
                  <a:gd name="connsiteY21" fmla="*/ 427911 h 1305799"/>
                  <a:gd name="connsiteX22" fmla="*/ 365125 w 1125538"/>
                  <a:gd name="connsiteY22" fmla="*/ 540446 h 1305799"/>
                  <a:gd name="connsiteX23" fmla="*/ 365125 w 1125538"/>
                  <a:gd name="connsiteY23" fmla="*/ 766227 h 1305799"/>
                  <a:gd name="connsiteX24" fmla="*/ 561975 w 1125538"/>
                  <a:gd name="connsiteY24" fmla="*/ 878761 h 1305799"/>
                  <a:gd name="connsiteX25" fmla="*/ 758825 w 1125538"/>
                  <a:gd name="connsiteY25" fmla="*/ 766227 h 1305799"/>
                  <a:gd name="connsiteX26" fmla="*/ 758825 w 1125538"/>
                  <a:gd name="connsiteY26" fmla="*/ 540446 h 1305799"/>
                  <a:gd name="connsiteX27" fmla="*/ 561975 w 1125538"/>
                  <a:gd name="connsiteY27" fmla="*/ 427911 h 1305799"/>
                  <a:gd name="connsiteX28" fmla="*/ 1002148 w 1125538"/>
                  <a:gd name="connsiteY28" fmla="*/ 289799 h 1305799"/>
                  <a:gd name="connsiteX29" fmla="*/ 909637 w 1125538"/>
                  <a:gd name="connsiteY29" fmla="*/ 343595 h 1305799"/>
                  <a:gd name="connsiteX30" fmla="*/ 909637 w 1125538"/>
                  <a:gd name="connsiteY30" fmla="*/ 451903 h 1305799"/>
                  <a:gd name="connsiteX31" fmla="*/ 1002148 w 1125538"/>
                  <a:gd name="connsiteY31" fmla="*/ 505699 h 1305799"/>
                  <a:gd name="connsiteX32" fmla="*/ 1095375 w 1125538"/>
                  <a:gd name="connsiteY32" fmla="*/ 451903 h 1305799"/>
                  <a:gd name="connsiteX33" fmla="*/ 1095375 w 1125538"/>
                  <a:gd name="connsiteY33" fmla="*/ 343595 h 1305799"/>
                  <a:gd name="connsiteX34" fmla="*/ 1002148 w 1125538"/>
                  <a:gd name="connsiteY34" fmla="*/ 289799 h 1305799"/>
                  <a:gd name="connsiteX35" fmla="*/ 124180 w 1125538"/>
                  <a:gd name="connsiteY35" fmla="*/ 289799 h 1305799"/>
                  <a:gd name="connsiteX36" fmla="*/ 31750 w 1125538"/>
                  <a:gd name="connsiteY36" fmla="*/ 343595 h 1305799"/>
                  <a:gd name="connsiteX37" fmla="*/ 31750 w 1125538"/>
                  <a:gd name="connsiteY37" fmla="*/ 451903 h 1305799"/>
                  <a:gd name="connsiteX38" fmla="*/ 124180 w 1125538"/>
                  <a:gd name="connsiteY38" fmla="*/ 505699 h 1305799"/>
                  <a:gd name="connsiteX39" fmla="*/ 215900 w 1125538"/>
                  <a:gd name="connsiteY39" fmla="*/ 451903 h 1305799"/>
                  <a:gd name="connsiteX40" fmla="*/ 215900 w 1125538"/>
                  <a:gd name="connsiteY40" fmla="*/ 343595 h 1305799"/>
                  <a:gd name="connsiteX41" fmla="*/ 124180 w 1125538"/>
                  <a:gd name="connsiteY41" fmla="*/ 289799 h 1305799"/>
                  <a:gd name="connsiteX42" fmla="*/ 562769 w 1125538"/>
                  <a:gd name="connsiteY42" fmla="*/ 34211 h 1305799"/>
                  <a:gd name="connsiteX43" fmla="*/ 469900 w 1125538"/>
                  <a:gd name="connsiteY43" fmla="*/ 87075 h 1305799"/>
                  <a:gd name="connsiteX44" fmla="*/ 469900 w 1125538"/>
                  <a:gd name="connsiteY44" fmla="*/ 194946 h 1305799"/>
                  <a:gd name="connsiteX45" fmla="*/ 562769 w 1125538"/>
                  <a:gd name="connsiteY45" fmla="*/ 248524 h 1305799"/>
                  <a:gd name="connsiteX46" fmla="*/ 655638 w 1125538"/>
                  <a:gd name="connsiteY46" fmla="*/ 194946 h 1305799"/>
                  <a:gd name="connsiteX47" fmla="*/ 655638 w 1125538"/>
                  <a:gd name="connsiteY47" fmla="*/ 87075 h 1305799"/>
                  <a:gd name="connsiteX48" fmla="*/ 562769 w 1125538"/>
                  <a:gd name="connsiteY48" fmla="*/ 34211 h 1305799"/>
                  <a:gd name="connsiteX49" fmla="*/ 554210 w 1125538"/>
                  <a:gd name="connsiteY49" fmla="*/ 2142 h 1305799"/>
                  <a:gd name="connsiteX50" fmla="*/ 569902 w 1125538"/>
                  <a:gd name="connsiteY50" fmla="*/ 2142 h 1305799"/>
                  <a:gd name="connsiteX51" fmla="*/ 678319 w 1125538"/>
                  <a:gd name="connsiteY51" fmla="*/ 64969 h 1305799"/>
                  <a:gd name="connsiteX52" fmla="*/ 686165 w 1125538"/>
                  <a:gd name="connsiteY52" fmla="*/ 78534 h 1305799"/>
                  <a:gd name="connsiteX53" fmla="*/ 686165 w 1125538"/>
                  <a:gd name="connsiteY53" fmla="*/ 202759 h 1305799"/>
                  <a:gd name="connsiteX54" fmla="*/ 678319 w 1125538"/>
                  <a:gd name="connsiteY54" fmla="*/ 216324 h 1305799"/>
                  <a:gd name="connsiteX55" fmla="*/ 577748 w 1125538"/>
                  <a:gd name="connsiteY55" fmla="*/ 274868 h 1305799"/>
                  <a:gd name="connsiteX56" fmla="*/ 577748 w 1125538"/>
                  <a:gd name="connsiteY56" fmla="*/ 399807 h 1305799"/>
                  <a:gd name="connsiteX57" fmla="*/ 773897 w 1125538"/>
                  <a:gd name="connsiteY57" fmla="*/ 512610 h 1305799"/>
                  <a:gd name="connsiteX58" fmla="*/ 878034 w 1125538"/>
                  <a:gd name="connsiteY58" fmla="*/ 451211 h 1305799"/>
                  <a:gd name="connsiteX59" fmla="*/ 878034 w 1125538"/>
                  <a:gd name="connsiteY59" fmla="*/ 334839 h 1305799"/>
                  <a:gd name="connsiteX60" fmla="*/ 885880 w 1125538"/>
                  <a:gd name="connsiteY60" fmla="*/ 321274 h 1305799"/>
                  <a:gd name="connsiteX61" fmla="*/ 993584 w 1125538"/>
                  <a:gd name="connsiteY61" fmla="*/ 258447 h 1305799"/>
                  <a:gd name="connsiteX62" fmla="*/ 1009275 w 1125538"/>
                  <a:gd name="connsiteY62" fmla="*/ 258447 h 1305799"/>
                  <a:gd name="connsiteX63" fmla="*/ 1117692 w 1125538"/>
                  <a:gd name="connsiteY63" fmla="*/ 321274 h 1305799"/>
                  <a:gd name="connsiteX64" fmla="*/ 1125538 w 1125538"/>
                  <a:gd name="connsiteY64" fmla="*/ 334839 h 1305799"/>
                  <a:gd name="connsiteX65" fmla="*/ 1125538 w 1125538"/>
                  <a:gd name="connsiteY65" fmla="*/ 459778 h 1305799"/>
                  <a:gd name="connsiteX66" fmla="*/ 1117692 w 1125538"/>
                  <a:gd name="connsiteY66" fmla="*/ 473343 h 1305799"/>
                  <a:gd name="connsiteX67" fmla="*/ 1009275 w 1125538"/>
                  <a:gd name="connsiteY67" fmla="*/ 536170 h 1305799"/>
                  <a:gd name="connsiteX68" fmla="*/ 1001429 w 1125538"/>
                  <a:gd name="connsiteY68" fmla="*/ 538312 h 1305799"/>
                  <a:gd name="connsiteX69" fmla="*/ 993584 w 1125538"/>
                  <a:gd name="connsiteY69" fmla="*/ 536170 h 1305799"/>
                  <a:gd name="connsiteX70" fmla="*/ 893726 w 1125538"/>
                  <a:gd name="connsiteY70" fmla="*/ 478341 h 1305799"/>
                  <a:gd name="connsiteX71" fmla="*/ 789589 w 1125538"/>
                  <a:gd name="connsiteY71" fmla="*/ 539740 h 1305799"/>
                  <a:gd name="connsiteX72" fmla="*/ 789589 w 1125538"/>
                  <a:gd name="connsiteY72" fmla="*/ 766059 h 1305799"/>
                  <a:gd name="connsiteX73" fmla="*/ 893726 w 1125538"/>
                  <a:gd name="connsiteY73" fmla="*/ 827458 h 1305799"/>
                  <a:gd name="connsiteX74" fmla="*/ 993584 w 1125538"/>
                  <a:gd name="connsiteY74" fmla="*/ 769629 h 1305799"/>
                  <a:gd name="connsiteX75" fmla="*/ 1009275 w 1125538"/>
                  <a:gd name="connsiteY75" fmla="*/ 769629 h 1305799"/>
                  <a:gd name="connsiteX76" fmla="*/ 1117692 w 1125538"/>
                  <a:gd name="connsiteY76" fmla="*/ 832456 h 1305799"/>
                  <a:gd name="connsiteX77" fmla="*/ 1125538 w 1125538"/>
                  <a:gd name="connsiteY77" fmla="*/ 846021 h 1305799"/>
                  <a:gd name="connsiteX78" fmla="*/ 1125538 w 1125538"/>
                  <a:gd name="connsiteY78" fmla="*/ 970961 h 1305799"/>
                  <a:gd name="connsiteX79" fmla="*/ 1117692 w 1125538"/>
                  <a:gd name="connsiteY79" fmla="*/ 984525 h 1305799"/>
                  <a:gd name="connsiteX80" fmla="*/ 1009275 w 1125538"/>
                  <a:gd name="connsiteY80" fmla="*/ 1047352 h 1305799"/>
                  <a:gd name="connsiteX81" fmla="*/ 1001429 w 1125538"/>
                  <a:gd name="connsiteY81" fmla="*/ 1049494 h 1305799"/>
                  <a:gd name="connsiteX82" fmla="*/ 993584 w 1125538"/>
                  <a:gd name="connsiteY82" fmla="*/ 1047352 h 1305799"/>
                  <a:gd name="connsiteX83" fmla="*/ 885880 w 1125538"/>
                  <a:gd name="connsiteY83" fmla="*/ 984525 h 1305799"/>
                  <a:gd name="connsiteX84" fmla="*/ 878034 w 1125538"/>
                  <a:gd name="connsiteY84" fmla="*/ 970961 h 1305799"/>
                  <a:gd name="connsiteX85" fmla="*/ 878034 w 1125538"/>
                  <a:gd name="connsiteY85" fmla="*/ 854588 h 1305799"/>
                  <a:gd name="connsiteX86" fmla="*/ 773897 w 1125538"/>
                  <a:gd name="connsiteY86" fmla="*/ 793189 h 1305799"/>
                  <a:gd name="connsiteX87" fmla="*/ 577748 w 1125538"/>
                  <a:gd name="connsiteY87" fmla="*/ 905992 h 1305799"/>
                  <a:gd name="connsiteX88" fmla="*/ 577748 w 1125538"/>
                  <a:gd name="connsiteY88" fmla="*/ 1030932 h 1305799"/>
                  <a:gd name="connsiteX89" fmla="*/ 678319 w 1125538"/>
                  <a:gd name="connsiteY89" fmla="*/ 1088761 h 1305799"/>
                  <a:gd name="connsiteX90" fmla="*/ 686165 w 1125538"/>
                  <a:gd name="connsiteY90" fmla="*/ 1102326 h 1305799"/>
                  <a:gd name="connsiteX91" fmla="*/ 686165 w 1125538"/>
                  <a:gd name="connsiteY91" fmla="*/ 1227266 h 1305799"/>
                  <a:gd name="connsiteX92" fmla="*/ 678319 w 1125538"/>
                  <a:gd name="connsiteY92" fmla="*/ 1240831 h 1305799"/>
                  <a:gd name="connsiteX93" fmla="*/ 569902 w 1125538"/>
                  <a:gd name="connsiteY93" fmla="*/ 1303657 h 1305799"/>
                  <a:gd name="connsiteX94" fmla="*/ 562056 w 1125538"/>
                  <a:gd name="connsiteY94" fmla="*/ 1305799 h 1305799"/>
                  <a:gd name="connsiteX95" fmla="*/ 554210 w 1125538"/>
                  <a:gd name="connsiteY95" fmla="*/ 1303657 h 1305799"/>
                  <a:gd name="connsiteX96" fmla="*/ 445793 w 1125538"/>
                  <a:gd name="connsiteY96" fmla="*/ 1240831 h 1305799"/>
                  <a:gd name="connsiteX97" fmla="*/ 437947 w 1125538"/>
                  <a:gd name="connsiteY97" fmla="*/ 1227266 h 1305799"/>
                  <a:gd name="connsiteX98" fmla="*/ 437947 w 1125538"/>
                  <a:gd name="connsiteY98" fmla="*/ 1102326 h 1305799"/>
                  <a:gd name="connsiteX99" fmla="*/ 445793 w 1125538"/>
                  <a:gd name="connsiteY99" fmla="*/ 1088761 h 1305799"/>
                  <a:gd name="connsiteX100" fmla="*/ 546364 w 1125538"/>
                  <a:gd name="connsiteY100" fmla="*/ 1030932 h 1305799"/>
                  <a:gd name="connsiteX101" fmla="*/ 546364 w 1125538"/>
                  <a:gd name="connsiteY101" fmla="*/ 905992 h 1305799"/>
                  <a:gd name="connsiteX102" fmla="*/ 350215 w 1125538"/>
                  <a:gd name="connsiteY102" fmla="*/ 793189 h 1305799"/>
                  <a:gd name="connsiteX103" fmla="*/ 247504 w 1125538"/>
                  <a:gd name="connsiteY103" fmla="*/ 854588 h 1305799"/>
                  <a:gd name="connsiteX104" fmla="*/ 247504 w 1125538"/>
                  <a:gd name="connsiteY104" fmla="*/ 970961 h 1305799"/>
                  <a:gd name="connsiteX105" fmla="*/ 239659 w 1125538"/>
                  <a:gd name="connsiteY105" fmla="*/ 984525 h 1305799"/>
                  <a:gd name="connsiteX106" fmla="*/ 131955 w 1125538"/>
                  <a:gd name="connsiteY106" fmla="*/ 1047352 h 1305799"/>
                  <a:gd name="connsiteX107" fmla="*/ 124109 w 1125538"/>
                  <a:gd name="connsiteY107" fmla="*/ 1049494 h 1305799"/>
                  <a:gd name="connsiteX108" fmla="*/ 116263 w 1125538"/>
                  <a:gd name="connsiteY108" fmla="*/ 1047352 h 1305799"/>
                  <a:gd name="connsiteX109" fmla="*/ 7846 w 1125538"/>
                  <a:gd name="connsiteY109" fmla="*/ 984525 h 1305799"/>
                  <a:gd name="connsiteX110" fmla="*/ 0 w 1125538"/>
                  <a:gd name="connsiteY110" fmla="*/ 970961 h 1305799"/>
                  <a:gd name="connsiteX111" fmla="*/ 0 w 1125538"/>
                  <a:gd name="connsiteY111" fmla="*/ 846021 h 1305799"/>
                  <a:gd name="connsiteX112" fmla="*/ 7846 w 1125538"/>
                  <a:gd name="connsiteY112" fmla="*/ 832456 h 1305799"/>
                  <a:gd name="connsiteX113" fmla="*/ 116263 w 1125538"/>
                  <a:gd name="connsiteY113" fmla="*/ 769629 h 1305799"/>
                  <a:gd name="connsiteX114" fmla="*/ 131955 w 1125538"/>
                  <a:gd name="connsiteY114" fmla="*/ 769629 h 1305799"/>
                  <a:gd name="connsiteX115" fmla="*/ 231813 w 1125538"/>
                  <a:gd name="connsiteY115" fmla="*/ 827458 h 1305799"/>
                  <a:gd name="connsiteX116" fmla="*/ 334523 w 1125538"/>
                  <a:gd name="connsiteY116" fmla="*/ 766059 h 1305799"/>
                  <a:gd name="connsiteX117" fmla="*/ 334523 w 1125538"/>
                  <a:gd name="connsiteY117" fmla="*/ 539740 h 1305799"/>
                  <a:gd name="connsiteX118" fmla="*/ 231813 w 1125538"/>
                  <a:gd name="connsiteY118" fmla="*/ 478341 h 1305799"/>
                  <a:gd name="connsiteX119" fmla="*/ 131955 w 1125538"/>
                  <a:gd name="connsiteY119" fmla="*/ 536170 h 1305799"/>
                  <a:gd name="connsiteX120" fmla="*/ 124109 w 1125538"/>
                  <a:gd name="connsiteY120" fmla="*/ 538312 h 1305799"/>
                  <a:gd name="connsiteX121" fmla="*/ 116263 w 1125538"/>
                  <a:gd name="connsiteY121" fmla="*/ 536170 h 1305799"/>
                  <a:gd name="connsiteX122" fmla="*/ 7846 w 1125538"/>
                  <a:gd name="connsiteY122" fmla="*/ 473343 h 1305799"/>
                  <a:gd name="connsiteX123" fmla="*/ 0 w 1125538"/>
                  <a:gd name="connsiteY123" fmla="*/ 459778 h 1305799"/>
                  <a:gd name="connsiteX124" fmla="*/ 0 w 1125538"/>
                  <a:gd name="connsiteY124" fmla="*/ 334839 h 1305799"/>
                  <a:gd name="connsiteX125" fmla="*/ 7846 w 1125538"/>
                  <a:gd name="connsiteY125" fmla="*/ 321274 h 1305799"/>
                  <a:gd name="connsiteX126" fmla="*/ 116263 w 1125538"/>
                  <a:gd name="connsiteY126" fmla="*/ 258447 h 1305799"/>
                  <a:gd name="connsiteX127" fmla="*/ 131955 w 1125538"/>
                  <a:gd name="connsiteY127" fmla="*/ 258447 h 1305799"/>
                  <a:gd name="connsiteX128" fmla="*/ 239659 w 1125538"/>
                  <a:gd name="connsiteY128" fmla="*/ 321274 h 1305799"/>
                  <a:gd name="connsiteX129" fmla="*/ 247504 w 1125538"/>
                  <a:gd name="connsiteY129" fmla="*/ 334839 h 1305799"/>
                  <a:gd name="connsiteX130" fmla="*/ 247504 w 1125538"/>
                  <a:gd name="connsiteY130" fmla="*/ 451211 h 1305799"/>
                  <a:gd name="connsiteX131" fmla="*/ 350215 w 1125538"/>
                  <a:gd name="connsiteY131" fmla="*/ 512610 h 1305799"/>
                  <a:gd name="connsiteX132" fmla="*/ 546364 w 1125538"/>
                  <a:gd name="connsiteY132" fmla="*/ 399807 h 1305799"/>
                  <a:gd name="connsiteX133" fmla="*/ 546364 w 1125538"/>
                  <a:gd name="connsiteY133" fmla="*/ 274868 h 1305799"/>
                  <a:gd name="connsiteX134" fmla="*/ 445793 w 1125538"/>
                  <a:gd name="connsiteY134" fmla="*/ 216324 h 1305799"/>
                  <a:gd name="connsiteX135" fmla="*/ 437947 w 1125538"/>
                  <a:gd name="connsiteY135" fmla="*/ 202759 h 1305799"/>
                  <a:gd name="connsiteX136" fmla="*/ 437947 w 1125538"/>
                  <a:gd name="connsiteY136" fmla="*/ 78534 h 1305799"/>
                  <a:gd name="connsiteX137" fmla="*/ 445793 w 1125538"/>
                  <a:gd name="connsiteY137" fmla="*/ 64969 h 1305799"/>
                  <a:gd name="connsiteX138" fmla="*/ 554210 w 1125538"/>
                  <a:gd name="connsiteY138" fmla="*/ 2142 h 1305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Lst>
                <a:rect l="l" t="t" r="r" b="b"/>
                <a:pathLst>
                  <a:path w="1125538" h="1305799">
                    <a:moveTo>
                      <a:pt x="562769" y="1058149"/>
                    </a:moveTo>
                    <a:cubicBezTo>
                      <a:pt x="562769" y="1058149"/>
                      <a:pt x="562769" y="1058149"/>
                      <a:pt x="469900" y="1111013"/>
                    </a:cubicBezTo>
                    <a:cubicBezTo>
                      <a:pt x="469900" y="1111013"/>
                      <a:pt x="469900" y="1111013"/>
                      <a:pt x="469900" y="1218884"/>
                    </a:cubicBezTo>
                    <a:cubicBezTo>
                      <a:pt x="469900" y="1218884"/>
                      <a:pt x="469900" y="1218884"/>
                      <a:pt x="562769" y="1272462"/>
                    </a:cubicBezTo>
                    <a:cubicBezTo>
                      <a:pt x="562769" y="1272462"/>
                      <a:pt x="562769" y="1272462"/>
                      <a:pt x="655638" y="1218884"/>
                    </a:cubicBezTo>
                    <a:cubicBezTo>
                      <a:pt x="655638" y="1218884"/>
                      <a:pt x="655638" y="1218884"/>
                      <a:pt x="655638" y="1111013"/>
                    </a:cubicBezTo>
                    <a:cubicBezTo>
                      <a:pt x="655638" y="1111013"/>
                      <a:pt x="655638" y="1111013"/>
                      <a:pt x="562769" y="1058149"/>
                    </a:cubicBezTo>
                    <a:close/>
                    <a:moveTo>
                      <a:pt x="1002148" y="800974"/>
                    </a:moveTo>
                    <a:cubicBezTo>
                      <a:pt x="1002148" y="800974"/>
                      <a:pt x="1002148" y="800974"/>
                      <a:pt x="909637" y="854374"/>
                    </a:cubicBezTo>
                    <a:cubicBezTo>
                      <a:pt x="909637" y="854374"/>
                      <a:pt x="909637" y="854374"/>
                      <a:pt x="909637" y="961887"/>
                    </a:cubicBezTo>
                    <a:cubicBezTo>
                      <a:pt x="909637" y="961887"/>
                      <a:pt x="909637" y="961887"/>
                      <a:pt x="1002148" y="1015287"/>
                    </a:cubicBezTo>
                    <a:cubicBezTo>
                      <a:pt x="1002148" y="1015287"/>
                      <a:pt x="1002148" y="1015287"/>
                      <a:pt x="1095375" y="961887"/>
                    </a:cubicBezTo>
                    <a:cubicBezTo>
                      <a:pt x="1095375" y="961887"/>
                      <a:pt x="1095375" y="961887"/>
                      <a:pt x="1095375" y="854374"/>
                    </a:cubicBezTo>
                    <a:cubicBezTo>
                      <a:pt x="1095375" y="854374"/>
                      <a:pt x="1095375" y="854374"/>
                      <a:pt x="1002148" y="800974"/>
                    </a:cubicBezTo>
                    <a:close/>
                    <a:moveTo>
                      <a:pt x="124180" y="800974"/>
                    </a:moveTo>
                    <a:cubicBezTo>
                      <a:pt x="124180" y="800974"/>
                      <a:pt x="124180" y="800974"/>
                      <a:pt x="31750" y="854374"/>
                    </a:cubicBezTo>
                    <a:cubicBezTo>
                      <a:pt x="31750" y="854374"/>
                      <a:pt x="31750" y="854374"/>
                      <a:pt x="31750" y="961887"/>
                    </a:cubicBezTo>
                    <a:cubicBezTo>
                      <a:pt x="31750" y="961887"/>
                      <a:pt x="31750" y="961887"/>
                      <a:pt x="124180" y="1015287"/>
                    </a:cubicBezTo>
                    <a:cubicBezTo>
                      <a:pt x="124180" y="1015287"/>
                      <a:pt x="124180" y="1015287"/>
                      <a:pt x="215900" y="961887"/>
                    </a:cubicBezTo>
                    <a:cubicBezTo>
                      <a:pt x="215900" y="961887"/>
                      <a:pt x="215900" y="961887"/>
                      <a:pt x="215900" y="854374"/>
                    </a:cubicBezTo>
                    <a:cubicBezTo>
                      <a:pt x="215900" y="854374"/>
                      <a:pt x="215900" y="854374"/>
                      <a:pt x="124180" y="800974"/>
                    </a:cubicBezTo>
                    <a:close/>
                    <a:moveTo>
                      <a:pt x="561975" y="427911"/>
                    </a:moveTo>
                    <a:cubicBezTo>
                      <a:pt x="561975" y="427911"/>
                      <a:pt x="561975" y="427911"/>
                      <a:pt x="365125" y="540446"/>
                    </a:cubicBezTo>
                    <a:cubicBezTo>
                      <a:pt x="365125" y="540446"/>
                      <a:pt x="365125" y="540446"/>
                      <a:pt x="365125" y="766227"/>
                    </a:cubicBezTo>
                    <a:cubicBezTo>
                      <a:pt x="365125" y="766227"/>
                      <a:pt x="365125" y="766227"/>
                      <a:pt x="561975" y="878761"/>
                    </a:cubicBezTo>
                    <a:cubicBezTo>
                      <a:pt x="561975" y="878761"/>
                      <a:pt x="561975" y="878761"/>
                      <a:pt x="758825" y="766227"/>
                    </a:cubicBezTo>
                    <a:cubicBezTo>
                      <a:pt x="758825" y="766227"/>
                      <a:pt x="758825" y="766227"/>
                      <a:pt x="758825" y="540446"/>
                    </a:cubicBezTo>
                    <a:cubicBezTo>
                      <a:pt x="758825" y="540446"/>
                      <a:pt x="758825" y="540446"/>
                      <a:pt x="561975" y="427911"/>
                    </a:cubicBezTo>
                    <a:close/>
                    <a:moveTo>
                      <a:pt x="1002148" y="289799"/>
                    </a:moveTo>
                    <a:cubicBezTo>
                      <a:pt x="1002148" y="289799"/>
                      <a:pt x="1002148" y="289799"/>
                      <a:pt x="909637" y="343595"/>
                    </a:cubicBezTo>
                    <a:cubicBezTo>
                      <a:pt x="909637" y="343595"/>
                      <a:pt x="909637" y="343595"/>
                      <a:pt x="909637" y="451903"/>
                    </a:cubicBezTo>
                    <a:cubicBezTo>
                      <a:pt x="909637" y="451903"/>
                      <a:pt x="909637" y="451903"/>
                      <a:pt x="1002148" y="505699"/>
                    </a:cubicBezTo>
                    <a:cubicBezTo>
                      <a:pt x="1002148" y="505699"/>
                      <a:pt x="1002148" y="505699"/>
                      <a:pt x="1095375" y="451903"/>
                    </a:cubicBezTo>
                    <a:cubicBezTo>
                      <a:pt x="1095375" y="451903"/>
                      <a:pt x="1095375" y="451903"/>
                      <a:pt x="1095375" y="343595"/>
                    </a:cubicBezTo>
                    <a:cubicBezTo>
                      <a:pt x="1095375" y="343595"/>
                      <a:pt x="1095375" y="343595"/>
                      <a:pt x="1002148" y="289799"/>
                    </a:cubicBezTo>
                    <a:close/>
                    <a:moveTo>
                      <a:pt x="124180" y="289799"/>
                    </a:moveTo>
                    <a:cubicBezTo>
                      <a:pt x="124180" y="289799"/>
                      <a:pt x="124180" y="289799"/>
                      <a:pt x="31750" y="343595"/>
                    </a:cubicBezTo>
                    <a:cubicBezTo>
                      <a:pt x="31750" y="343595"/>
                      <a:pt x="31750" y="343595"/>
                      <a:pt x="31750" y="451903"/>
                    </a:cubicBezTo>
                    <a:cubicBezTo>
                      <a:pt x="31750" y="451903"/>
                      <a:pt x="31750" y="451903"/>
                      <a:pt x="124180" y="505699"/>
                    </a:cubicBezTo>
                    <a:cubicBezTo>
                      <a:pt x="124180" y="505699"/>
                      <a:pt x="124180" y="505699"/>
                      <a:pt x="215900" y="451903"/>
                    </a:cubicBezTo>
                    <a:cubicBezTo>
                      <a:pt x="215900" y="451903"/>
                      <a:pt x="215900" y="451903"/>
                      <a:pt x="215900" y="343595"/>
                    </a:cubicBezTo>
                    <a:cubicBezTo>
                      <a:pt x="215900" y="343595"/>
                      <a:pt x="215900" y="343595"/>
                      <a:pt x="124180" y="289799"/>
                    </a:cubicBezTo>
                    <a:close/>
                    <a:moveTo>
                      <a:pt x="562769" y="34211"/>
                    </a:moveTo>
                    <a:cubicBezTo>
                      <a:pt x="562769" y="34211"/>
                      <a:pt x="562769" y="34211"/>
                      <a:pt x="469900" y="87075"/>
                    </a:cubicBezTo>
                    <a:cubicBezTo>
                      <a:pt x="469900" y="87075"/>
                      <a:pt x="469900" y="87075"/>
                      <a:pt x="469900" y="194946"/>
                    </a:cubicBezTo>
                    <a:cubicBezTo>
                      <a:pt x="469900" y="194946"/>
                      <a:pt x="469900" y="194946"/>
                      <a:pt x="562769" y="248524"/>
                    </a:cubicBezTo>
                    <a:cubicBezTo>
                      <a:pt x="562769" y="248524"/>
                      <a:pt x="562769" y="248524"/>
                      <a:pt x="655638" y="194946"/>
                    </a:cubicBezTo>
                    <a:cubicBezTo>
                      <a:pt x="655638" y="194946"/>
                      <a:pt x="655638" y="194946"/>
                      <a:pt x="655638" y="87075"/>
                    </a:cubicBezTo>
                    <a:cubicBezTo>
                      <a:pt x="655638" y="87075"/>
                      <a:pt x="655638" y="87075"/>
                      <a:pt x="562769" y="34211"/>
                    </a:cubicBezTo>
                    <a:close/>
                    <a:moveTo>
                      <a:pt x="554210" y="2142"/>
                    </a:moveTo>
                    <a:cubicBezTo>
                      <a:pt x="559203" y="-714"/>
                      <a:pt x="564909" y="-714"/>
                      <a:pt x="569902" y="2142"/>
                    </a:cubicBezTo>
                    <a:cubicBezTo>
                      <a:pt x="569902" y="2142"/>
                      <a:pt x="569902" y="2142"/>
                      <a:pt x="678319" y="64969"/>
                    </a:cubicBezTo>
                    <a:cubicBezTo>
                      <a:pt x="683312" y="67825"/>
                      <a:pt x="686165" y="72822"/>
                      <a:pt x="686165" y="78534"/>
                    </a:cubicBezTo>
                    <a:cubicBezTo>
                      <a:pt x="686165" y="78534"/>
                      <a:pt x="686165" y="78534"/>
                      <a:pt x="686165" y="202759"/>
                    </a:cubicBezTo>
                    <a:cubicBezTo>
                      <a:pt x="686165" y="208471"/>
                      <a:pt x="683312" y="213469"/>
                      <a:pt x="678319" y="216324"/>
                    </a:cubicBezTo>
                    <a:cubicBezTo>
                      <a:pt x="678319" y="216324"/>
                      <a:pt x="678319" y="216324"/>
                      <a:pt x="577748" y="274868"/>
                    </a:cubicBezTo>
                    <a:cubicBezTo>
                      <a:pt x="577748" y="274868"/>
                      <a:pt x="577748" y="274868"/>
                      <a:pt x="577748" y="399807"/>
                    </a:cubicBezTo>
                    <a:cubicBezTo>
                      <a:pt x="577748" y="399807"/>
                      <a:pt x="577748" y="399807"/>
                      <a:pt x="773897" y="512610"/>
                    </a:cubicBezTo>
                    <a:cubicBezTo>
                      <a:pt x="773897" y="512610"/>
                      <a:pt x="773897" y="512610"/>
                      <a:pt x="878034" y="451211"/>
                    </a:cubicBezTo>
                    <a:cubicBezTo>
                      <a:pt x="878034" y="451211"/>
                      <a:pt x="878034" y="451211"/>
                      <a:pt x="878034" y="334839"/>
                    </a:cubicBezTo>
                    <a:cubicBezTo>
                      <a:pt x="878034" y="329127"/>
                      <a:pt x="881600" y="324130"/>
                      <a:pt x="885880" y="321274"/>
                    </a:cubicBezTo>
                    <a:cubicBezTo>
                      <a:pt x="885880" y="321274"/>
                      <a:pt x="885880" y="321274"/>
                      <a:pt x="993584" y="258447"/>
                    </a:cubicBezTo>
                    <a:cubicBezTo>
                      <a:pt x="998576" y="255591"/>
                      <a:pt x="1004996" y="255591"/>
                      <a:pt x="1009275" y="258447"/>
                    </a:cubicBezTo>
                    <a:cubicBezTo>
                      <a:pt x="1009275" y="258447"/>
                      <a:pt x="1009275" y="258447"/>
                      <a:pt x="1117692" y="321274"/>
                    </a:cubicBezTo>
                    <a:cubicBezTo>
                      <a:pt x="1122685" y="324130"/>
                      <a:pt x="1125538" y="329127"/>
                      <a:pt x="1125538" y="334839"/>
                    </a:cubicBezTo>
                    <a:cubicBezTo>
                      <a:pt x="1125538" y="334839"/>
                      <a:pt x="1125538" y="334839"/>
                      <a:pt x="1125538" y="459778"/>
                    </a:cubicBezTo>
                    <a:cubicBezTo>
                      <a:pt x="1125538" y="465490"/>
                      <a:pt x="1122685" y="470488"/>
                      <a:pt x="1117692" y="473343"/>
                    </a:cubicBezTo>
                    <a:cubicBezTo>
                      <a:pt x="1117692" y="473343"/>
                      <a:pt x="1117692" y="473343"/>
                      <a:pt x="1009275" y="536170"/>
                    </a:cubicBezTo>
                    <a:cubicBezTo>
                      <a:pt x="1007136" y="537598"/>
                      <a:pt x="1004283" y="538312"/>
                      <a:pt x="1001429" y="538312"/>
                    </a:cubicBezTo>
                    <a:cubicBezTo>
                      <a:pt x="999290" y="538312"/>
                      <a:pt x="996437" y="537598"/>
                      <a:pt x="993584" y="536170"/>
                    </a:cubicBezTo>
                    <a:cubicBezTo>
                      <a:pt x="993584" y="536170"/>
                      <a:pt x="993584" y="536170"/>
                      <a:pt x="893726" y="478341"/>
                    </a:cubicBezTo>
                    <a:cubicBezTo>
                      <a:pt x="893726" y="478341"/>
                      <a:pt x="893726" y="478341"/>
                      <a:pt x="789589" y="539740"/>
                    </a:cubicBezTo>
                    <a:cubicBezTo>
                      <a:pt x="789589" y="539740"/>
                      <a:pt x="789589" y="539740"/>
                      <a:pt x="789589" y="766059"/>
                    </a:cubicBezTo>
                    <a:cubicBezTo>
                      <a:pt x="789589" y="766059"/>
                      <a:pt x="789589" y="766059"/>
                      <a:pt x="893726" y="827458"/>
                    </a:cubicBezTo>
                    <a:cubicBezTo>
                      <a:pt x="893726" y="827458"/>
                      <a:pt x="893726" y="827458"/>
                      <a:pt x="993584" y="769629"/>
                    </a:cubicBezTo>
                    <a:cubicBezTo>
                      <a:pt x="998576" y="766773"/>
                      <a:pt x="1004996" y="766773"/>
                      <a:pt x="1009275" y="769629"/>
                    </a:cubicBezTo>
                    <a:cubicBezTo>
                      <a:pt x="1009275" y="769629"/>
                      <a:pt x="1009275" y="769629"/>
                      <a:pt x="1117692" y="832456"/>
                    </a:cubicBezTo>
                    <a:cubicBezTo>
                      <a:pt x="1122685" y="835312"/>
                      <a:pt x="1125538" y="840309"/>
                      <a:pt x="1125538" y="846021"/>
                    </a:cubicBezTo>
                    <a:cubicBezTo>
                      <a:pt x="1125538" y="846021"/>
                      <a:pt x="1125538" y="846021"/>
                      <a:pt x="1125538" y="970961"/>
                    </a:cubicBezTo>
                    <a:cubicBezTo>
                      <a:pt x="1125538" y="976672"/>
                      <a:pt x="1122685" y="981670"/>
                      <a:pt x="1117692" y="984525"/>
                    </a:cubicBezTo>
                    <a:cubicBezTo>
                      <a:pt x="1117692" y="984525"/>
                      <a:pt x="1117692" y="984525"/>
                      <a:pt x="1009275" y="1047352"/>
                    </a:cubicBezTo>
                    <a:cubicBezTo>
                      <a:pt x="1007136" y="1048780"/>
                      <a:pt x="1004283" y="1049494"/>
                      <a:pt x="1001429" y="1049494"/>
                    </a:cubicBezTo>
                    <a:cubicBezTo>
                      <a:pt x="999290" y="1049494"/>
                      <a:pt x="996437" y="1048780"/>
                      <a:pt x="993584" y="1047352"/>
                    </a:cubicBezTo>
                    <a:cubicBezTo>
                      <a:pt x="993584" y="1047352"/>
                      <a:pt x="993584" y="1047352"/>
                      <a:pt x="885880" y="984525"/>
                    </a:cubicBezTo>
                    <a:cubicBezTo>
                      <a:pt x="881600" y="981670"/>
                      <a:pt x="878034" y="976672"/>
                      <a:pt x="878034" y="970961"/>
                    </a:cubicBezTo>
                    <a:cubicBezTo>
                      <a:pt x="878034" y="970961"/>
                      <a:pt x="878034" y="970961"/>
                      <a:pt x="878034" y="854588"/>
                    </a:cubicBezTo>
                    <a:cubicBezTo>
                      <a:pt x="878034" y="854588"/>
                      <a:pt x="878034" y="854588"/>
                      <a:pt x="773897" y="793189"/>
                    </a:cubicBezTo>
                    <a:cubicBezTo>
                      <a:pt x="773897" y="793189"/>
                      <a:pt x="773897" y="793189"/>
                      <a:pt x="577748" y="905992"/>
                    </a:cubicBezTo>
                    <a:cubicBezTo>
                      <a:pt x="577748" y="905992"/>
                      <a:pt x="577748" y="905992"/>
                      <a:pt x="577748" y="1030932"/>
                    </a:cubicBezTo>
                    <a:cubicBezTo>
                      <a:pt x="577748" y="1030932"/>
                      <a:pt x="577748" y="1030932"/>
                      <a:pt x="678319" y="1088761"/>
                    </a:cubicBezTo>
                    <a:cubicBezTo>
                      <a:pt x="683312" y="1091617"/>
                      <a:pt x="686165" y="1096614"/>
                      <a:pt x="686165" y="1102326"/>
                    </a:cubicBezTo>
                    <a:cubicBezTo>
                      <a:pt x="686165" y="1102326"/>
                      <a:pt x="686165" y="1102326"/>
                      <a:pt x="686165" y="1227266"/>
                    </a:cubicBezTo>
                    <a:cubicBezTo>
                      <a:pt x="686165" y="1232977"/>
                      <a:pt x="683312" y="1237975"/>
                      <a:pt x="678319" y="1240831"/>
                    </a:cubicBezTo>
                    <a:cubicBezTo>
                      <a:pt x="678319" y="1240831"/>
                      <a:pt x="678319" y="1240831"/>
                      <a:pt x="569902" y="1303657"/>
                    </a:cubicBezTo>
                    <a:cubicBezTo>
                      <a:pt x="567762" y="1305085"/>
                      <a:pt x="564909" y="1305799"/>
                      <a:pt x="562056" y="1305799"/>
                    </a:cubicBezTo>
                    <a:cubicBezTo>
                      <a:pt x="559203" y="1305799"/>
                      <a:pt x="556350" y="1305085"/>
                      <a:pt x="554210" y="1303657"/>
                    </a:cubicBezTo>
                    <a:cubicBezTo>
                      <a:pt x="554210" y="1303657"/>
                      <a:pt x="554210" y="1303657"/>
                      <a:pt x="445793" y="1240831"/>
                    </a:cubicBezTo>
                    <a:cubicBezTo>
                      <a:pt x="440800" y="1237975"/>
                      <a:pt x="437947" y="1232977"/>
                      <a:pt x="437947" y="1227266"/>
                    </a:cubicBezTo>
                    <a:cubicBezTo>
                      <a:pt x="437947" y="1227266"/>
                      <a:pt x="437947" y="1227266"/>
                      <a:pt x="437947" y="1102326"/>
                    </a:cubicBezTo>
                    <a:cubicBezTo>
                      <a:pt x="437947" y="1096614"/>
                      <a:pt x="440800" y="1091617"/>
                      <a:pt x="445793" y="1088761"/>
                    </a:cubicBezTo>
                    <a:cubicBezTo>
                      <a:pt x="445793" y="1088761"/>
                      <a:pt x="445793" y="1088761"/>
                      <a:pt x="546364" y="1030932"/>
                    </a:cubicBezTo>
                    <a:cubicBezTo>
                      <a:pt x="546364" y="1030932"/>
                      <a:pt x="546364" y="1030932"/>
                      <a:pt x="546364" y="905992"/>
                    </a:cubicBezTo>
                    <a:cubicBezTo>
                      <a:pt x="546364" y="905992"/>
                      <a:pt x="546364" y="905992"/>
                      <a:pt x="350215" y="793189"/>
                    </a:cubicBezTo>
                    <a:cubicBezTo>
                      <a:pt x="350215" y="793189"/>
                      <a:pt x="350215" y="793189"/>
                      <a:pt x="247504" y="854588"/>
                    </a:cubicBezTo>
                    <a:cubicBezTo>
                      <a:pt x="247504" y="854588"/>
                      <a:pt x="247504" y="854588"/>
                      <a:pt x="247504" y="970961"/>
                    </a:cubicBezTo>
                    <a:cubicBezTo>
                      <a:pt x="247504" y="976672"/>
                      <a:pt x="244651" y="981670"/>
                      <a:pt x="239659" y="984525"/>
                    </a:cubicBezTo>
                    <a:cubicBezTo>
                      <a:pt x="239659" y="984525"/>
                      <a:pt x="239659" y="984525"/>
                      <a:pt x="131955" y="1047352"/>
                    </a:cubicBezTo>
                    <a:cubicBezTo>
                      <a:pt x="129815" y="1048780"/>
                      <a:pt x="126962" y="1049494"/>
                      <a:pt x="124109" y="1049494"/>
                    </a:cubicBezTo>
                    <a:cubicBezTo>
                      <a:pt x="121969" y="1049494"/>
                      <a:pt x="119116" y="1048780"/>
                      <a:pt x="116263" y="1047352"/>
                    </a:cubicBezTo>
                    <a:cubicBezTo>
                      <a:pt x="116263" y="1047352"/>
                      <a:pt x="116263" y="1047352"/>
                      <a:pt x="7846" y="984525"/>
                    </a:cubicBezTo>
                    <a:cubicBezTo>
                      <a:pt x="3567" y="981670"/>
                      <a:pt x="0" y="976672"/>
                      <a:pt x="0" y="970961"/>
                    </a:cubicBezTo>
                    <a:cubicBezTo>
                      <a:pt x="0" y="970961"/>
                      <a:pt x="0" y="970961"/>
                      <a:pt x="0" y="846021"/>
                    </a:cubicBezTo>
                    <a:cubicBezTo>
                      <a:pt x="0" y="840309"/>
                      <a:pt x="3567" y="835312"/>
                      <a:pt x="7846" y="832456"/>
                    </a:cubicBezTo>
                    <a:cubicBezTo>
                      <a:pt x="7846" y="832456"/>
                      <a:pt x="7846" y="832456"/>
                      <a:pt x="116263" y="769629"/>
                    </a:cubicBezTo>
                    <a:cubicBezTo>
                      <a:pt x="121256" y="766773"/>
                      <a:pt x="127675" y="766773"/>
                      <a:pt x="131955" y="769629"/>
                    </a:cubicBezTo>
                    <a:cubicBezTo>
                      <a:pt x="131955" y="769629"/>
                      <a:pt x="131955" y="769629"/>
                      <a:pt x="231813" y="827458"/>
                    </a:cubicBezTo>
                    <a:cubicBezTo>
                      <a:pt x="231813" y="827458"/>
                      <a:pt x="231813" y="827458"/>
                      <a:pt x="334523" y="766059"/>
                    </a:cubicBezTo>
                    <a:cubicBezTo>
                      <a:pt x="334523" y="766059"/>
                      <a:pt x="334523" y="766059"/>
                      <a:pt x="334523" y="539740"/>
                    </a:cubicBezTo>
                    <a:cubicBezTo>
                      <a:pt x="334523" y="539740"/>
                      <a:pt x="334523" y="539740"/>
                      <a:pt x="231813" y="478341"/>
                    </a:cubicBezTo>
                    <a:cubicBezTo>
                      <a:pt x="231813" y="478341"/>
                      <a:pt x="231813" y="478341"/>
                      <a:pt x="131955" y="536170"/>
                    </a:cubicBezTo>
                    <a:cubicBezTo>
                      <a:pt x="129815" y="537598"/>
                      <a:pt x="126962" y="538312"/>
                      <a:pt x="124109" y="538312"/>
                    </a:cubicBezTo>
                    <a:cubicBezTo>
                      <a:pt x="121969" y="538312"/>
                      <a:pt x="119116" y="537598"/>
                      <a:pt x="116263" y="536170"/>
                    </a:cubicBezTo>
                    <a:cubicBezTo>
                      <a:pt x="116263" y="536170"/>
                      <a:pt x="116263" y="536170"/>
                      <a:pt x="7846" y="473343"/>
                    </a:cubicBezTo>
                    <a:cubicBezTo>
                      <a:pt x="3567" y="470488"/>
                      <a:pt x="0" y="465490"/>
                      <a:pt x="0" y="459778"/>
                    </a:cubicBezTo>
                    <a:cubicBezTo>
                      <a:pt x="0" y="459778"/>
                      <a:pt x="0" y="459778"/>
                      <a:pt x="0" y="334839"/>
                    </a:cubicBezTo>
                    <a:cubicBezTo>
                      <a:pt x="0" y="329127"/>
                      <a:pt x="3567" y="324130"/>
                      <a:pt x="7846" y="321274"/>
                    </a:cubicBezTo>
                    <a:cubicBezTo>
                      <a:pt x="7846" y="321274"/>
                      <a:pt x="7846" y="321274"/>
                      <a:pt x="116263" y="258447"/>
                    </a:cubicBezTo>
                    <a:cubicBezTo>
                      <a:pt x="121256" y="255591"/>
                      <a:pt x="127675" y="255591"/>
                      <a:pt x="131955" y="258447"/>
                    </a:cubicBezTo>
                    <a:cubicBezTo>
                      <a:pt x="131955" y="258447"/>
                      <a:pt x="131955" y="258447"/>
                      <a:pt x="239659" y="321274"/>
                    </a:cubicBezTo>
                    <a:cubicBezTo>
                      <a:pt x="244651" y="324130"/>
                      <a:pt x="247504" y="329127"/>
                      <a:pt x="247504" y="334839"/>
                    </a:cubicBezTo>
                    <a:cubicBezTo>
                      <a:pt x="247504" y="334839"/>
                      <a:pt x="247504" y="334839"/>
                      <a:pt x="247504" y="451211"/>
                    </a:cubicBezTo>
                    <a:cubicBezTo>
                      <a:pt x="247504" y="451211"/>
                      <a:pt x="247504" y="451211"/>
                      <a:pt x="350215" y="512610"/>
                    </a:cubicBezTo>
                    <a:cubicBezTo>
                      <a:pt x="350215" y="512610"/>
                      <a:pt x="350215" y="512610"/>
                      <a:pt x="546364" y="399807"/>
                    </a:cubicBezTo>
                    <a:cubicBezTo>
                      <a:pt x="546364" y="399807"/>
                      <a:pt x="546364" y="399807"/>
                      <a:pt x="546364" y="274868"/>
                    </a:cubicBezTo>
                    <a:cubicBezTo>
                      <a:pt x="546364" y="274868"/>
                      <a:pt x="546364" y="274868"/>
                      <a:pt x="445793" y="216324"/>
                    </a:cubicBezTo>
                    <a:cubicBezTo>
                      <a:pt x="440800" y="213469"/>
                      <a:pt x="437947" y="208471"/>
                      <a:pt x="437947" y="202759"/>
                    </a:cubicBezTo>
                    <a:cubicBezTo>
                      <a:pt x="437947" y="202759"/>
                      <a:pt x="437947" y="202759"/>
                      <a:pt x="437947" y="78534"/>
                    </a:cubicBezTo>
                    <a:cubicBezTo>
                      <a:pt x="437947" y="72822"/>
                      <a:pt x="440800" y="67825"/>
                      <a:pt x="445793" y="64969"/>
                    </a:cubicBezTo>
                    <a:cubicBezTo>
                      <a:pt x="445793" y="64969"/>
                      <a:pt x="445793" y="64969"/>
                      <a:pt x="554210" y="2142"/>
                    </a:cubicBezTo>
                    <a:close/>
                  </a:path>
                </a:pathLst>
              </a:custGeom>
              <a:solidFill>
                <a:srgbClr val="6E6F7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107" name="Freeform 106"/>
              <p:cNvSpPr>
                <a:spLocks/>
              </p:cNvSpPr>
              <p:nvPr/>
            </p:nvSpPr>
            <p:spPr bwMode="auto">
              <a:xfrm>
                <a:off x="5594350" y="2846388"/>
                <a:ext cx="1001713" cy="1165225"/>
              </a:xfrm>
              <a:custGeom>
                <a:avLst/>
                <a:gdLst>
                  <a:gd name="connsiteX0" fmla="*/ 501650 w 1001713"/>
                  <a:gd name="connsiteY0" fmla="*/ 1025525 h 1165225"/>
                  <a:gd name="connsiteX1" fmla="*/ 561975 w 1001713"/>
                  <a:gd name="connsiteY1" fmla="*/ 1058863 h 1165225"/>
                  <a:gd name="connsiteX2" fmla="*/ 561975 w 1001713"/>
                  <a:gd name="connsiteY2" fmla="*/ 1130300 h 1165225"/>
                  <a:gd name="connsiteX3" fmla="*/ 501650 w 1001713"/>
                  <a:gd name="connsiteY3" fmla="*/ 1165225 h 1165225"/>
                  <a:gd name="connsiteX4" fmla="*/ 438150 w 1001713"/>
                  <a:gd name="connsiteY4" fmla="*/ 1130300 h 1165225"/>
                  <a:gd name="connsiteX5" fmla="*/ 438150 w 1001713"/>
                  <a:gd name="connsiteY5" fmla="*/ 1058863 h 1165225"/>
                  <a:gd name="connsiteX6" fmla="*/ 939801 w 1001713"/>
                  <a:gd name="connsiteY6" fmla="*/ 768350 h 1165225"/>
                  <a:gd name="connsiteX7" fmla="*/ 1001713 w 1001713"/>
                  <a:gd name="connsiteY7" fmla="*/ 803275 h 1165225"/>
                  <a:gd name="connsiteX8" fmla="*/ 1001713 w 1001713"/>
                  <a:gd name="connsiteY8" fmla="*/ 874713 h 1165225"/>
                  <a:gd name="connsiteX9" fmla="*/ 939801 w 1001713"/>
                  <a:gd name="connsiteY9" fmla="*/ 911225 h 1165225"/>
                  <a:gd name="connsiteX10" fmla="*/ 877888 w 1001713"/>
                  <a:gd name="connsiteY10" fmla="*/ 874713 h 1165225"/>
                  <a:gd name="connsiteX11" fmla="*/ 877888 w 1001713"/>
                  <a:gd name="connsiteY11" fmla="*/ 803275 h 1165225"/>
                  <a:gd name="connsiteX12" fmla="*/ 61912 w 1001713"/>
                  <a:gd name="connsiteY12" fmla="*/ 768350 h 1165225"/>
                  <a:gd name="connsiteX13" fmla="*/ 123825 w 1001713"/>
                  <a:gd name="connsiteY13" fmla="*/ 803275 h 1165225"/>
                  <a:gd name="connsiteX14" fmla="*/ 123825 w 1001713"/>
                  <a:gd name="connsiteY14" fmla="*/ 874713 h 1165225"/>
                  <a:gd name="connsiteX15" fmla="*/ 61912 w 1001713"/>
                  <a:gd name="connsiteY15" fmla="*/ 911225 h 1165225"/>
                  <a:gd name="connsiteX16" fmla="*/ 0 w 1001713"/>
                  <a:gd name="connsiteY16" fmla="*/ 874713 h 1165225"/>
                  <a:gd name="connsiteX17" fmla="*/ 0 w 1001713"/>
                  <a:gd name="connsiteY17" fmla="*/ 803275 h 1165225"/>
                  <a:gd name="connsiteX18" fmla="*/ 501650 w 1001713"/>
                  <a:gd name="connsiteY18" fmla="*/ 392112 h 1165225"/>
                  <a:gd name="connsiteX19" fmla="*/ 663575 w 1001713"/>
                  <a:gd name="connsiteY19" fmla="*/ 488950 h 1165225"/>
                  <a:gd name="connsiteX20" fmla="*/ 663575 w 1001713"/>
                  <a:gd name="connsiteY20" fmla="*/ 676275 h 1165225"/>
                  <a:gd name="connsiteX21" fmla="*/ 501650 w 1001713"/>
                  <a:gd name="connsiteY21" fmla="*/ 773112 h 1165225"/>
                  <a:gd name="connsiteX22" fmla="*/ 336550 w 1001713"/>
                  <a:gd name="connsiteY22" fmla="*/ 676275 h 1165225"/>
                  <a:gd name="connsiteX23" fmla="*/ 336550 w 1001713"/>
                  <a:gd name="connsiteY23" fmla="*/ 488950 h 1165225"/>
                  <a:gd name="connsiteX24" fmla="*/ 939801 w 1001713"/>
                  <a:gd name="connsiteY24" fmla="*/ 255587 h 1165225"/>
                  <a:gd name="connsiteX25" fmla="*/ 1001713 w 1001713"/>
                  <a:gd name="connsiteY25" fmla="*/ 290512 h 1165225"/>
                  <a:gd name="connsiteX26" fmla="*/ 1001713 w 1001713"/>
                  <a:gd name="connsiteY26" fmla="*/ 363537 h 1165225"/>
                  <a:gd name="connsiteX27" fmla="*/ 939801 w 1001713"/>
                  <a:gd name="connsiteY27" fmla="*/ 398462 h 1165225"/>
                  <a:gd name="connsiteX28" fmla="*/ 877888 w 1001713"/>
                  <a:gd name="connsiteY28" fmla="*/ 363537 h 1165225"/>
                  <a:gd name="connsiteX29" fmla="*/ 877888 w 1001713"/>
                  <a:gd name="connsiteY29" fmla="*/ 290512 h 1165225"/>
                  <a:gd name="connsiteX30" fmla="*/ 61912 w 1001713"/>
                  <a:gd name="connsiteY30" fmla="*/ 255587 h 1165225"/>
                  <a:gd name="connsiteX31" fmla="*/ 123825 w 1001713"/>
                  <a:gd name="connsiteY31" fmla="*/ 290512 h 1165225"/>
                  <a:gd name="connsiteX32" fmla="*/ 123825 w 1001713"/>
                  <a:gd name="connsiteY32" fmla="*/ 363537 h 1165225"/>
                  <a:gd name="connsiteX33" fmla="*/ 61912 w 1001713"/>
                  <a:gd name="connsiteY33" fmla="*/ 398462 h 1165225"/>
                  <a:gd name="connsiteX34" fmla="*/ 0 w 1001713"/>
                  <a:gd name="connsiteY34" fmla="*/ 363537 h 1165225"/>
                  <a:gd name="connsiteX35" fmla="*/ 0 w 1001713"/>
                  <a:gd name="connsiteY35" fmla="*/ 290512 h 1165225"/>
                  <a:gd name="connsiteX36" fmla="*/ 501650 w 1001713"/>
                  <a:gd name="connsiteY36" fmla="*/ 0 h 1165225"/>
                  <a:gd name="connsiteX37" fmla="*/ 561975 w 1001713"/>
                  <a:gd name="connsiteY37" fmla="*/ 34925 h 1165225"/>
                  <a:gd name="connsiteX38" fmla="*/ 561975 w 1001713"/>
                  <a:gd name="connsiteY38" fmla="*/ 106362 h 1165225"/>
                  <a:gd name="connsiteX39" fmla="*/ 501650 w 1001713"/>
                  <a:gd name="connsiteY39" fmla="*/ 139700 h 1165225"/>
                  <a:gd name="connsiteX40" fmla="*/ 438150 w 1001713"/>
                  <a:gd name="connsiteY40" fmla="*/ 106362 h 1165225"/>
                  <a:gd name="connsiteX41" fmla="*/ 438150 w 1001713"/>
                  <a:gd name="connsiteY41" fmla="*/ 34925 h 1165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001713" h="1165225">
                    <a:moveTo>
                      <a:pt x="501650" y="1025525"/>
                    </a:moveTo>
                    <a:lnTo>
                      <a:pt x="561975" y="1058863"/>
                    </a:lnTo>
                    <a:lnTo>
                      <a:pt x="561975" y="1130300"/>
                    </a:lnTo>
                    <a:lnTo>
                      <a:pt x="501650" y="1165225"/>
                    </a:lnTo>
                    <a:lnTo>
                      <a:pt x="438150" y="1130300"/>
                    </a:lnTo>
                    <a:lnTo>
                      <a:pt x="438150" y="1058863"/>
                    </a:lnTo>
                    <a:close/>
                    <a:moveTo>
                      <a:pt x="939801" y="768350"/>
                    </a:moveTo>
                    <a:lnTo>
                      <a:pt x="1001713" y="803275"/>
                    </a:lnTo>
                    <a:lnTo>
                      <a:pt x="1001713" y="874713"/>
                    </a:lnTo>
                    <a:lnTo>
                      <a:pt x="939801" y="911225"/>
                    </a:lnTo>
                    <a:lnTo>
                      <a:pt x="877888" y="874713"/>
                    </a:lnTo>
                    <a:lnTo>
                      <a:pt x="877888" y="803275"/>
                    </a:lnTo>
                    <a:close/>
                    <a:moveTo>
                      <a:pt x="61912" y="768350"/>
                    </a:moveTo>
                    <a:lnTo>
                      <a:pt x="123825" y="803275"/>
                    </a:lnTo>
                    <a:lnTo>
                      <a:pt x="123825" y="874713"/>
                    </a:lnTo>
                    <a:lnTo>
                      <a:pt x="61912" y="911225"/>
                    </a:lnTo>
                    <a:lnTo>
                      <a:pt x="0" y="874713"/>
                    </a:lnTo>
                    <a:lnTo>
                      <a:pt x="0" y="803275"/>
                    </a:lnTo>
                    <a:close/>
                    <a:moveTo>
                      <a:pt x="501650" y="392112"/>
                    </a:moveTo>
                    <a:lnTo>
                      <a:pt x="663575" y="488950"/>
                    </a:lnTo>
                    <a:lnTo>
                      <a:pt x="663575" y="676275"/>
                    </a:lnTo>
                    <a:lnTo>
                      <a:pt x="501650" y="773112"/>
                    </a:lnTo>
                    <a:lnTo>
                      <a:pt x="336550" y="676275"/>
                    </a:lnTo>
                    <a:lnTo>
                      <a:pt x="336550" y="488950"/>
                    </a:lnTo>
                    <a:close/>
                    <a:moveTo>
                      <a:pt x="939801" y="255587"/>
                    </a:moveTo>
                    <a:lnTo>
                      <a:pt x="1001713" y="290512"/>
                    </a:lnTo>
                    <a:lnTo>
                      <a:pt x="1001713" y="363537"/>
                    </a:lnTo>
                    <a:lnTo>
                      <a:pt x="939801" y="398462"/>
                    </a:lnTo>
                    <a:lnTo>
                      <a:pt x="877888" y="363537"/>
                    </a:lnTo>
                    <a:lnTo>
                      <a:pt x="877888" y="290512"/>
                    </a:lnTo>
                    <a:close/>
                    <a:moveTo>
                      <a:pt x="61912" y="255587"/>
                    </a:moveTo>
                    <a:lnTo>
                      <a:pt x="123825" y="290512"/>
                    </a:lnTo>
                    <a:lnTo>
                      <a:pt x="123825" y="363537"/>
                    </a:lnTo>
                    <a:lnTo>
                      <a:pt x="61912" y="398462"/>
                    </a:lnTo>
                    <a:lnTo>
                      <a:pt x="0" y="363537"/>
                    </a:lnTo>
                    <a:lnTo>
                      <a:pt x="0" y="290512"/>
                    </a:lnTo>
                    <a:close/>
                    <a:moveTo>
                      <a:pt x="501650" y="0"/>
                    </a:moveTo>
                    <a:lnTo>
                      <a:pt x="561975" y="34925"/>
                    </a:lnTo>
                    <a:lnTo>
                      <a:pt x="561975" y="106362"/>
                    </a:lnTo>
                    <a:lnTo>
                      <a:pt x="501650" y="139700"/>
                    </a:lnTo>
                    <a:lnTo>
                      <a:pt x="438150" y="106362"/>
                    </a:lnTo>
                    <a:lnTo>
                      <a:pt x="438150" y="34925"/>
                    </a:lnTo>
                    <a:close/>
                  </a:path>
                </a:pathLst>
              </a:custGeom>
              <a:solidFill>
                <a:srgbClr val="6E6F73"/>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108" name="Group 107"/>
          <p:cNvGrpSpPr>
            <a:grpSpLocks noChangeAspect="1"/>
          </p:cNvGrpSpPr>
          <p:nvPr/>
        </p:nvGrpSpPr>
        <p:grpSpPr>
          <a:xfrm>
            <a:off x="3110497" y="4484334"/>
            <a:ext cx="235721" cy="235948"/>
            <a:chOff x="5272881" y="2605088"/>
            <a:chExt cx="1646238" cy="1647825"/>
          </a:xfrm>
        </p:grpSpPr>
        <p:sp>
          <p:nvSpPr>
            <p:cNvPr id="109" name="AutoShape 3"/>
            <p:cNvSpPr>
              <a:spLocks noChangeAspect="1" noChangeArrowheads="1" noTextEdit="1"/>
            </p:cNvSpPr>
            <p:nvPr/>
          </p:nvSpPr>
          <p:spPr bwMode="auto">
            <a:xfrm>
              <a:off x="5272881" y="2605088"/>
              <a:ext cx="1646238" cy="164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10" name="Group 109"/>
            <p:cNvGrpSpPr/>
            <p:nvPr/>
          </p:nvGrpSpPr>
          <p:grpSpPr>
            <a:xfrm>
              <a:off x="5545931" y="3086101"/>
              <a:ext cx="1100138" cy="684213"/>
              <a:chOff x="5545931" y="3086101"/>
              <a:chExt cx="1100138" cy="684213"/>
            </a:xfrm>
          </p:grpSpPr>
          <p:sp>
            <p:nvSpPr>
              <p:cNvPr id="111" name="Freeform 110"/>
              <p:cNvSpPr>
                <a:spLocks noEditPoints="1"/>
              </p:cNvSpPr>
              <p:nvPr/>
            </p:nvSpPr>
            <p:spPr bwMode="auto">
              <a:xfrm>
                <a:off x="5545931" y="3086101"/>
                <a:ext cx="1100138" cy="684213"/>
              </a:xfrm>
              <a:custGeom>
                <a:avLst/>
                <a:gdLst>
                  <a:gd name="T0" fmla="*/ 1482 w 1538"/>
                  <a:gd name="T1" fmla="*/ 507 h 958"/>
                  <a:gd name="T2" fmla="*/ 1363 w 1538"/>
                  <a:gd name="T3" fmla="*/ 415 h 958"/>
                  <a:gd name="T4" fmla="*/ 1089 w 1538"/>
                  <a:gd name="T5" fmla="*/ 139 h 958"/>
                  <a:gd name="T6" fmla="*/ 974 w 1538"/>
                  <a:gd name="T7" fmla="*/ 123 h 958"/>
                  <a:gd name="T8" fmla="*/ 861 w 1538"/>
                  <a:gd name="T9" fmla="*/ 139 h 958"/>
                  <a:gd name="T10" fmla="*/ 792 w 1538"/>
                  <a:gd name="T11" fmla="*/ 72 h 958"/>
                  <a:gd name="T12" fmla="*/ 574 w 1538"/>
                  <a:gd name="T13" fmla="*/ 0 h 958"/>
                  <a:gd name="T14" fmla="*/ 213 w 1538"/>
                  <a:gd name="T15" fmla="*/ 326 h 958"/>
                  <a:gd name="T16" fmla="*/ 81 w 1538"/>
                  <a:gd name="T17" fmla="*/ 416 h 958"/>
                  <a:gd name="T18" fmla="*/ 0 w 1538"/>
                  <a:gd name="T19" fmla="*/ 631 h 958"/>
                  <a:gd name="T20" fmla="*/ 329 w 1538"/>
                  <a:gd name="T21" fmla="*/ 958 h 958"/>
                  <a:gd name="T22" fmla="*/ 1253 w 1538"/>
                  <a:gd name="T23" fmla="*/ 958 h 958"/>
                  <a:gd name="T24" fmla="*/ 1538 w 1538"/>
                  <a:gd name="T25" fmla="*/ 676 h 958"/>
                  <a:gd name="T26" fmla="*/ 1482 w 1538"/>
                  <a:gd name="T27" fmla="*/ 507 h 958"/>
                  <a:gd name="T28" fmla="*/ 1253 w 1538"/>
                  <a:gd name="T29" fmla="*/ 914 h 958"/>
                  <a:gd name="T30" fmla="*/ 329 w 1538"/>
                  <a:gd name="T31" fmla="*/ 914 h 958"/>
                  <a:gd name="T32" fmla="*/ 44 w 1538"/>
                  <a:gd name="T33" fmla="*/ 631 h 958"/>
                  <a:gd name="T34" fmla="*/ 114 w 1538"/>
                  <a:gd name="T35" fmla="*/ 445 h 958"/>
                  <a:gd name="T36" fmla="*/ 255 w 1538"/>
                  <a:gd name="T37" fmla="*/ 358 h 958"/>
                  <a:gd name="T38" fmla="*/ 574 w 1538"/>
                  <a:gd name="T39" fmla="*/ 44 h 958"/>
                  <a:gd name="T40" fmla="*/ 766 w 1538"/>
                  <a:gd name="T41" fmla="*/ 107 h 958"/>
                  <a:gd name="T42" fmla="*/ 844 w 1538"/>
                  <a:gd name="T43" fmla="*/ 192 h 958"/>
                  <a:gd name="T44" fmla="*/ 974 w 1538"/>
                  <a:gd name="T45" fmla="*/ 167 h 958"/>
                  <a:gd name="T46" fmla="*/ 1076 w 1538"/>
                  <a:gd name="T47" fmla="*/ 182 h 958"/>
                  <a:gd name="T48" fmla="*/ 1324 w 1538"/>
                  <a:gd name="T49" fmla="*/ 448 h 958"/>
                  <a:gd name="T50" fmla="*/ 1494 w 1538"/>
                  <a:gd name="T51" fmla="*/ 676 h 958"/>
                  <a:gd name="T52" fmla="*/ 1253 w 1538"/>
                  <a:gd name="T53" fmla="*/ 914 h 9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38" h="958">
                    <a:moveTo>
                      <a:pt x="1482" y="507"/>
                    </a:moveTo>
                    <a:cubicBezTo>
                      <a:pt x="1451" y="466"/>
                      <a:pt x="1410" y="434"/>
                      <a:pt x="1363" y="415"/>
                    </a:cubicBezTo>
                    <a:cubicBezTo>
                      <a:pt x="1331" y="286"/>
                      <a:pt x="1226" y="179"/>
                      <a:pt x="1089" y="139"/>
                    </a:cubicBezTo>
                    <a:cubicBezTo>
                      <a:pt x="1051" y="129"/>
                      <a:pt x="1012" y="123"/>
                      <a:pt x="974" y="123"/>
                    </a:cubicBezTo>
                    <a:cubicBezTo>
                      <a:pt x="935" y="123"/>
                      <a:pt x="897" y="129"/>
                      <a:pt x="861" y="139"/>
                    </a:cubicBezTo>
                    <a:cubicBezTo>
                      <a:pt x="841" y="114"/>
                      <a:pt x="818" y="91"/>
                      <a:pt x="792" y="72"/>
                    </a:cubicBezTo>
                    <a:cubicBezTo>
                      <a:pt x="729" y="25"/>
                      <a:pt x="653" y="0"/>
                      <a:pt x="574" y="0"/>
                    </a:cubicBezTo>
                    <a:cubicBezTo>
                      <a:pt x="385" y="0"/>
                      <a:pt x="230" y="143"/>
                      <a:pt x="213" y="326"/>
                    </a:cubicBezTo>
                    <a:cubicBezTo>
                      <a:pt x="162" y="345"/>
                      <a:pt x="117" y="375"/>
                      <a:pt x="81" y="416"/>
                    </a:cubicBezTo>
                    <a:cubicBezTo>
                      <a:pt x="29" y="476"/>
                      <a:pt x="0" y="552"/>
                      <a:pt x="0" y="631"/>
                    </a:cubicBezTo>
                    <a:cubicBezTo>
                      <a:pt x="0" y="811"/>
                      <a:pt x="148" y="958"/>
                      <a:pt x="329" y="958"/>
                    </a:cubicBezTo>
                    <a:cubicBezTo>
                      <a:pt x="1253" y="958"/>
                      <a:pt x="1253" y="958"/>
                      <a:pt x="1253" y="958"/>
                    </a:cubicBezTo>
                    <a:cubicBezTo>
                      <a:pt x="1410" y="958"/>
                      <a:pt x="1538" y="831"/>
                      <a:pt x="1538" y="676"/>
                    </a:cubicBezTo>
                    <a:cubicBezTo>
                      <a:pt x="1538" y="615"/>
                      <a:pt x="1519" y="556"/>
                      <a:pt x="1482" y="507"/>
                    </a:cubicBezTo>
                    <a:close/>
                    <a:moveTo>
                      <a:pt x="1253" y="914"/>
                    </a:moveTo>
                    <a:cubicBezTo>
                      <a:pt x="329" y="914"/>
                      <a:pt x="329" y="914"/>
                      <a:pt x="329" y="914"/>
                    </a:cubicBezTo>
                    <a:cubicBezTo>
                      <a:pt x="172" y="914"/>
                      <a:pt x="44" y="787"/>
                      <a:pt x="44" y="631"/>
                    </a:cubicBezTo>
                    <a:cubicBezTo>
                      <a:pt x="44" y="563"/>
                      <a:pt x="69" y="497"/>
                      <a:pt x="114" y="445"/>
                    </a:cubicBezTo>
                    <a:cubicBezTo>
                      <a:pt x="152" y="403"/>
                      <a:pt x="200" y="373"/>
                      <a:pt x="255" y="358"/>
                    </a:cubicBezTo>
                    <a:cubicBezTo>
                      <a:pt x="256" y="185"/>
                      <a:pt x="399" y="44"/>
                      <a:pt x="574" y="44"/>
                    </a:cubicBezTo>
                    <a:cubicBezTo>
                      <a:pt x="644" y="44"/>
                      <a:pt x="710" y="66"/>
                      <a:pt x="766" y="107"/>
                    </a:cubicBezTo>
                    <a:cubicBezTo>
                      <a:pt x="797" y="131"/>
                      <a:pt x="823" y="159"/>
                      <a:pt x="844" y="192"/>
                    </a:cubicBezTo>
                    <a:cubicBezTo>
                      <a:pt x="885" y="176"/>
                      <a:pt x="929" y="167"/>
                      <a:pt x="974" y="167"/>
                    </a:cubicBezTo>
                    <a:cubicBezTo>
                      <a:pt x="1008" y="167"/>
                      <a:pt x="1043" y="172"/>
                      <a:pt x="1076" y="182"/>
                    </a:cubicBezTo>
                    <a:cubicBezTo>
                      <a:pt x="1208" y="220"/>
                      <a:pt x="1304" y="325"/>
                      <a:pt x="1324" y="448"/>
                    </a:cubicBezTo>
                    <a:cubicBezTo>
                      <a:pt x="1425" y="478"/>
                      <a:pt x="1494" y="571"/>
                      <a:pt x="1494" y="676"/>
                    </a:cubicBezTo>
                    <a:cubicBezTo>
                      <a:pt x="1494" y="807"/>
                      <a:pt x="1386" y="914"/>
                      <a:pt x="1253" y="914"/>
                    </a:cubicBezTo>
                    <a:close/>
                  </a:path>
                </a:pathLst>
              </a:custGeom>
              <a:solidFill>
                <a:srgbClr val="6E6F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 name="Freeform 111"/>
              <p:cNvSpPr>
                <a:spLocks/>
              </p:cNvSpPr>
              <p:nvPr/>
            </p:nvSpPr>
            <p:spPr bwMode="auto">
              <a:xfrm>
                <a:off x="5609431" y="3148013"/>
                <a:ext cx="973138" cy="560388"/>
              </a:xfrm>
              <a:custGeom>
                <a:avLst/>
                <a:gdLst>
                  <a:gd name="T0" fmla="*/ 1217 w 1362"/>
                  <a:gd name="T1" fmla="*/ 400 h 782"/>
                  <a:gd name="T2" fmla="*/ 1200 w 1362"/>
                  <a:gd name="T3" fmla="*/ 396 h 782"/>
                  <a:gd name="T4" fmla="*/ 1195 w 1362"/>
                  <a:gd name="T5" fmla="*/ 387 h 782"/>
                  <a:gd name="T6" fmla="*/ 976 w 1362"/>
                  <a:gd name="T7" fmla="*/ 136 h 782"/>
                  <a:gd name="T8" fmla="*/ 737 w 1362"/>
                  <a:gd name="T9" fmla="*/ 161 h 782"/>
                  <a:gd name="T10" fmla="*/ 651 w 1362"/>
                  <a:gd name="T11" fmla="*/ 55 h 782"/>
                  <a:gd name="T12" fmla="*/ 486 w 1362"/>
                  <a:gd name="T13" fmla="*/ 0 h 782"/>
                  <a:gd name="T14" fmla="*/ 211 w 1362"/>
                  <a:gd name="T15" fmla="*/ 271 h 782"/>
                  <a:gd name="T16" fmla="*/ 211 w 1362"/>
                  <a:gd name="T17" fmla="*/ 304 h 782"/>
                  <a:gd name="T18" fmla="*/ 178 w 1362"/>
                  <a:gd name="T19" fmla="*/ 313 h 782"/>
                  <a:gd name="T20" fmla="*/ 59 w 1362"/>
                  <a:gd name="T21" fmla="*/ 386 h 782"/>
                  <a:gd name="T22" fmla="*/ 0 w 1362"/>
                  <a:gd name="T23" fmla="*/ 543 h 782"/>
                  <a:gd name="T24" fmla="*/ 241 w 1362"/>
                  <a:gd name="T25" fmla="*/ 782 h 782"/>
                  <a:gd name="T26" fmla="*/ 1165 w 1362"/>
                  <a:gd name="T27" fmla="*/ 782 h 782"/>
                  <a:gd name="T28" fmla="*/ 1362 w 1362"/>
                  <a:gd name="T29" fmla="*/ 588 h 782"/>
                  <a:gd name="T30" fmla="*/ 1217 w 1362"/>
                  <a:gd name="T31" fmla="*/ 400 h 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62" h="782">
                    <a:moveTo>
                      <a:pt x="1217" y="400"/>
                    </a:moveTo>
                    <a:cubicBezTo>
                      <a:pt x="1200" y="396"/>
                      <a:pt x="1200" y="396"/>
                      <a:pt x="1200" y="396"/>
                    </a:cubicBezTo>
                    <a:cubicBezTo>
                      <a:pt x="1195" y="387"/>
                      <a:pt x="1195" y="387"/>
                      <a:pt x="1195" y="387"/>
                    </a:cubicBezTo>
                    <a:cubicBezTo>
                      <a:pt x="1187" y="276"/>
                      <a:pt x="1101" y="172"/>
                      <a:pt x="976" y="136"/>
                    </a:cubicBezTo>
                    <a:cubicBezTo>
                      <a:pt x="891" y="111"/>
                      <a:pt x="805" y="123"/>
                      <a:pt x="737" y="161"/>
                    </a:cubicBezTo>
                    <a:cubicBezTo>
                      <a:pt x="718" y="119"/>
                      <a:pt x="689" y="82"/>
                      <a:pt x="651" y="55"/>
                    </a:cubicBezTo>
                    <a:cubicBezTo>
                      <a:pt x="603" y="19"/>
                      <a:pt x="546" y="0"/>
                      <a:pt x="486" y="0"/>
                    </a:cubicBezTo>
                    <a:cubicBezTo>
                      <a:pt x="335" y="0"/>
                      <a:pt x="211" y="121"/>
                      <a:pt x="211" y="271"/>
                    </a:cubicBezTo>
                    <a:cubicBezTo>
                      <a:pt x="211" y="304"/>
                      <a:pt x="211" y="304"/>
                      <a:pt x="211" y="304"/>
                    </a:cubicBezTo>
                    <a:cubicBezTo>
                      <a:pt x="178" y="313"/>
                      <a:pt x="178" y="313"/>
                      <a:pt x="178" y="313"/>
                    </a:cubicBezTo>
                    <a:cubicBezTo>
                      <a:pt x="132" y="325"/>
                      <a:pt x="91" y="351"/>
                      <a:pt x="59" y="386"/>
                    </a:cubicBezTo>
                    <a:cubicBezTo>
                      <a:pt x="21" y="430"/>
                      <a:pt x="0" y="485"/>
                      <a:pt x="0" y="543"/>
                    </a:cubicBezTo>
                    <a:cubicBezTo>
                      <a:pt x="0" y="675"/>
                      <a:pt x="108" y="782"/>
                      <a:pt x="241" y="782"/>
                    </a:cubicBezTo>
                    <a:cubicBezTo>
                      <a:pt x="1165" y="782"/>
                      <a:pt x="1165" y="782"/>
                      <a:pt x="1165" y="782"/>
                    </a:cubicBezTo>
                    <a:cubicBezTo>
                      <a:pt x="1274" y="782"/>
                      <a:pt x="1362" y="695"/>
                      <a:pt x="1362" y="588"/>
                    </a:cubicBezTo>
                    <a:cubicBezTo>
                      <a:pt x="1362" y="500"/>
                      <a:pt x="1303" y="423"/>
                      <a:pt x="1217" y="400"/>
                    </a:cubicBezTo>
                    <a:close/>
                  </a:path>
                </a:pathLst>
              </a:custGeom>
              <a:solidFill>
                <a:srgbClr val="6E6F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13" name="Group 112"/>
          <p:cNvGrpSpPr>
            <a:grpSpLocks noChangeAspect="1"/>
          </p:cNvGrpSpPr>
          <p:nvPr/>
        </p:nvGrpSpPr>
        <p:grpSpPr>
          <a:xfrm>
            <a:off x="1037067" y="5456399"/>
            <a:ext cx="235493" cy="235948"/>
            <a:chOff x="4222750" y="2570163"/>
            <a:chExt cx="1643063" cy="1646237"/>
          </a:xfrm>
        </p:grpSpPr>
        <p:sp>
          <p:nvSpPr>
            <p:cNvPr id="114" name="AutoShape 23"/>
            <p:cNvSpPr>
              <a:spLocks noChangeAspect="1" noChangeArrowheads="1" noTextEdit="1"/>
            </p:cNvSpPr>
            <p:nvPr/>
          </p:nvSpPr>
          <p:spPr bwMode="auto">
            <a:xfrm>
              <a:off x="4222750" y="2570163"/>
              <a:ext cx="1643063" cy="164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15" name="Group 114"/>
            <p:cNvGrpSpPr/>
            <p:nvPr/>
          </p:nvGrpSpPr>
          <p:grpSpPr>
            <a:xfrm>
              <a:off x="4459288" y="2728912"/>
              <a:ext cx="1173162" cy="1327151"/>
              <a:chOff x="4459288" y="2728912"/>
              <a:chExt cx="1173162" cy="1327151"/>
            </a:xfrm>
          </p:grpSpPr>
          <p:sp>
            <p:nvSpPr>
              <p:cNvPr id="116" name="Freeform 115"/>
              <p:cNvSpPr>
                <a:spLocks/>
              </p:cNvSpPr>
              <p:nvPr/>
            </p:nvSpPr>
            <p:spPr bwMode="auto">
              <a:xfrm>
                <a:off x="4459288" y="2728912"/>
                <a:ext cx="1173162" cy="1173162"/>
              </a:xfrm>
              <a:custGeom>
                <a:avLst/>
                <a:gdLst>
                  <a:gd name="connsiteX0" fmla="*/ 578659 w 1173162"/>
                  <a:gd name="connsiteY0" fmla="*/ 1035050 h 1173162"/>
                  <a:gd name="connsiteX1" fmla="*/ 585787 w 1173162"/>
                  <a:gd name="connsiteY1" fmla="*/ 1035050 h 1173162"/>
                  <a:gd name="connsiteX2" fmla="*/ 652786 w 1173162"/>
                  <a:gd name="connsiteY2" fmla="*/ 1083461 h 1173162"/>
                  <a:gd name="connsiteX3" fmla="*/ 655637 w 1173162"/>
                  <a:gd name="connsiteY3" fmla="*/ 1104106 h 1173162"/>
                  <a:gd name="connsiteX4" fmla="*/ 654924 w 1173162"/>
                  <a:gd name="connsiteY4" fmla="*/ 1116209 h 1173162"/>
                  <a:gd name="connsiteX5" fmla="*/ 585787 w 1173162"/>
                  <a:gd name="connsiteY5" fmla="*/ 1173162 h 1173162"/>
                  <a:gd name="connsiteX6" fmla="*/ 578659 w 1173162"/>
                  <a:gd name="connsiteY6" fmla="*/ 1173162 h 1173162"/>
                  <a:gd name="connsiteX7" fmla="*/ 571532 w 1173162"/>
                  <a:gd name="connsiteY7" fmla="*/ 1172450 h 1173162"/>
                  <a:gd name="connsiteX8" fmla="*/ 561553 w 1173162"/>
                  <a:gd name="connsiteY8" fmla="*/ 1169603 h 1173162"/>
                  <a:gd name="connsiteX9" fmla="*/ 555851 w 1173162"/>
                  <a:gd name="connsiteY9" fmla="*/ 1166755 h 1173162"/>
                  <a:gd name="connsiteX10" fmla="*/ 549436 w 1173162"/>
                  <a:gd name="connsiteY10" fmla="*/ 1163907 h 1173162"/>
                  <a:gd name="connsiteX11" fmla="*/ 543734 w 1173162"/>
                  <a:gd name="connsiteY11" fmla="*/ 1159636 h 1173162"/>
                  <a:gd name="connsiteX12" fmla="*/ 522352 w 1173162"/>
                  <a:gd name="connsiteY12" fmla="*/ 1134719 h 1173162"/>
                  <a:gd name="connsiteX13" fmla="*/ 518788 w 1173162"/>
                  <a:gd name="connsiteY13" fmla="*/ 1124752 h 1173162"/>
                  <a:gd name="connsiteX14" fmla="*/ 516650 w 1173162"/>
                  <a:gd name="connsiteY14" fmla="*/ 1116209 h 1173162"/>
                  <a:gd name="connsiteX15" fmla="*/ 515937 w 1173162"/>
                  <a:gd name="connsiteY15" fmla="*/ 1104106 h 1173162"/>
                  <a:gd name="connsiteX16" fmla="*/ 518788 w 1173162"/>
                  <a:gd name="connsiteY16" fmla="*/ 1083461 h 1173162"/>
                  <a:gd name="connsiteX17" fmla="*/ 522352 w 1173162"/>
                  <a:gd name="connsiteY17" fmla="*/ 1074206 h 1173162"/>
                  <a:gd name="connsiteX18" fmla="*/ 543734 w 1173162"/>
                  <a:gd name="connsiteY18" fmla="*/ 1048577 h 1173162"/>
                  <a:gd name="connsiteX19" fmla="*/ 549436 w 1173162"/>
                  <a:gd name="connsiteY19" fmla="*/ 1044305 h 1173162"/>
                  <a:gd name="connsiteX20" fmla="*/ 555851 w 1173162"/>
                  <a:gd name="connsiteY20" fmla="*/ 1041457 h 1173162"/>
                  <a:gd name="connsiteX21" fmla="*/ 561553 w 1173162"/>
                  <a:gd name="connsiteY21" fmla="*/ 1038610 h 1173162"/>
                  <a:gd name="connsiteX22" fmla="*/ 571532 w 1173162"/>
                  <a:gd name="connsiteY22" fmla="*/ 1036474 h 1173162"/>
                  <a:gd name="connsiteX23" fmla="*/ 578659 w 1173162"/>
                  <a:gd name="connsiteY23" fmla="*/ 1035050 h 1173162"/>
                  <a:gd name="connsiteX24" fmla="*/ 951348 w 1173162"/>
                  <a:gd name="connsiteY24" fmla="*/ 881062 h 1173162"/>
                  <a:gd name="connsiteX25" fmla="*/ 964257 w 1173162"/>
                  <a:gd name="connsiteY25" fmla="*/ 882498 h 1173162"/>
                  <a:gd name="connsiteX26" fmla="*/ 971429 w 1173162"/>
                  <a:gd name="connsiteY26" fmla="*/ 884652 h 1173162"/>
                  <a:gd name="connsiteX27" fmla="*/ 983622 w 1173162"/>
                  <a:gd name="connsiteY27" fmla="*/ 889678 h 1173162"/>
                  <a:gd name="connsiteX28" fmla="*/ 1000834 w 1173162"/>
                  <a:gd name="connsiteY28" fmla="*/ 902601 h 1173162"/>
                  <a:gd name="connsiteX29" fmla="*/ 1009441 w 1173162"/>
                  <a:gd name="connsiteY29" fmla="*/ 911217 h 1173162"/>
                  <a:gd name="connsiteX30" fmla="*/ 1019481 w 1173162"/>
                  <a:gd name="connsiteY30" fmla="*/ 932038 h 1173162"/>
                  <a:gd name="connsiteX31" fmla="*/ 1022350 w 1173162"/>
                  <a:gd name="connsiteY31" fmla="*/ 952141 h 1173162"/>
                  <a:gd name="connsiteX32" fmla="*/ 1019481 w 1173162"/>
                  <a:gd name="connsiteY32" fmla="*/ 971526 h 1173162"/>
                  <a:gd name="connsiteX33" fmla="*/ 1010158 w 1173162"/>
                  <a:gd name="connsiteY33" fmla="*/ 990911 h 1173162"/>
                  <a:gd name="connsiteX34" fmla="*/ 1000834 w 1173162"/>
                  <a:gd name="connsiteY34" fmla="*/ 1001680 h 1173162"/>
                  <a:gd name="connsiteX35" fmla="*/ 945610 w 1173162"/>
                  <a:gd name="connsiteY35" fmla="*/ 1022501 h 1173162"/>
                  <a:gd name="connsiteX36" fmla="*/ 911185 w 1173162"/>
                  <a:gd name="connsiteY36" fmla="*/ 1009578 h 1173162"/>
                  <a:gd name="connsiteX37" fmla="*/ 907599 w 1173162"/>
                  <a:gd name="connsiteY37" fmla="*/ 1006706 h 1173162"/>
                  <a:gd name="connsiteX38" fmla="*/ 901861 w 1173162"/>
                  <a:gd name="connsiteY38" fmla="*/ 1001680 h 1173162"/>
                  <a:gd name="connsiteX39" fmla="*/ 893255 w 1173162"/>
                  <a:gd name="connsiteY39" fmla="*/ 990911 h 1173162"/>
                  <a:gd name="connsiteX40" fmla="*/ 889669 w 1173162"/>
                  <a:gd name="connsiteY40" fmla="*/ 984449 h 1173162"/>
                  <a:gd name="connsiteX41" fmla="*/ 884648 w 1173162"/>
                  <a:gd name="connsiteY41" fmla="*/ 971526 h 1173162"/>
                  <a:gd name="connsiteX42" fmla="*/ 881062 w 1173162"/>
                  <a:gd name="connsiteY42" fmla="*/ 952141 h 1173162"/>
                  <a:gd name="connsiteX43" fmla="*/ 884648 w 1173162"/>
                  <a:gd name="connsiteY43" fmla="*/ 932038 h 1173162"/>
                  <a:gd name="connsiteX44" fmla="*/ 901861 w 1173162"/>
                  <a:gd name="connsiteY44" fmla="*/ 902601 h 1173162"/>
                  <a:gd name="connsiteX45" fmla="*/ 907599 w 1173162"/>
                  <a:gd name="connsiteY45" fmla="*/ 896857 h 1173162"/>
                  <a:gd name="connsiteX46" fmla="*/ 931983 w 1173162"/>
                  <a:gd name="connsiteY46" fmla="*/ 884652 h 1173162"/>
                  <a:gd name="connsiteX47" fmla="*/ 938438 w 1173162"/>
                  <a:gd name="connsiteY47" fmla="*/ 882498 h 1173162"/>
                  <a:gd name="connsiteX48" fmla="*/ 951348 w 1173162"/>
                  <a:gd name="connsiteY48" fmla="*/ 881062 h 1173162"/>
                  <a:gd name="connsiteX49" fmla="*/ 221016 w 1173162"/>
                  <a:gd name="connsiteY49" fmla="*/ 881062 h 1173162"/>
                  <a:gd name="connsiteX50" fmla="*/ 233781 w 1173162"/>
                  <a:gd name="connsiteY50" fmla="*/ 882498 h 1173162"/>
                  <a:gd name="connsiteX51" fmla="*/ 264274 w 1173162"/>
                  <a:gd name="connsiteY51" fmla="*/ 896857 h 1173162"/>
                  <a:gd name="connsiteX52" fmla="*/ 269947 w 1173162"/>
                  <a:gd name="connsiteY52" fmla="*/ 902601 h 1173162"/>
                  <a:gd name="connsiteX53" fmla="*/ 289093 w 1173162"/>
                  <a:gd name="connsiteY53" fmla="*/ 937063 h 1173162"/>
                  <a:gd name="connsiteX54" fmla="*/ 289803 w 1173162"/>
                  <a:gd name="connsiteY54" fmla="*/ 945679 h 1173162"/>
                  <a:gd name="connsiteX55" fmla="*/ 289803 w 1173162"/>
                  <a:gd name="connsiteY55" fmla="*/ 959320 h 1173162"/>
                  <a:gd name="connsiteX56" fmla="*/ 289093 w 1173162"/>
                  <a:gd name="connsiteY56" fmla="*/ 965064 h 1173162"/>
                  <a:gd name="connsiteX57" fmla="*/ 282002 w 1173162"/>
                  <a:gd name="connsiteY57" fmla="*/ 984449 h 1173162"/>
                  <a:gd name="connsiteX58" fmla="*/ 269947 w 1173162"/>
                  <a:gd name="connsiteY58" fmla="*/ 1001680 h 1173162"/>
                  <a:gd name="connsiteX59" fmla="*/ 264274 w 1173162"/>
                  <a:gd name="connsiteY59" fmla="*/ 1006706 h 1173162"/>
                  <a:gd name="connsiteX60" fmla="*/ 260728 w 1173162"/>
                  <a:gd name="connsiteY60" fmla="*/ 1009578 h 1173162"/>
                  <a:gd name="connsiteX61" fmla="*/ 227399 w 1173162"/>
                  <a:gd name="connsiteY61" fmla="*/ 1022501 h 1173162"/>
                  <a:gd name="connsiteX62" fmla="*/ 172086 w 1173162"/>
                  <a:gd name="connsiteY62" fmla="*/ 1001680 h 1173162"/>
                  <a:gd name="connsiteX63" fmla="*/ 162867 w 1173162"/>
                  <a:gd name="connsiteY63" fmla="*/ 990911 h 1173162"/>
                  <a:gd name="connsiteX64" fmla="*/ 154357 w 1173162"/>
                  <a:gd name="connsiteY64" fmla="*/ 971526 h 1173162"/>
                  <a:gd name="connsiteX65" fmla="*/ 150812 w 1173162"/>
                  <a:gd name="connsiteY65" fmla="*/ 952141 h 1173162"/>
                  <a:gd name="connsiteX66" fmla="*/ 154357 w 1173162"/>
                  <a:gd name="connsiteY66" fmla="*/ 932038 h 1173162"/>
                  <a:gd name="connsiteX67" fmla="*/ 163576 w 1173162"/>
                  <a:gd name="connsiteY67" fmla="*/ 911217 h 1173162"/>
                  <a:gd name="connsiteX68" fmla="*/ 172086 w 1173162"/>
                  <a:gd name="connsiteY68" fmla="*/ 902601 h 1173162"/>
                  <a:gd name="connsiteX69" fmla="*/ 189105 w 1173162"/>
                  <a:gd name="connsiteY69" fmla="*/ 889678 h 1173162"/>
                  <a:gd name="connsiteX70" fmla="*/ 201160 w 1173162"/>
                  <a:gd name="connsiteY70" fmla="*/ 884652 h 1173162"/>
                  <a:gd name="connsiteX71" fmla="*/ 208252 w 1173162"/>
                  <a:gd name="connsiteY71" fmla="*/ 882498 h 1173162"/>
                  <a:gd name="connsiteX72" fmla="*/ 221016 w 1173162"/>
                  <a:gd name="connsiteY72" fmla="*/ 881062 h 1173162"/>
                  <a:gd name="connsiteX73" fmla="*/ 1103312 w 1173162"/>
                  <a:gd name="connsiteY73" fmla="*/ 517525 h 1173162"/>
                  <a:gd name="connsiteX74" fmla="*/ 1114004 w 1173162"/>
                  <a:gd name="connsiteY74" fmla="*/ 518237 h 1173162"/>
                  <a:gd name="connsiteX75" fmla="*/ 1115429 w 1173162"/>
                  <a:gd name="connsiteY75" fmla="*/ 518237 h 1173162"/>
                  <a:gd name="connsiteX76" fmla="*/ 1120418 w 1173162"/>
                  <a:gd name="connsiteY76" fmla="*/ 519661 h 1173162"/>
                  <a:gd name="connsiteX77" fmla="*/ 1124695 w 1173162"/>
                  <a:gd name="connsiteY77" fmla="*/ 520373 h 1173162"/>
                  <a:gd name="connsiteX78" fmla="*/ 1133248 w 1173162"/>
                  <a:gd name="connsiteY78" fmla="*/ 523932 h 1173162"/>
                  <a:gd name="connsiteX79" fmla="*/ 1142514 w 1173162"/>
                  <a:gd name="connsiteY79" fmla="*/ 529628 h 1173162"/>
                  <a:gd name="connsiteX80" fmla="*/ 1147503 w 1173162"/>
                  <a:gd name="connsiteY80" fmla="*/ 533187 h 1173162"/>
                  <a:gd name="connsiteX81" fmla="*/ 1169598 w 1173162"/>
                  <a:gd name="connsiteY81" fmla="*/ 563088 h 1173162"/>
                  <a:gd name="connsiteX82" fmla="*/ 1173162 w 1173162"/>
                  <a:gd name="connsiteY82" fmla="*/ 586581 h 1173162"/>
                  <a:gd name="connsiteX83" fmla="*/ 1169598 w 1173162"/>
                  <a:gd name="connsiteY83" fmla="*/ 610786 h 1173162"/>
                  <a:gd name="connsiteX84" fmla="*/ 1168173 w 1173162"/>
                  <a:gd name="connsiteY84" fmla="*/ 613634 h 1173162"/>
                  <a:gd name="connsiteX85" fmla="*/ 1147503 w 1173162"/>
                  <a:gd name="connsiteY85" fmla="*/ 639975 h 1173162"/>
                  <a:gd name="connsiteX86" fmla="*/ 1142514 w 1173162"/>
                  <a:gd name="connsiteY86" fmla="*/ 644958 h 1173162"/>
                  <a:gd name="connsiteX87" fmla="*/ 1120418 w 1173162"/>
                  <a:gd name="connsiteY87" fmla="*/ 654213 h 1173162"/>
                  <a:gd name="connsiteX88" fmla="*/ 1115429 w 1173162"/>
                  <a:gd name="connsiteY88" fmla="*/ 654925 h 1173162"/>
                  <a:gd name="connsiteX89" fmla="*/ 1114004 w 1173162"/>
                  <a:gd name="connsiteY89" fmla="*/ 654925 h 1173162"/>
                  <a:gd name="connsiteX90" fmla="*/ 1103312 w 1173162"/>
                  <a:gd name="connsiteY90" fmla="*/ 655637 h 1173162"/>
                  <a:gd name="connsiteX91" fmla="*/ 1081930 w 1173162"/>
                  <a:gd name="connsiteY91" fmla="*/ 652789 h 1173162"/>
                  <a:gd name="connsiteX92" fmla="*/ 1033462 w 1173162"/>
                  <a:gd name="connsiteY92" fmla="*/ 586581 h 1173162"/>
                  <a:gd name="connsiteX93" fmla="*/ 1033462 w 1173162"/>
                  <a:gd name="connsiteY93" fmla="*/ 580174 h 1173162"/>
                  <a:gd name="connsiteX94" fmla="*/ 1034888 w 1173162"/>
                  <a:gd name="connsiteY94" fmla="*/ 572343 h 1173162"/>
                  <a:gd name="connsiteX95" fmla="*/ 1037026 w 1173162"/>
                  <a:gd name="connsiteY95" fmla="*/ 563088 h 1173162"/>
                  <a:gd name="connsiteX96" fmla="*/ 1039877 w 1173162"/>
                  <a:gd name="connsiteY96" fmla="*/ 556681 h 1173162"/>
                  <a:gd name="connsiteX97" fmla="*/ 1042728 w 1173162"/>
                  <a:gd name="connsiteY97" fmla="*/ 550985 h 1173162"/>
                  <a:gd name="connsiteX98" fmla="*/ 1047005 w 1173162"/>
                  <a:gd name="connsiteY98" fmla="*/ 545290 h 1173162"/>
                  <a:gd name="connsiteX99" fmla="*/ 1073377 w 1173162"/>
                  <a:gd name="connsiteY99" fmla="*/ 523932 h 1173162"/>
                  <a:gd name="connsiteX100" fmla="*/ 1081930 w 1173162"/>
                  <a:gd name="connsiteY100" fmla="*/ 520373 h 1173162"/>
                  <a:gd name="connsiteX101" fmla="*/ 1103312 w 1173162"/>
                  <a:gd name="connsiteY101" fmla="*/ 517525 h 1173162"/>
                  <a:gd name="connsiteX102" fmla="*/ 69850 w 1173162"/>
                  <a:gd name="connsiteY102" fmla="*/ 517525 h 1173162"/>
                  <a:gd name="connsiteX103" fmla="*/ 91232 w 1173162"/>
                  <a:gd name="connsiteY103" fmla="*/ 520373 h 1173162"/>
                  <a:gd name="connsiteX104" fmla="*/ 99785 w 1173162"/>
                  <a:gd name="connsiteY104" fmla="*/ 523932 h 1173162"/>
                  <a:gd name="connsiteX105" fmla="*/ 126157 w 1173162"/>
                  <a:gd name="connsiteY105" fmla="*/ 545290 h 1173162"/>
                  <a:gd name="connsiteX106" fmla="*/ 130434 w 1173162"/>
                  <a:gd name="connsiteY106" fmla="*/ 550985 h 1173162"/>
                  <a:gd name="connsiteX107" fmla="*/ 133285 w 1173162"/>
                  <a:gd name="connsiteY107" fmla="*/ 556681 h 1173162"/>
                  <a:gd name="connsiteX108" fmla="*/ 136136 w 1173162"/>
                  <a:gd name="connsiteY108" fmla="*/ 563088 h 1173162"/>
                  <a:gd name="connsiteX109" fmla="*/ 138274 w 1173162"/>
                  <a:gd name="connsiteY109" fmla="*/ 572343 h 1173162"/>
                  <a:gd name="connsiteX110" fmla="*/ 139700 w 1173162"/>
                  <a:gd name="connsiteY110" fmla="*/ 580174 h 1173162"/>
                  <a:gd name="connsiteX111" fmla="*/ 139700 w 1173162"/>
                  <a:gd name="connsiteY111" fmla="*/ 586581 h 1173162"/>
                  <a:gd name="connsiteX112" fmla="*/ 91232 w 1173162"/>
                  <a:gd name="connsiteY112" fmla="*/ 652789 h 1173162"/>
                  <a:gd name="connsiteX113" fmla="*/ 69850 w 1173162"/>
                  <a:gd name="connsiteY113" fmla="*/ 655637 h 1173162"/>
                  <a:gd name="connsiteX114" fmla="*/ 57733 w 1173162"/>
                  <a:gd name="connsiteY114" fmla="*/ 654925 h 1173162"/>
                  <a:gd name="connsiteX115" fmla="*/ 0 w 1173162"/>
                  <a:gd name="connsiteY115" fmla="*/ 586581 h 1173162"/>
                  <a:gd name="connsiteX116" fmla="*/ 0 w 1173162"/>
                  <a:gd name="connsiteY116" fmla="*/ 580174 h 1173162"/>
                  <a:gd name="connsiteX117" fmla="*/ 1425 w 1173162"/>
                  <a:gd name="connsiteY117" fmla="*/ 572343 h 1173162"/>
                  <a:gd name="connsiteX118" fmla="*/ 3564 w 1173162"/>
                  <a:gd name="connsiteY118" fmla="*/ 563088 h 1173162"/>
                  <a:gd name="connsiteX119" fmla="*/ 6415 w 1173162"/>
                  <a:gd name="connsiteY119" fmla="*/ 556681 h 1173162"/>
                  <a:gd name="connsiteX120" fmla="*/ 9978 w 1173162"/>
                  <a:gd name="connsiteY120" fmla="*/ 550985 h 1173162"/>
                  <a:gd name="connsiteX121" fmla="*/ 13542 w 1173162"/>
                  <a:gd name="connsiteY121" fmla="*/ 545290 h 1173162"/>
                  <a:gd name="connsiteX122" fmla="*/ 39914 w 1173162"/>
                  <a:gd name="connsiteY122" fmla="*/ 523932 h 1173162"/>
                  <a:gd name="connsiteX123" fmla="*/ 49180 w 1173162"/>
                  <a:gd name="connsiteY123" fmla="*/ 520373 h 1173162"/>
                  <a:gd name="connsiteX124" fmla="*/ 57733 w 1173162"/>
                  <a:gd name="connsiteY124" fmla="*/ 518237 h 1173162"/>
                  <a:gd name="connsiteX125" fmla="*/ 69850 w 1173162"/>
                  <a:gd name="connsiteY125" fmla="*/ 517525 h 1173162"/>
                  <a:gd name="connsiteX126" fmla="*/ 951348 w 1173162"/>
                  <a:gd name="connsiteY126" fmla="*/ 150812 h 1173162"/>
                  <a:gd name="connsiteX127" fmla="*/ 971429 w 1173162"/>
                  <a:gd name="connsiteY127" fmla="*/ 154362 h 1173162"/>
                  <a:gd name="connsiteX128" fmla="*/ 990794 w 1173162"/>
                  <a:gd name="connsiteY128" fmla="*/ 162882 h 1173162"/>
                  <a:gd name="connsiteX129" fmla="*/ 1000834 w 1173162"/>
                  <a:gd name="connsiteY129" fmla="*/ 172112 h 1173162"/>
                  <a:gd name="connsiteX130" fmla="*/ 1006572 w 1173162"/>
                  <a:gd name="connsiteY130" fmla="*/ 177792 h 1173162"/>
                  <a:gd name="connsiteX131" fmla="*/ 1013744 w 1173162"/>
                  <a:gd name="connsiteY131" fmla="*/ 188441 h 1173162"/>
                  <a:gd name="connsiteX132" fmla="*/ 1016613 w 1173162"/>
                  <a:gd name="connsiteY132" fmla="*/ 195541 h 1173162"/>
                  <a:gd name="connsiteX133" fmla="*/ 1020916 w 1173162"/>
                  <a:gd name="connsiteY133" fmla="*/ 208321 h 1173162"/>
                  <a:gd name="connsiteX134" fmla="*/ 1021633 w 1173162"/>
                  <a:gd name="connsiteY134" fmla="*/ 215421 h 1173162"/>
                  <a:gd name="connsiteX135" fmla="*/ 1022350 w 1173162"/>
                  <a:gd name="connsiteY135" fmla="*/ 221811 h 1173162"/>
                  <a:gd name="connsiteX136" fmla="*/ 1021633 w 1173162"/>
                  <a:gd name="connsiteY136" fmla="*/ 228910 h 1173162"/>
                  <a:gd name="connsiteX137" fmla="*/ 1009441 w 1173162"/>
                  <a:gd name="connsiteY137" fmla="*/ 262990 h 1173162"/>
                  <a:gd name="connsiteX138" fmla="*/ 1000834 w 1173162"/>
                  <a:gd name="connsiteY138" fmla="*/ 271510 h 1173162"/>
                  <a:gd name="connsiteX139" fmla="*/ 990794 w 1173162"/>
                  <a:gd name="connsiteY139" fmla="*/ 280739 h 1173162"/>
                  <a:gd name="connsiteX140" fmla="*/ 983622 w 1173162"/>
                  <a:gd name="connsiteY140" fmla="*/ 284289 h 1173162"/>
                  <a:gd name="connsiteX141" fmla="*/ 971429 w 1173162"/>
                  <a:gd name="connsiteY141" fmla="*/ 289259 h 1173162"/>
                  <a:gd name="connsiteX142" fmla="*/ 964257 w 1173162"/>
                  <a:gd name="connsiteY142" fmla="*/ 290679 h 1173162"/>
                  <a:gd name="connsiteX143" fmla="*/ 951348 w 1173162"/>
                  <a:gd name="connsiteY143" fmla="*/ 292099 h 1173162"/>
                  <a:gd name="connsiteX144" fmla="*/ 938438 w 1173162"/>
                  <a:gd name="connsiteY144" fmla="*/ 290679 h 1173162"/>
                  <a:gd name="connsiteX145" fmla="*/ 931983 w 1173162"/>
                  <a:gd name="connsiteY145" fmla="*/ 289259 h 1173162"/>
                  <a:gd name="connsiteX146" fmla="*/ 912619 w 1173162"/>
                  <a:gd name="connsiteY146" fmla="*/ 280739 h 1173162"/>
                  <a:gd name="connsiteX147" fmla="*/ 901861 w 1173162"/>
                  <a:gd name="connsiteY147" fmla="*/ 271510 h 1173162"/>
                  <a:gd name="connsiteX148" fmla="*/ 881779 w 1173162"/>
                  <a:gd name="connsiteY148" fmla="*/ 228910 h 1173162"/>
                  <a:gd name="connsiteX149" fmla="*/ 881062 w 1173162"/>
                  <a:gd name="connsiteY149" fmla="*/ 221811 h 1173162"/>
                  <a:gd name="connsiteX150" fmla="*/ 881779 w 1173162"/>
                  <a:gd name="connsiteY150" fmla="*/ 215421 h 1173162"/>
                  <a:gd name="connsiteX151" fmla="*/ 882497 w 1173162"/>
                  <a:gd name="connsiteY151" fmla="*/ 208321 h 1173162"/>
                  <a:gd name="connsiteX152" fmla="*/ 886800 w 1173162"/>
                  <a:gd name="connsiteY152" fmla="*/ 195541 h 1173162"/>
                  <a:gd name="connsiteX153" fmla="*/ 889669 w 1173162"/>
                  <a:gd name="connsiteY153" fmla="*/ 189861 h 1173162"/>
                  <a:gd name="connsiteX154" fmla="*/ 889669 w 1173162"/>
                  <a:gd name="connsiteY154" fmla="*/ 188441 h 1173162"/>
                  <a:gd name="connsiteX155" fmla="*/ 896841 w 1173162"/>
                  <a:gd name="connsiteY155" fmla="*/ 177792 h 1173162"/>
                  <a:gd name="connsiteX156" fmla="*/ 901861 w 1173162"/>
                  <a:gd name="connsiteY156" fmla="*/ 172112 h 1173162"/>
                  <a:gd name="connsiteX157" fmla="*/ 911185 w 1173162"/>
                  <a:gd name="connsiteY157" fmla="*/ 165012 h 1173162"/>
                  <a:gd name="connsiteX158" fmla="*/ 912619 w 1173162"/>
                  <a:gd name="connsiteY158" fmla="*/ 162882 h 1173162"/>
                  <a:gd name="connsiteX159" fmla="*/ 931983 w 1173162"/>
                  <a:gd name="connsiteY159" fmla="*/ 154362 h 1173162"/>
                  <a:gd name="connsiteX160" fmla="*/ 945610 w 1173162"/>
                  <a:gd name="connsiteY160" fmla="*/ 151522 h 1173162"/>
                  <a:gd name="connsiteX161" fmla="*/ 951348 w 1173162"/>
                  <a:gd name="connsiteY161" fmla="*/ 150812 h 1173162"/>
                  <a:gd name="connsiteX162" fmla="*/ 221016 w 1173162"/>
                  <a:gd name="connsiteY162" fmla="*/ 150812 h 1173162"/>
                  <a:gd name="connsiteX163" fmla="*/ 227399 w 1173162"/>
                  <a:gd name="connsiteY163" fmla="*/ 151522 h 1173162"/>
                  <a:gd name="connsiteX164" fmla="*/ 247254 w 1173162"/>
                  <a:gd name="connsiteY164" fmla="*/ 156492 h 1173162"/>
                  <a:gd name="connsiteX165" fmla="*/ 259310 w 1173162"/>
                  <a:gd name="connsiteY165" fmla="*/ 162882 h 1173162"/>
                  <a:gd name="connsiteX166" fmla="*/ 260728 w 1173162"/>
                  <a:gd name="connsiteY166" fmla="*/ 165012 h 1173162"/>
                  <a:gd name="connsiteX167" fmla="*/ 269947 w 1173162"/>
                  <a:gd name="connsiteY167" fmla="*/ 172112 h 1173162"/>
                  <a:gd name="connsiteX168" fmla="*/ 282002 w 1173162"/>
                  <a:gd name="connsiteY168" fmla="*/ 189861 h 1173162"/>
                  <a:gd name="connsiteX169" fmla="*/ 289093 w 1173162"/>
                  <a:gd name="connsiteY169" fmla="*/ 208321 h 1173162"/>
                  <a:gd name="connsiteX170" fmla="*/ 289803 w 1173162"/>
                  <a:gd name="connsiteY170" fmla="*/ 215421 h 1173162"/>
                  <a:gd name="connsiteX171" fmla="*/ 289803 w 1173162"/>
                  <a:gd name="connsiteY171" fmla="*/ 228910 h 1173162"/>
                  <a:gd name="connsiteX172" fmla="*/ 289093 w 1173162"/>
                  <a:gd name="connsiteY172" fmla="*/ 234590 h 1173162"/>
                  <a:gd name="connsiteX173" fmla="*/ 269947 w 1173162"/>
                  <a:gd name="connsiteY173" fmla="*/ 271510 h 1173162"/>
                  <a:gd name="connsiteX174" fmla="*/ 264274 w 1173162"/>
                  <a:gd name="connsiteY174" fmla="*/ 276479 h 1173162"/>
                  <a:gd name="connsiteX175" fmla="*/ 247254 w 1173162"/>
                  <a:gd name="connsiteY175" fmla="*/ 287129 h 1173162"/>
                  <a:gd name="connsiteX176" fmla="*/ 233781 w 1173162"/>
                  <a:gd name="connsiteY176" fmla="*/ 290679 h 1173162"/>
                  <a:gd name="connsiteX177" fmla="*/ 221016 w 1173162"/>
                  <a:gd name="connsiteY177" fmla="*/ 292099 h 1173162"/>
                  <a:gd name="connsiteX178" fmla="*/ 208252 w 1173162"/>
                  <a:gd name="connsiteY178" fmla="*/ 290679 h 1173162"/>
                  <a:gd name="connsiteX179" fmla="*/ 201160 w 1173162"/>
                  <a:gd name="connsiteY179" fmla="*/ 289259 h 1173162"/>
                  <a:gd name="connsiteX180" fmla="*/ 189105 w 1173162"/>
                  <a:gd name="connsiteY180" fmla="*/ 284289 h 1173162"/>
                  <a:gd name="connsiteX181" fmla="*/ 182014 w 1173162"/>
                  <a:gd name="connsiteY181" fmla="*/ 280739 h 1173162"/>
                  <a:gd name="connsiteX182" fmla="*/ 172086 w 1173162"/>
                  <a:gd name="connsiteY182" fmla="*/ 271510 h 1173162"/>
                  <a:gd name="connsiteX183" fmla="*/ 163576 w 1173162"/>
                  <a:gd name="connsiteY183" fmla="*/ 262990 h 1173162"/>
                  <a:gd name="connsiteX184" fmla="*/ 151521 w 1173162"/>
                  <a:gd name="connsiteY184" fmla="*/ 228910 h 1173162"/>
                  <a:gd name="connsiteX185" fmla="*/ 150812 w 1173162"/>
                  <a:gd name="connsiteY185" fmla="*/ 221811 h 1173162"/>
                  <a:gd name="connsiteX186" fmla="*/ 151521 w 1173162"/>
                  <a:gd name="connsiteY186" fmla="*/ 215421 h 1173162"/>
                  <a:gd name="connsiteX187" fmla="*/ 152230 w 1173162"/>
                  <a:gd name="connsiteY187" fmla="*/ 208321 h 1173162"/>
                  <a:gd name="connsiteX188" fmla="*/ 156485 w 1173162"/>
                  <a:gd name="connsiteY188" fmla="*/ 195541 h 1173162"/>
                  <a:gd name="connsiteX189" fmla="*/ 159321 w 1173162"/>
                  <a:gd name="connsiteY189" fmla="*/ 188441 h 1173162"/>
                  <a:gd name="connsiteX190" fmla="*/ 166413 w 1173162"/>
                  <a:gd name="connsiteY190" fmla="*/ 177792 h 1173162"/>
                  <a:gd name="connsiteX191" fmla="*/ 172086 w 1173162"/>
                  <a:gd name="connsiteY191" fmla="*/ 172112 h 1173162"/>
                  <a:gd name="connsiteX192" fmla="*/ 182014 w 1173162"/>
                  <a:gd name="connsiteY192" fmla="*/ 162882 h 1173162"/>
                  <a:gd name="connsiteX193" fmla="*/ 201160 w 1173162"/>
                  <a:gd name="connsiteY193" fmla="*/ 154362 h 1173162"/>
                  <a:gd name="connsiteX194" fmla="*/ 221016 w 1173162"/>
                  <a:gd name="connsiteY194" fmla="*/ 150812 h 1173162"/>
                  <a:gd name="connsiteX195" fmla="*/ 578659 w 1173162"/>
                  <a:gd name="connsiteY195" fmla="*/ 0 h 1173162"/>
                  <a:gd name="connsiteX196" fmla="*/ 585787 w 1173162"/>
                  <a:gd name="connsiteY196" fmla="*/ 0 h 1173162"/>
                  <a:gd name="connsiteX197" fmla="*/ 607169 w 1173162"/>
                  <a:gd name="connsiteY197" fmla="*/ 2851 h 1173162"/>
                  <a:gd name="connsiteX198" fmla="*/ 615722 w 1173162"/>
                  <a:gd name="connsiteY198" fmla="*/ 7127 h 1173162"/>
                  <a:gd name="connsiteX199" fmla="*/ 642094 w 1173162"/>
                  <a:gd name="connsiteY199" fmla="*/ 27797 h 1173162"/>
                  <a:gd name="connsiteX200" fmla="*/ 646371 w 1173162"/>
                  <a:gd name="connsiteY200" fmla="*/ 34212 h 1173162"/>
                  <a:gd name="connsiteX201" fmla="*/ 649222 w 1173162"/>
                  <a:gd name="connsiteY201" fmla="*/ 39914 h 1173162"/>
                  <a:gd name="connsiteX202" fmla="*/ 652073 w 1173162"/>
                  <a:gd name="connsiteY202" fmla="*/ 45616 h 1173162"/>
                  <a:gd name="connsiteX203" fmla="*/ 654211 w 1173162"/>
                  <a:gd name="connsiteY203" fmla="*/ 55595 h 1173162"/>
                  <a:gd name="connsiteX204" fmla="*/ 654924 w 1173162"/>
                  <a:gd name="connsiteY204" fmla="*/ 57733 h 1173162"/>
                  <a:gd name="connsiteX205" fmla="*/ 655637 w 1173162"/>
                  <a:gd name="connsiteY205" fmla="*/ 63435 h 1173162"/>
                  <a:gd name="connsiteX206" fmla="*/ 655637 w 1173162"/>
                  <a:gd name="connsiteY206" fmla="*/ 69850 h 1173162"/>
                  <a:gd name="connsiteX207" fmla="*/ 652786 w 1173162"/>
                  <a:gd name="connsiteY207" fmla="*/ 91233 h 1173162"/>
                  <a:gd name="connsiteX208" fmla="*/ 585787 w 1173162"/>
                  <a:gd name="connsiteY208" fmla="*/ 139700 h 1173162"/>
                  <a:gd name="connsiteX209" fmla="*/ 578659 w 1173162"/>
                  <a:gd name="connsiteY209" fmla="*/ 139700 h 1173162"/>
                  <a:gd name="connsiteX210" fmla="*/ 571532 w 1173162"/>
                  <a:gd name="connsiteY210" fmla="*/ 138987 h 1173162"/>
                  <a:gd name="connsiteX211" fmla="*/ 561553 w 1173162"/>
                  <a:gd name="connsiteY211" fmla="*/ 136136 h 1173162"/>
                  <a:gd name="connsiteX212" fmla="*/ 555851 w 1173162"/>
                  <a:gd name="connsiteY212" fmla="*/ 133285 h 1173162"/>
                  <a:gd name="connsiteX213" fmla="*/ 549436 w 1173162"/>
                  <a:gd name="connsiteY213" fmla="*/ 130434 h 1173162"/>
                  <a:gd name="connsiteX214" fmla="*/ 543734 w 1173162"/>
                  <a:gd name="connsiteY214" fmla="*/ 126158 h 1173162"/>
                  <a:gd name="connsiteX215" fmla="*/ 522352 w 1173162"/>
                  <a:gd name="connsiteY215" fmla="*/ 101211 h 1173162"/>
                  <a:gd name="connsiteX216" fmla="*/ 518788 w 1173162"/>
                  <a:gd name="connsiteY216" fmla="*/ 91233 h 1173162"/>
                  <a:gd name="connsiteX217" fmla="*/ 515937 w 1173162"/>
                  <a:gd name="connsiteY217" fmla="*/ 69850 h 1173162"/>
                  <a:gd name="connsiteX218" fmla="*/ 515937 w 1173162"/>
                  <a:gd name="connsiteY218" fmla="*/ 63435 h 1173162"/>
                  <a:gd name="connsiteX219" fmla="*/ 516650 w 1173162"/>
                  <a:gd name="connsiteY219" fmla="*/ 57733 h 1173162"/>
                  <a:gd name="connsiteX220" fmla="*/ 517362 w 1173162"/>
                  <a:gd name="connsiteY220" fmla="*/ 55595 h 1173162"/>
                  <a:gd name="connsiteX221" fmla="*/ 518788 w 1173162"/>
                  <a:gd name="connsiteY221" fmla="*/ 49180 h 1173162"/>
                  <a:gd name="connsiteX222" fmla="*/ 522352 w 1173162"/>
                  <a:gd name="connsiteY222" fmla="*/ 39914 h 1173162"/>
                  <a:gd name="connsiteX223" fmla="*/ 525915 w 1173162"/>
                  <a:gd name="connsiteY223" fmla="*/ 34212 h 1173162"/>
                  <a:gd name="connsiteX224" fmla="*/ 529479 w 1173162"/>
                  <a:gd name="connsiteY224" fmla="*/ 27797 h 1173162"/>
                  <a:gd name="connsiteX225" fmla="*/ 543734 w 1173162"/>
                  <a:gd name="connsiteY225" fmla="*/ 13542 h 1173162"/>
                  <a:gd name="connsiteX226" fmla="*/ 549436 w 1173162"/>
                  <a:gd name="connsiteY226" fmla="*/ 9978 h 1173162"/>
                  <a:gd name="connsiteX227" fmla="*/ 555851 w 1173162"/>
                  <a:gd name="connsiteY227" fmla="*/ 7127 h 1173162"/>
                  <a:gd name="connsiteX228" fmla="*/ 564404 w 1173162"/>
                  <a:gd name="connsiteY228" fmla="*/ 2851 h 1173162"/>
                  <a:gd name="connsiteX229" fmla="*/ 571532 w 1173162"/>
                  <a:gd name="connsiteY229" fmla="*/ 1425 h 1173162"/>
                  <a:gd name="connsiteX230" fmla="*/ 578659 w 1173162"/>
                  <a:gd name="connsiteY230" fmla="*/ 0 h 1173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Lst>
                <a:rect l="l" t="t" r="r" b="b"/>
                <a:pathLst>
                  <a:path w="1173162" h="1173162">
                    <a:moveTo>
                      <a:pt x="578659" y="1035050"/>
                    </a:moveTo>
                    <a:cubicBezTo>
                      <a:pt x="581510" y="1035050"/>
                      <a:pt x="583648" y="1035050"/>
                      <a:pt x="585787" y="1035050"/>
                    </a:cubicBezTo>
                    <a:cubicBezTo>
                      <a:pt x="617148" y="1035050"/>
                      <a:pt x="643520" y="1054984"/>
                      <a:pt x="652786" y="1083461"/>
                    </a:cubicBezTo>
                    <a:cubicBezTo>
                      <a:pt x="654924" y="1089868"/>
                      <a:pt x="655637" y="1096987"/>
                      <a:pt x="655637" y="1104106"/>
                    </a:cubicBezTo>
                    <a:cubicBezTo>
                      <a:pt x="655637" y="1108378"/>
                      <a:pt x="655637" y="1112649"/>
                      <a:pt x="654924" y="1116209"/>
                    </a:cubicBezTo>
                    <a:cubicBezTo>
                      <a:pt x="649222" y="1148957"/>
                      <a:pt x="620712" y="1173162"/>
                      <a:pt x="585787" y="1173162"/>
                    </a:cubicBezTo>
                    <a:cubicBezTo>
                      <a:pt x="583648" y="1173162"/>
                      <a:pt x="581510" y="1173162"/>
                      <a:pt x="578659" y="1173162"/>
                    </a:cubicBezTo>
                    <a:cubicBezTo>
                      <a:pt x="575808" y="1173162"/>
                      <a:pt x="573670" y="1172450"/>
                      <a:pt x="571532" y="1172450"/>
                    </a:cubicBezTo>
                    <a:cubicBezTo>
                      <a:pt x="568681" y="1171738"/>
                      <a:pt x="564404" y="1170314"/>
                      <a:pt x="561553" y="1169603"/>
                    </a:cubicBezTo>
                    <a:cubicBezTo>
                      <a:pt x="559415" y="1168891"/>
                      <a:pt x="557277" y="1168179"/>
                      <a:pt x="555851" y="1166755"/>
                    </a:cubicBezTo>
                    <a:cubicBezTo>
                      <a:pt x="553713" y="1166043"/>
                      <a:pt x="550862" y="1165331"/>
                      <a:pt x="549436" y="1163907"/>
                    </a:cubicBezTo>
                    <a:cubicBezTo>
                      <a:pt x="547298" y="1162483"/>
                      <a:pt x="545872" y="1161060"/>
                      <a:pt x="543734" y="1159636"/>
                    </a:cubicBezTo>
                    <a:cubicBezTo>
                      <a:pt x="534468" y="1153228"/>
                      <a:pt x="527341" y="1143974"/>
                      <a:pt x="522352" y="1134719"/>
                    </a:cubicBezTo>
                    <a:cubicBezTo>
                      <a:pt x="520926" y="1131871"/>
                      <a:pt x="519501" y="1127599"/>
                      <a:pt x="518788" y="1124752"/>
                    </a:cubicBezTo>
                    <a:cubicBezTo>
                      <a:pt x="518075" y="1121904"/>
                      <a:pt x="517362" y="1119056"/>
                      <a:pt x="516650" y="1116209"/>
                    </a:cubicBezTo>
                    <a:cubicBezTo>
                      <a:pt x="515937" y="1112649"/>
                      <a:pt x="515937" y="1108378"/>
                      <a:pt x="515937" y="1104106"/>
                    </a:cubicBezTo>
                    <a:cubicBezTo>
                      <a:pt x="515937" y="1096987"/>
                      <a:pt x="516650" y="1089868"/>
                      <a:pt x="518788" y="1083461"/>
                    </a:cubicBezTo>
                    <a:cubicBezTo>
                      <a:pt x="519501" y="1080613"/>
                      <a:pt x="520926" y="1077053"/>
                      <a:pt x="522352" y="1074206"/>
                    </a:cubicBezTo>
                    <a:cubicBezTo>
                      <a:pt x="527341" y="1064239"/>
                      <a:pt x="534468" y="1054984"/>
                      <a:pt x="543734" y="1048577"/>
                    </a:cubicBezTo>
                    <a:cubicBezTo>
                      <a:pt x="545872" y="1047865"/>
                      <a:pt x="547298" y="1046441"/>
                      <a:pt x="549436" y="1044305"/>
                    </a:cubicBezTo>
                    <a:cubicBezTo>
                      <a:pt x="550862" y="1043593"/>
                      <a:pt x="553713" y="1042169"/>
                      <a:pt x="555851" y="1041457"/>
                    </a:cubicBezTo>
                    <a:cubicBezTo>
                      <a:pt x="557277" y="1040745"/>
                      <a:pt x="559415" y="1040034"/>
                      <a:pt x="561553" y="1038610"/>
                    </a:cubicBezTo>
                    <a:cubicBezTo>
                      <a:pt x="564404" y="1037898"/>
                      <a:pt x="568681" y="1037186"/>
                      <a:pt x="571532" y="1036474"/>
                    </a:cubicBezTo>
                    <a:cubicBezTo>
                      <a:pt x="573670" y="1035762"/>
                      <a:pt x="575808" y="1035762"/>
                      <a:pt x="578659" y="1035050"/>
                    </a:cubicBezTo>
                    <a:close/>
                    <a:moveTo>
                      <a:pt x="951348" y="881062"/>
                    </a:moveTo>
                    <a:cubicBezTo>
                      <a:pt x="955651" y="881062"/>
                      <a:pt x="960671" y="881780"/>
                      <a:pt x="964257" y="882498"/>
                    </a:cubicBezTo>
                    <a:cubicBezTo>
                      <a:pt x="966409" y="882498"/>
                      <a:pt x="969278" y="883934"/>
                      <a:pt x="971429" y="884652"/>
                    </a:cubicBezTo>
                    <a:cubicBezTo>
                      <a:pt x="976450" y="886088"/>
                      <a:pt x="980036" y="887524"/>
                      <a:pt x="983622" y="889678"/>
                    </a:cubicBezTo>
                    <a:cubicBezTo>
                      <a:pt x="990794" y="892550"/>
                      <a:pt x="996531" y="896857"/>
                      <a:pt x="1000834" y="902601"/>
                    </a:cubicBezTo>
                    <a:cubicBezTo>
                      <a:pt x="1004420" y="904755"/>
                      <a:pt x="1007289" y="908345"/>
                      <a:pt x="1009441" y="911217"/>
                    </a:cubicBezTo>
                    <a:cubicBezTo>
                      <a:pt x="1013744" y="917678"/>
                      <a:pt x="1016613" y="924140"/>
                      <a:pt x="1019481" y="932038"/>
                    </a:cubicBezTo>
                    <a:cubicBezTo>
                      <a:pt x="1021633" y="938499"/>
                      <a:pt x="1022350" y="945679"/>
                      <a:pt x="1022350" y="952141"/>
                    </a:cubicBezTo>
                    <a:cubicBezTo>
                      <a:pt x="1022350" y="959320"/>
                      <a:pt x="1021633" y="965782"/>
                      <a:pt x="1019481" y="971526"/>
                    </a:cubicBezTo>
                    <a:cubicBezTo>
                      <a:pt x="1016613" y="978705"/>
                      <a:pt x="1014461" y="984449"/>
                      <a:pt x="1010158" y="990911"/>
                    </a:cubicBezTo>
                    <a:cubicBezTo>
                      <a:pt x="1008006" y="994501"/>
                      <a:pt x="1005137" y="998090"/>
                      <a:pt x="1000834" y="1001680"/>
                    </a:cubicBezTo>
                    <a:cubicBezTo>
                      <a:pt x="985773" y="1016757"/>
                      <a:pt x="964974" y="1023937"/>
                      <a:pt x="945610" y="1022501"/>
                    </a:cubicBezTo>
                    <a:cubicBezTo>
                      <a:pt x="933418" y="1021065"/>
                      <a:pt x="921225" y="1016040"/>
                      <a:pt x="911185" y="1009578"/>
                    </a:cubicBezTo>
                    <a:cubicBezTo>
                      <a:pt x="909750" y="1008860"/>
                      <a:pt x="908316" y="1007424"/>
                      <a:pt x="907599" y="1006706"/>
                    </a:cubicBezTo>
                    <a:cubicBezTo>
                      <a:pt x="905447" y="1005270"/>
                      <a:pt x="904013" y="1003834"/>
                      <a:pt x="901861" y="1001680"/>
                    </a:cubicBezTo>
                    <a:cubicBezTo>
                      <a:pt x="898275" y="998090"/>
                      <a:pt x="895406" y="994501"/>
                      <a:pt x="893255" y="990911"/>
                    </a:cubicBezTo>
                    <a:cubicBezTo>
                      <a:pt x="891820" y="988757"/>
                      <a:pt x="890386" y="985885"/>
                      <a:pt x="889669" y="984449"/>
                    </a:cubicBezTo>
                    <a:cubicBezTo>
                      <a:pt x="887517" y="980141"/>
                      <a:pt x="886083" y="976551"/>
                      <a:pt x="884648" y="971526"/>
                    </a:cubicBezTo>
                    <a:cubicBezTo>
                      <a:pt x="881779" y="965782"/>
                      <a:pt x="881062" y="959320"/>
                      <a:pt x="881062" y="952141"/>
                    </a:cubicBezTo>
                    <a:cubicBezTo>
                      <a:pt x="881062" y="945679"/>
                      <a:pt x="881779" y="938499"/>
                      <a:pt x="884648" y="932038"/>
                    </a:cubicBezTo>
                    <a:cubicBezTo>
                      <a:pt x="887517" y="921268"/>
                      <a:pt x="893255" y="910499"/>
                      <a:pt x="901861" y="902601"/>
                    </a:cubicBezTo>
                    <a:cubicBezTo>
                      <a:pt x="904013" y="900447"/>
                      <a:pt x="905447" y="899011"/>
                      <a:pt x="907599" y="896857"/>
                    </a:cubicBezTo>
                    <a:cubicBezTo>
                      <a:pt x="914771" y="891114"/>
                      <a:pt x="922660" y="887524"/>
                      <a:pt x="931983" y="884652"/>
                    </a:cubicBezTo>
                    <a:cubicBezTo>
                      <a:pt x="934135" y="883934"/>
                      <a:pt x="936286" y="883934"/>
                      <a:pt x="938438" y="882498"/>
                    </a:cubicBezTo>
                    <a:cubicBezTo>
                      <a:pt x="942741" y="881780"/>
                      <a:pt x="947762" y="881062"/>
                      <a:pt x="951348" y="881062"/>
                    </a:cubicBezTo>
                    <a:close/>
                    <a:moveTo>
                      <a:pt x="221016" y="881062"/>
                    </a:moveTo>
                    <a:cubicBezTo>
                      <a:pt x="224562" y="881062"/>
                      <a:pt x="229526" y="881780"/>
                      <a:pt x="233781" y="882498"/>
                    </a:cubicBezTo>
                    <a:cubicBezTo>
                      <a:pt x="245127" y="885370"/>
                      <a:pt x="255055" y="889678"/>
                      <a:pt x="264274" y="896857"/>
                    </a:cubicBezTo>
                    <a:cubicBezTo>
                      <a:pt x="266401" y="899011"/>
                      <a:pt x="267819" y="900447"/>
                      <a:pt x="269947" y="902601"/>
                    </a:cubicBezTo>
                    <a:cubicBezTo>
                      <a:pt x="279875" y="911935"/>
                      <a:pt x="286257" y="924140"/>
                      <a:pt x="289093" y="937063"/>
                    </a:cubicBezTo>
                    <a:cubicBezTo>
                      <a:pt x="289093" y="939935"/>
                      <a:pt x="289803" y="942089"/>
                      <a:pt x="289803" y="945679"/>
                    </a:cubicBezTo>
                    <a:cubicBezTo>
                      <a:pt x="290512" y="949987"/>
                      <a:pt x="290512" y="954295"/>
                      <a:pt x="289803" y="959320"/>
                    </a:cubicBezTo>
                    <a:cubicBezTo>
                      <a:pt x="289803" y="961474"/>
                      <a:pt x="289803" y="963628"/>
                      <a:pt x="289093" y="965064"/>
                    </a:cubicBezTo>
                    <a:cubicBezTo>
                      <a:pt x="287675" y="971526"/>
                      <a:pt x="286257" y="978705"/>
                      <a:pt x="282002" y="984449"/>
                    </a:cubicBezTo>
                    <a:cubicBezTo>
                      <a:pt x="279166" y="990911"/>
                      <a:pt x="274911" y="996654"/>
                      <a:pt x="269947" y="1001680"/>
                    </a:cubicBezTo>
                    <a:cubicBezTo>
                      <a:pt x="267819" y="1003834"/>
                      <a:pt x="266401" y="1005270"/>
                      <a:pt x="264274" y="1006706"/>
                    </a:cubicBezTo>
                    <a:cubicBezTo>
                      <a:pt x="263565" y="1007424"/>
                      <a:pt x="262146" y="1008860"/>
                      <a:pt x="260728" y="1009578"/>
                    </a:cubicBezTo>
                    <a:cubicBezTo>
                      <a:pt x="250800" y="1016040"/>
                      <a:pt x="238745" y="1021065"/>
                      <a:pt x="227399" y="1022501"/>
                    </a:cubicBezTo>
                    <a:cubicBezTo>
                      <a:pt x="207543" y="1023937"/>
                      <a:pt x="186978" y="1016757"/>
                      <a:pt x="172086" y="1001680"/>
                    </a:cubicBezTo>
                    <a:cubicBezTo>
                      <a:pt x="168540" y="998090"/>
                      <a:pt x="164994" y="994501"/>
                      <a:pt x="162867" y="990911"/>
                    </a:cubicBezTo>
                    <a:cubicBezTo>
                      <a:pt x="158612" y="984449"/>
                      <a:pt x="156485" y="978705"/>
                      <a:pt x="154357" y="971526"/>
                    </a:cubicBezTo>
                    <a:cubicBezTo>
                      <a:pt x="151521" y="965782"/>
                      <a:pt x="150812" y="959320"/>
                      <a:pt x="150812" y="952141"/>
                    </a:cubicBezTo>
                    <a:cubicBezTo>
                      <a:pt x="150812" y="945679"/>
                      <a:pt x="151521" y="938499"/>
                      <a:pt x="154357" y="932038"/>
                    </a:cubicBezTo>
                    <a:cubicBezTo>
                      <a:pt x="156485" y="924140"/>
                      <a:pt x="159321" y="917678"/>
                      <a:pt x="163576" y="911217"/>
                    </a:cubicBezTo>
                    <a:cubicBezTo>
                      <a:pt x="165704" y="908345"/>
                      <a:pt x="169249" y="904755"/>
                      <a:pt x="172086" y="902601"/>
                    </a:cubicBezTo>
                    <a:cubicBezTo>
                      <a:pt x="176341" y="896857"/>
                      <a:pt x="182014" y="892550"/>
                      <a:pt x="189105" y="889678"/>
                    </a:cubicBezTo>
                    <a:cubicBezTo>
                      <a:pt x="192651" y="887524"/>
                      <a:pt x="196197" y="886088"/>
                      <a:pt x="201160" y="884652"/>
                    </a:cubicBezTo>
                    <a:cubicBezTo>
                      <a:pt x="203288" y="883934"/>
                      <a:pt x="206124" y="882498"/>
                      <a:pt x="208252" y="882498"/>
                    </a:cubicBezTo>
                    <a:cubicBezTo>
                      <a:pt x="212507" y="881780"/>
                      <a:pt x="216762" y="881062"/>
                      <a:pt x="221016" y="881062"/>
                    </a:cubicBezTo>
                    <a:close/>
                    <a:moveTo>
                      <a:pt x="1103312" y="517525"/>
                    </a:moveTo>
                    <a:cubicBezTo>
                      <a:pt x="1106876" y="517525"/>
                      <a:pt x="1111153" y="517525"/>
                      <a:pt x="1114004" y="518237"/>
                    </a:cubicBezTo>
                    <a:cubicBezTo>
                      <a:pt x="1114716" y="518237"/>
                      <a:pt x="1114716" y="518237"/>
                      <a:pt x="1115429" y="518237"/>
                    </a:cubicBezTo>
                    <a:cubicBezTo>
                      <a:pt x="1117567" y="518949"/>
                      <a:pt x="1118993" y="518949"/>
                      <a:pt x="1120418" y="519661"/>
                    </a:cubicBezTo>
                    <a:cubicBezTo>
                      <a:pt x="1121844" y="519661"/>
                      <a:pt x="1122557" y="520373"/>
                      <a:pt x="1124695" y="520373"/>
                    </a:cubicBezTo>
                    <a:cubicBezTo>
                      <a:pt x="1127546" y="521085"/>
                      <a:pt x="1130397" y="522509"/>
                      <a:pt x="1133248" y="523932"/>
                    </a:cubicBezTo>
                    <a:cubicBezTo>
                      <a:pt x="1136812" y="526068"/>
                      <a:pt x="1139663" y="527492"/>
                      <a:pt x="1142514" y="529628"/>
                    </a:cubicBezTo>
                    <a:cubicBezTo>
                      <a:pt x="1144652" y="530340"/>
                      <a:pt x="1146078" y="531763"/>
                      <a:pt x="1147503" y="533187"/>
                    </a:cubicBezTo>
                    <a:cubicBezTo>
                      <a:pt x="1157482" y="541018"/>
                      <a:pt x="1165322" y="550985"/>
                      <a:pt x="1169598" y="563088"/>
                    </a:cubicBezTo>
                    <a:cubicBezTo>
                      <a:pt x="1171737" y="570207"/>
                      <a:pt x="1173162" y="578750"/>
                      <a:pt x="1173162" y="586581"/>
                    </a:cubicBezTo>
                    <a:cubicBezTo>
                      <a:pt x="1173162" y="595124"/>
                      <a:pt x="1171737" y="602955"/>
                      <a:pt x="1169598" y="610786"/>
                    </a:cubicBezTo>
                    <a:cubicBezTo>
                      <a:pt x="1168886" y="612210"/>
                      <a:pt x="1168886" y="612922"/>
                      <a:pt x="1168173" y="613634"/>
                    </a:cubicBezTo>
                    <a:cubicBezTo>
                      <a:pt x="1163184" y="623601"/>
                      <a:pt x="1156769" y="633568"/>
                      <a:pt x="1147503" y="639975"/>
                    </a:cubicBezTo>
                    <a:cubicBezTo>
                      <a:pt x="1146078" y="641399"/>
                      <a:pt x="1144652" y="643535"/>
                      <a:pt x="1142514" y="644958"/>
                    </a:cubicBezTo>
                    <a:cubicBezTo>
                      <a:pt x="1135386" y="648518"/>
                      <a:pt x="1128971" y="652078"/>
                      <a:pt x="1120418" y="654213"/>
                    </a:cubicBezTo>
                    <a:cubicBezTo>
                      <a:pt x="1118993" y="654213"/>
                      <a:pt x="1117567" y="654925"/>
                      <a:pt x="1115429" y="654925"/>
                    </a:cubicBezTo>
                    <a:cubicBezTo>
                      <a:pt x="1114716" y="654925"/>
                      <a:pt x="1114716" y="654925"/>
                      <a:pt x="1114004" y="654925"/>
                    </a:cubicBezTo>
                    <a:cubicBezTo>
                      <a:pt x="1111153" y="655637"/>
                      <a:pt x="1106876" y="655637"/>
                      <a:pt x="1103312" y="655637"/>
                    </a:cubicBezTo>
                    <a:cubicBezTo>
                      <a:pt x="1095472" y="655637"/>
                      <a:pt x="1089057" y="654925"/>
                      <a:pt x="1081930" y="652789"/>
                    </a:cubicBezTo>
                    <a:cubicBezTo>
                      <a:pt x="1053419" y="644246"/>
                      <a:pt x="1033462" y="617906"/>
                      <a:pt x="1033462" y="586581"/>
                    </a:cubicBezTo>
                    <a:cubicBezTo>
                      <a:pt x="1033462" y="584445"/>
                      <a:pt x="1033462" y="582310"/>
                      <a:pt x="1033462" y="580174"/>
                    </a:cubicBezTo>
                    <a:cubicBezTo>
                      <a:pt x="1033462" y="577326"/>
                      <a:pt x="1034175" y="574479"/>
                      <a:pt x="1034888" y="572343"/>
                    </a:cubicBezTo>
                    <a:cubicBezTo>
                      <a:pt x="1034888" y="569495"/>
                      <a:pt x="1036313" y="565936"/>
                      <a:pt x="1037026" y="563088"/>
                    </a:cubicBezTo>
                    <a:cubicBezTo>
                      <a:pt x="1037739" y="560952"/>
                      <a:pt x="1039164" y="558104"/>
                      <a:pt x="1039877" y="556681"/>
                    </a:cubicBezTo>
                    <a:cubicBezTo>
                      <a:pt x="1040590" y="554545"/>
                      <a:pt x="1042015" y="552409"/>
                      <a:pt x="1042728" y="550985"/>
                    </a:cubicBezTo>
                    <a:cubicBezTo>
                      <a:pt x="1044866" y="548849"/>
                      <a:pt x="1045579" y="547426"/>
                      <a:pt x="1047005" y="545290"/>
                    </a:cubicBezTo>
                    <a:cubicBezTo>
                      <a:pt x="1053419" y="536035"/>
                      <a:pt x="1062685" y="529628"/>
                      <a:pt x="1073377" y="523932"/>
                    </a:cubicBezTo>
                    <a:cubicBezTo>
                      <a:pt x="1076228" y="522509"/>
                      <a:pt x="1079079" y="521085"/>
                      <a:pt x="1081930" y="520373"/>
                    </a:cubicBezTo>
                    <a:cubicBezTo>
                      <a:pt x="1089057" y="518237"/>
                      <a:pt x="1095472" y="517525"/>
                      <a:pt x="1103312" y="517525"/>
                    </a:cubicBezTo>
                    <a:close/>
                    <a:moveTo>
                      <a:pt x="69850" y="517525"/>
                    </a:moveTo>
                    <a:cubicBezTo>
                      <a:pt x="77690" y="517525"/>
                      <a:pt x="84105" y="518237"/>
                      <a:pt x="91232" y="520373"/>
                    </a:cubicBezTo>
                    <a:cubicBezTo>
                      <a:pt x="94083" y="521085"/>
                      <a:pt x="96934" y="522509"/>
                      <a:pt x="99785" y="523932"/>
                    </a:cubicBezTo>
                    <a:cubicBezTo>
                      <a:pt x="110477" y="529628"/>
                      <a:pt x="119743" y="536035"/>
                      <a:pt x="126157" y="545290"/>
                    </a:cubicBezTo>
                    <a:cubicBezTo>
                      <a:pt x="128296" y="547426"/>
                      <a:pt x="129008" y="548849"/>
                      <a:pt x="130434" y="550985"/>
                    </a:cubicBezTo>
                    <a:cubicBezTo>
                      <a:pt x="131147" y="552409"/>
                      <a:pt x="132572" y="554545"/>
                      <a:pt x="133285" y="556681"/>
                    </a:cubicBezTo>
                    <a:cubicBezTo>
                      <a:pt x="133998" y="558104"/>
                      <a:pt x="135423" y="560952"/>
                      <a:pt x="136136" y="563088"/>
                    </a:cubicBezTo>
                    <a:cubicBezTo>
                      <a:pt x="136849" y="565936"/>
                      <a:pt x="138274" y="569495"/>
                      <a:pt x="138274" y="572343"/>
                    </a:cubicBezTo>
                    <a:cubicBezTo>
                      <a:pt x="138987" y="574479"/>
                      <a:pt x="139700" y="577326"/>
                      <a:pt x="139700" y="580174"/>
                    </a:cubicBezTo>
                    <a:cubicBezTo>
                      <a:pt x="139700" y="582310"/>
                      <a:pt x="139700" y="584445"/>
                      <a:pt x="139700" y="586581"/>
                    </a:cubicBezTo>
                    <a:cubicBezTo>
                      <a:pt x="139700" y="617906"/>
                      <a:pt x="119743" y="644246"/>
                      <a:pt x="91232" y="652789"/>
                    </a:cubicBezTo>
                    <a:cubicBezTo>
                      <a:pt x="84105" y="654925"/>
                      <a:pt x="77690" y="655637"/>
                      <a:pt x="69850" y="655637"/>
                    </a:cubicBezTo>
                    <a:cubicBezTo>
                      <a:pt x="66286" y="655637"/>
                      <a:pt x="62009" y="655637"/>
                      <a:pt x="57733" y="654925"/>
                    </a:cubicBezTo>
                    <a:cubicBezTo>
                      <a:pt x="24946" y="649230"/>
                      <a:pt x="0" y="620753"/>
                      <a:pt x="0" y="586581"/>
                    </a:cubicBezTo>
                    <a:cubicBezTo>
                      <a:pt x="0" y="584445"/>
                      <a:pt x="0" y="582310"/>
                      <a:pt x="0" y="580174"/>
                    </a:cubicBezTo>
                    <a:cubicBezTo>
                      <a:pt x="0" y="577326"/>
                      <a:pt x="713" y="574479"/>
                      <a:pt x="1425" y="572343"/>
                    </a:cubicBezTo>
                    <a:cubicBezTo>
                      <a:pt x="1425" y="569495"/>
                      <a:pt x="2851" y="565936"/>
                      <a:pt x="3564" y="563088"/>
                    </a:cubicBezTo>
                    <a:cubicBezTo>
                      <a:pt x="4276" y="560952"/>
                      <a:pt x="5702" y="558104"/>
                      <a:pt x="6415" y="556681"/>
                    </a:cubicBezTo>
                    <a:cubicBezTo>
                      <a:pt x="7840" y="554545"/>
                      <a:pt x="9266" y="552409"/>
                      <a:pt x="9978" y="550985"/>
                    </a:cubicBezTo>
                    <a:cubicBezTo>
                      <a:pt x="11404" y="548849"/>
                      <a:pt x="12117" y="547426"/>
                      <a:pt x="13542" y="545290"/>
                    </a:cubicBezTo>
                    <a:cubicBezTo>
                      <a:pt x="19957" y="536035"/>
                      <a:pt x="29223" y="529628"/>
                      <a:pt x="39914" y="523932"/>
                    </a:cubicBezTo>
                    <a:cubicBezTo>
                      <a:pt x="42765" y="522509"/>
                      <a:pt x="45616" y="521085"/>
                      <a:pt x="49180" y="520373"/>
                    </a:cubicBezTo>
                    <a:cubicBezTo>
                      <a:pt x="52031" y="519661"/>
                      <a:pt x="54882" y="518949"/>
                      <a:pt x="57733" y="518237"/>
                    </a:cubicBezTo>
                    <a:cubicBezTo>
                      <a:pt x="62009" y="517525"/>
                      <a:pt x="66286" y="517525"/>
                      <a:pt x="69850" y="517525"/>
                    </a:cubicBezTo>
                    <a:close/>
                    <a:moveTo>
                      <a:pt x="951348" y="150812"/>
                    </a:moveTo>
                    <a:cubicBezTo>
                      <a:pt x="957802" y="150812"/>
                      <a:pt x="964974" y="152942"/>
                      <a:pt x="971429" y="154362"/>
                    </a:cubicBezTo>
                    <a:cubicBezTo>
                      <a:pt x="978601" y="156492"/>
                      <a:pt x="984339" y="159332"/>
                      <a:pt x="990794" y="162882"/>
                    </a:cubicBezTo>
                    <a:cubicBezTo>
                      <a:pt x="994380" y="165722"/>
                      <a:pt x="997966" y="168562"/>
                      <a:pt x="1000834" y="172112"/>
                    </a:cubicBezTo>
                    <a:cubicBezTo>
                      <a:pt x="1003703" y="173532"/>
                      <a:pt x="1005137" y="174952"/>
                      <a:pt x="1006572" y="177792"/>
                    </a:cubicBezTo>
                    <a:cubicBezTo>
                      <a:pt x="1009441" y="181341"/>
                      <a:pt x="1011592" y="184891"/>
                      <a:pt x="1013744" y="188441"/>
                    </a:cubicBezTo>
                    <a:cubicBezTo>
                      <a:pt x="1015178" y="191281"/>
                      <a:pt x="1015895" y="193411"/>
                      <a:pt x="1016613" y="195541"/>
                    </a:cubicBezTo>
                    <a:cubicBezTo>
                      <a:pt x="1018764" y="199091"/>
                      <a:pt x="1020199" y="204061"/>
                      <a:pt x="1020916" y="208321"/>
                    </a:cubicBezTo>
                    <a:cubicBezTo>
                      <a:pt x="1021633" y="210451"/>
                      <a:pt x="1021633" y="212581"/>
                      <a:pt x="1021633" y="215421"/>
                    </a:cubicBezTo>
                    <a:cubicBezTo>
                      <a:pt x="1022350" y="217551"/>
                      <a:pt x="1022350" y="219681"/>
                      <a:pt x="1022350" y="221811"/>
                    </a:cubicBezTo>
                    <a:cubicBezTo>
                      <a:pt x="1022350" y="223941"/>
                      <a:pt x="1022350" y="226781"/>
                      <a:pt x="1021633" y="228910"/>
                    </a:cubicBezTo>
                    <a:cubicBezTo>
                      <a:pt x="1020916" y="240270"/>
                      <a:pt x="1015895" y="252340"/>
                      <a:pt x="1009441" y="262990"/>
                    </a:cubicBezTo>
                    <a:cubicBezTo>
                      <a:pt x="1007289" y="265830"/>
                      <a:pt x="1004420" y="268670"/>
                      <a:pt x="1000834" y="271510"/>
                    </a:cubicBezTo>
                    <a:cubicBezTo>
                      <a:pt x="997966" y="275059"/>
                      <a:pt x="994380" y="277899"/>
                      <a:pt x="990794" y="280739"/>
                    </a:cubicBezTo>
                    <a:cubicBezTo>
                      <a:pt x="987925" y="281449"/>
                      <a:pt x="985773" y="282869"/>
                      <a:pt x="983622" y="284289"/>
                    </a:cubicBezTo>
                    <a:cubicBezTo>
                      <a:pt x="980036" y="285709"/>
                      <a:pt x="976450" y="287839"/>
                      <a:pt x="971429" y="289259"/>
                    </a:cubicBezTo>
                    <a:cubicBezTo>
                      <a:pt x="969278" y="289969"/>
                      <a:pt x="966409" y="290679"/>
                      <a:pt x="964257" y="290679"/>
                    </a:cubicBezTo>
                    <a:cubicBezTo>
                      <a:pt x="960671" y="291389"/>
                      <a:pt x="955651" y="292099"/>
                      <a:pt x="951348" y="292099"/>
                    </a:cubicBezTo>
                    <a:cubicBezTo>
                      <a:pt x="947762" y="292099"/>
                      <a:pt x="942741" y="291389"/>
                      <a:pt x="938438" y="290679"/>
                    </a:cubicBezTo>
                    <a:cubicBezTo>
                      <a:pt x="936286" y="290679"/>
                      <a:pt x="934135" y="289969"/>
                      <a:pt x="931983" y="289259"/>
                    </a:cubicBezTo>
                    <a:cubicBezTo>
                      <a:pt x="924811" y="287839"/>
                      <a:pt x="919074" y="284289"/>
                      <a:pt x="912619" y="280739"/>
                    </a:cubicBezTo>
                    <a:cubicBezTo>
                      <a:pt x="909033" y="277899"/>
                      <a:pt x="905447" y="275059"/>
                      <a:pt x="901861" y="271510"/>
                    </a:cubicBezTo>
                    <a:cubicBezTo>
                      <a:pt x="890386" y="259440"/>
                      <a:pt x="883214" y="243820"/>
                      <a:pt x="881779" y="228910"/>
                    </a:cubicBezTo>
                    <a:cubicBezTo>
                      <a:pt x="881062" y="226781"/>
                      <a:pt x="881062" y="223941"/>
                      <a:pt x="881062" y="221811"/>
                    </a:cubicBezTo>
                    <a:cubicBezTo>
                      <a:pt x="881062" y="219681"/>
                      <a:pt x="881062" y="217551"/>
                      <a:pt x="881779" y="215421"/>
                    </a:cubicBezTo>
                    <a:cubicBezTo>
                      <a:pt x="881779" y="212581"/>
                      <a:pt x="881779" y="210451"/>
                      <a:pt x="882497" y="208321"/>
                    </a:cubicBezTo>
                    <a:cubicBezTo>
                      <a:pt x="883214" y="204061"/>
                      <a:pt x="885365" y="199091"/>
                      <a:pt x="886800" y="195541"/>
                    </a:cubicBezTo>
                    <a:cubicBezTo>
                      <a:pt x="887517" y="193411"/>
                      <a:pt x="888234" y="191281"/>
                      <a:pt x="889669" y="189861"/>
                    </a:cubicBezTo>
                    <a:cubicBezTo>
                      <a:pt x="889669" y="189861"/>
                      <a:pt x="889669" y="189861"/>
                      <a:pt x="889669" y="188441"/>
                    </a:cubicBezTo>
                    <a:cubicBezTo>
                      <a:pt x="891820" y="184891"/>
                      <a:pt x="893972" y="181341"/>
                      <a:pt x="896841" y="177792"/>
                    </a:cubicBezTo>
                    <a:cubicBezTo>
                      <a:pt x="898275" y="174952"/>
                      <a:pt x="900427" y="173532"/>
                      <a:pt x="901861" y="172112"/>
                    </a:cubicBezTo>
                    <a:cubicBezTo>
                      <a:pt x="904730" y="169272"/>
                      <a:pt x="907599" y="167142"/>
                      <a:pt x="911185" y="165012"/>
                    </a:cubicBezTo>
                    <a:cubicBezTo>
                      <a:pt x="911185" y="163592"/>
                      <a:pt x="911902" y="162882"/>
                      <a:pt x="912619" y="162882"/>
                    </a:cubicBezTo>
                    <a:cubicBezTo>
                      <a:pt x="919074" y="159332"/>
                      <a:pt x="924811" y="156492"/>
                      <a:pt x="931983" y="154362"/>
                    </a:cubicBezTo>
                    <a:cubicBezTo>
                      <a:pt x="936286" y="152942"/>
                      <a:pt x="940590" y="151522"/>
                      <a:pt x="945610" y="151522"/>
                    </a:cubicBezTo>
                    <a:cubicBezTo>
                      <a:pt x="947762" y="150812"/>
                      <a:pt x="949913" y="150812"/>
                      <a:pt x="951348" y="150812"/>
                    </a:cubicBezTo>
                    <a:close/>
                    <a:moveTo>
                      <a:pt x="221016" y="150812"/>
                    </a:moveTo>
                    <a:cubicBezTo>
                      <a:pt x="222435" y="150812"/>
                      <a:pt x="224562" y="150812"/>
                      <a:pt x="227399" y="151522"/>
                    </a:cubicBezTo>
                    <a:cubicBezTo>
                      <a:pt x="233781" y="152942"/>
                      <a:pt x="240163" y="154362"/>
                      <a:pt x="247254" y="156492"/>
                    </a:cubicBezTo>
                    <a:cubicBezTo>
                      <a:pt x="250800" y="157912"/>
                      <a:pt x="255055" y="160042"/>
                      <a:pt x="259310" y="162882"/>
                    </a:cubicBezTo>
                    <a:cubicBezTo>
                      <a:pt x="260019" y="162882"/>
                      <a:pt x="260728" y="163592"/>
                      <a:pt x="260728" y="165012"/>
                    </a:cubicBezTo>
                    <a:cubicBezTo>
                      <a:pt x="264274" y="167142"/>
                      <a:pt x="267110" y="169272"/>
                      <a:pt x="269947" y="172112"/>
                    </a:cubicBezTo>
                    <a:cubicBezTo>
                      <a:pt x="274911" y="177792"/>
                      <a:pt x="279166" y="182761"/>
                      <a:pt x="282002" y="189861"/>
                    </a:cubicBezTo>
                    <a:cubicBezTo>
                      <a:pt x="286257" y="195541"/>
                      <a:pt x="287675" y="201931"/>
                      <a:pt x="289093" y="208321"/>
                    </a:cubicBezTo>
                    <a:cubicBezTo>
                      <a:pt x="289803" y="210451"/>
                      <a:pt x="289803" y="212581"/>
                      <a:pt x="289803" y="215421"/>
                    </a:cubicBezTo>
                    <a:cubicBezTo>
                      <a:pt x="290512" y="219681"/>
                      <a:pt x="290512" y="223941"/>
                      <a:pt x="289803" y="228910"/>
                    </a:cubicBezTo>
                    <a:cubicBezTo>
                      <a:pt x="289803" y="231040"/>
                      <a:pt x="289803" y="233170"/>
                      <a:pt x="289093" y="234590"/>
                    </a:cubicBezTo>
                    <a:cubicBezTo>
                      <a:pt x="286966" y="248080"/>
                      <a:pt x="279875" y="260860"/>
                      <a:pt x="269947" y="271510"/>
                    </a:cubicBezTo>
                    <a:cubicBezTo>
                      <a:pt x="267819" y="272930"/>
                      <a:pt x="266401" y="275059"/>
                      <a:pt x="264274" y="276479"/>
                    </a:cubicBezTo>
                    <a:cubicBezTo>
                      <a:pt x="259310" y="280739"/>
                      <a:pt x="252927" y="284289"/>
                      <a:pt x="247254" y="287129"/>
                    </a:cubicBezTo>
                    <a:cubicBezTo>
                      <a:pt x="243000" y="288549"/>
                      <a:pt x="238036" y="289969"/>
                      <a:pt x="233781" y="290679"/>
                    </a:cubicBezTo>
                    <a:cubicBezTo>
                      <a:pt x="229526" y="291389"/>
                      <a:pt x="224562" y="292099"/>
                      <a:pt x="221016" y="292099"/>
                    </a:cubicBezTo>
                    <a:cubicBezTo>
                      <a:pt x="216762" y="292099"/>
                      <a:pt x="212507" y="291389"/>
                      <a:pt x="208252" y="290679"/>
                    </a:cubicBezTo>
                    <a:cubicBezTo>
                      <a:pt x="206124" y="290679"/>
                      <a:pt x="203288" y="289969"/>
                      <a:pt x="201160" y="289259"/>
                    </a:cubicBezTo>
                    <a:cubicBezTo>
                      <a:pt x="196197" y="287839"/>
                      <a:pt x="192651" y="285709"/>
                      <a:pt x="189105" y="284289"/>
                    </a:cubicBezTo>
                    <a:cubicBezTo>
                      <a:pt x="186978" y="282869"/>
                      <a:pt x="184850" y="281449"/>
                      <a:pt x="182014" y="280739"/>
                    </a:cubicBezTo>
                    <a:cubicBezTo>
                      <a:pt x="178468" y="277899"/>
                      <a:pt x="174922" y="275059"/>
                      <a:pt x="172086" y="271510"/>
                    </a:cubicBezTo>
                    <a:cubicBezTo>
                      <a:pt x="169249" y="268670"/>
                      <a:pt x="165704" y="265830"/>
                      <a:pt x="163576" y="262990"/>
                    </a:cubicBezTo>
                    <a:cubicBezTo>
                      <a:pt x="157194" y="252340"/>
                      <a:pt x="152230" y="240270"/>
                      <a:pt x="151521" y="228910"/>
                    </a:cubicBezTo>
                    <a:cubicBezTo>
                      <a:pt x="150812" y="226781"/>
                      <a:pt x="150812" y="223941"/>
                      <a:pt x="150812" y="221811"/>
                    </a:cubicBezTo>
                    <a:cubicBezTo>
                      <a:pt x="150812" y="219681"/>
                      <a:pt x="150812" y="217551"/>
                      <a:pt x="151521" y="215421"/>
                    </a:cubicBezTo>
                    <a:cubicBezTo>
                      <a:pt x="151521" y="212581"/>
                      <a:pt x="151521" y="210451"/>
                      <a:pt x="152230" y="208321"/>
                    </a:cubicBezTo>
                    <a:cubicBezTo>
                      <a:pt x="153648" y="204061"/>
                      <a:pt x="155067" y="199091"/>
                      <a:pt x="156485" y="195541"/>
                    </a:cubicBezTo>
                    <a:cubicBezTo>
                      <a:pt x="157194" y="193411"/>
                      <a:pt x="157903" y="191281"/>
                      <a:pt x="159321" y="188441"/>
                    </a:cubicBezTo>
                    <a:cubicBezTo>
                      <a:pt x="161449" y="184891"/>
                      <a:pt x="163576" y="181341"/>
                      <a:pt x="166413" y="177792"/>
                    </a:cubicBezTo>
                    <a:cubicBezTo>
                      <a:pt x="168540" y="174952"/>
                      <a:pt x="169958" y="173532"/>
                      <a:pt x="172086" y="172112"/>
                    </a:cubicBezTo>
                    <a:cubicBezTo>
                      <a:pt x="174922" y="168562"/>
                      <a:pt x="178468" y="165722"/>
                      <a:pt x="182014" y="162882"/>
                    </a:cubicBezTo>
                    <a:cubicBezTo>
                      <a:pt x="188396" y="159332"/>
                      <a:pt x="194069" y="156492"/>
                      <a:pt x="201160" y="154362"/>
                    </a:cubicBezTo>
                    <a:cubicBezTo>
                      <a:pt x="207543" y="152942"/>
                      <a:pt x="214634" y="150812"/>
                      <a:pt x="221016" y="150812"/>
                    </a:cubicBezTo>
                    <a:close/>
                    <a:moveTo>
                      <a:pt x="578659" y="0"/>
                    </a:moveTo>
                    <a:cubicBezTo>
                      <a:pt x="581510" y="0"/>
                      <a:pt x="583648" y="0"/>
                      <a:pt x="585787" y="0"/>
                    </a:cubicBezTo>
                    <a:cubicBezTo>
                      <a:pt x="593627" y="0"/>
                      <a:pt x="600042" y="713"/>
                      <a:pt x="607169" y="2851"/>
                    </a:cubicBezTo>
                    <a:cubicBezTo>
                      <a:pt x="610020" y="3564"/>
                      <a:pt x="612871" y="4989"/>
                      <a:pt x="615722" y="7127"/>
                    </a:cubicBezTo>
                    <a:cubicBezTo>
                      <a:pt x="626414" y="12117"/>
                      <a:pt x="635680" y="18532"/>
                      <a:pt x="642094" y="27797"/>
                    </a:cubicBezTo>
                    <a:cubicBezTo>
                      <a:pt x="643520" y="29936"/>
                      <a:pt x="644233" y="31361"/>
                      <a:pt x="646371" y="34212"/>
                    </a:cubicBezTo>
                    <a:cubicBezTo>
                      <a:pt x="647084" y="35638"/>
                      <a:pt x="648509" y="37776"/>
                      <a:pt x="649222" y="39914"/>
                    </a:cubicBezTo>
                    <a:cubicBezTo>
                      <a:pt x="649935" y="41340"/>
                      <a:pt x="651360" y="43478"/>
                      <a:pt x="652073" y="45616"/>
                    </a:cubicBezTo>
                    <a:cubicBezTo>
                      <a:pt x="652786" y="49180"/>
                      <a:pt x="654211" y="52744"/>
                      <a:pt x="654211" y="55595"/>
                    </a:cubicBezTo>
                    <a:cubicBezTo>
                      <a:pt x="654924" y="56308"/>
                      <a:pt x="654924" y="57020"/>
                      <a:pt x="654924" y="57733"/>
                    </a:cubicBezTo>
                    <a:cubicBezTo>
                      <a:pt x="654924" y="59159"/>
                      <a:pt x="655637" y="61297"/>
                      <a:pt x="655637" y="63435"/>
                    </a:cubicBezTo>
                    <a:cubicBezTo>
                      <a:pt x="655637" y="65573"/>
                      <a:pt x="655637" y="67712"/>
                      <a:pt x="655637" y="69850"/>
                    </a:cubicBezTo>
                    <a:cubicBezTo>
                      <a:pt x="655637" y="77690"/>
                      <a:pt x="654924" y="84105"/>
                      <a:pt x="652786" y="91233"/>
                    </a:cubicBezTo>
                    <a:cubicBezTo>
                      <a:pt x="643520" y="119743"/>
                      <a:pt x="617148" y="139700"/>
                      <a:pt x="585787" y="139700"/>
                    </a:cubicBezTo>
                    <a:cubicBezTo>
                      <a:pt x="583648" y="139700"/>
                      <a:pt x="581510" y="139700"/>
                      <a:pt x="578659" y="139700"/>
                    </a:cubicBezTo>
                    <a:cubicBezTo>
                      <a:pt x="575808" y="139700"/>
                      <a:pt x="573670" y="138987"/>
                      <a:pt x="571532" y="138987"/>
                    </a:cubicBezTo>
                    <a:cubicBezTo>
                      <a:pt x="568681" y="138274"/>
                      <a:pt x="564404" y="136849"/>
                      <a:pt x="561553" y="136136"/>
                    </a:cubicBezTo>
                    <a:cubicBezTo>
                      <a:pt x="559415" y="135423"/>
                      <a:pt x="557277" y="134711"/>
                      <a:pt x="555851" y="133285"/>
                    </a:cubicBezTo>
                    <a:cubicBezTo>
                      <a:pt x="553713" y="132572"/>
                      <a:pt x="550862" y="131860"/>
                      <a:pt x="549436" y="130434"/>
                    </a:cubicBezTo>
                    <a:cubicBezTo>
                      <a:pt x="547298" y="129009"/>
                      <a:pt x="545872" y="128296"/>
                      <a:pt x="543734" y="126158"/>
                    </a:cubicBezTo>
                    <a:cubicBezTo>
                      <a:pt x="534468" y="119743"/>
                      <a:pt x="527341" y="110477"/>
                      <a:pt x="522352" y="101211"/>
                    </a:cubicBezTo>
                    <a:cubicBezTo>
                      <a:pt x="520926" y="97647"/>
                      <a:pt x="519501" y="94084"/>
                      <a:pt x="518788" y="91233"/>
                    </a:cubicBezTo>
                    <a:cubicBezTo>
                      <a:pt x="516650" y="84105"/>
                      <a:pt x="515937" y="77690"/>
                      <a:pt x="515937" y="69850"/>
                    </a:cubicBezTo>
                    <a:cubicBezTo>
                      <a:pt x="515937" y="67712"/>
                      <a:pt x="515937" y="65573"/>
                      <a:pt x="515937" y="63435"/>
                    </a:cubicBezTo>
                    <a:cubicBezTo>
                      <a:pt x="515937" y="61297"/>
                      <a:pt x="516650" y="59159"/>
                      <a:pt x="516650" y="57733"/>
                    </a:cubicBezTo>
                    <a:cubicBezTo>
                      <a:pt x="516650" y="57020"/>
                      <a:pt x="516650" y="56308"/>
                      <a:pt x="517362" y="55595"/>
                    </a:cubicBezTo>
                    <a:cubicBezTo>
                      <a:pt x="517362" y="53457"/>
                      <a:pt x="518075" y="51318"/>
                      <a:pt x="518788" y="49180"/>
                    </a:cubicBezTo>
                    <a:cubicBezTo>
                      <a:pt x="519501" y="45616"/>
                      <a:pt x="520926" y="42765"/>
                      <a:pt x="522352" y="39914"/>
                    </a:cubicBezTo>
                    <a:cubicBezTo>
                      <a:pt x="523064" y="37776"/>
                      <a:pt x="525203" y="35638"/>
                      <a:pt x="525915" y="34212"/>
                    </a:cubicBezTo>
                    <a:cubicBezTo>
                      <a:pt x="527341" y="31361"/>
                      <a:pt x="528054" y="29936"/>
                      <a:pt x="529479" y="27797"/>
                    </a:cubicBezTo>
                    <a:cubicBezTo>
                      <a:pt x="533756" y="22808"/>
                      <a:pt x="538745" y="17819"/>
                      <a:pt x="543734" y="13542"/>
                    </a:cubicBezTo>
                    <a:cubicBezTo>
                      <a:pt x="545872" y="12829"/>
                      <a:pt x="547298" y="11404"/>
                      <a:pt x="549436" y="9978"/>
                    </a:cubicBezTo>
                    <a:cubicBezTo>
                      <a:pt x="550862" y="9266"/>
                      <a:pt x="553713" y="7840"/>
                      <a:pt x="555851" y="7127"/>
                    </a:cubicBezTo>
                    <a:cubicBezTo>
                      <a:pt x="558702" y="4989"/>
                      <a:pt x="561553" y="3564"/>
                      <a:pt x="564404" y="2851"/>
                    </a:cubicBezTo>
                    <a:cubicBezTo>
                      <a:pt x="567255" y="2138"/>
                      <a:pt x="569393" y="1425"/>
                      <a:pt x="571532" y="1425"/>
                    </a:cubicBezTo>
                    <a:cubicBezTo>
                      <a:pt x="573670" y="713"/>
                      <a:pt x="575808" y="713"/>
                      <a:pt x="578659" y="0"/>
                    </a:cubicBezTo>
                    <a:close/>
                  </a:path>
                </a:pathLst>
              </a:custGeom>
              <a:solidFill>
                <a:srgbClr val="6E6F73"/>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117" name="Freeform 116"/>
              <p:cNvSpPr>
                <a:spLocks/>
              </p:cNvSpPr>
              <p:nvPr/>
            </p:nvSpPr>
            <p:spPr bwMode="auto">
              <a:xfrm>
                <a:off x="4462463" y="2792413"/>
                <a:ext cx="1165225" cy="1263650"/>
              </a:xfrm>
              <a:custGeom>
                <a:avLst/>
                <a:gdLst>
                  <a:gd name="connsiteX0" fmla="*/ 1074251 w 1165225"/>
                  <a:gd name="connsiteY0" fmla="*/ 623887 h 1263650"/>
                  <a:gd name="connsiteX1" fmla="*/ 1100879 w 1165225"/>
                  <a:gd name="connsiteY1" fmla="*/ 626727 h 1263650"/>
                  <a:gd name="connsiteX2" fmla="*/ 1108075 w 1165225"/>
                  <a:gd name="connsiteY2" fmla="*/ 626727 h 1263650"/>
                  <a:gd name="connsiteX3" fmla="*/ 1026033 w 1165225"/>
                  <a:gd name="connsiteY3" fmla="*/ 819149 h 1263650"/>
                  <a:gd name="connsiteX4" fmla="*/ 1022435 w 1165225"/>
                  <a:gd name="connsiteY4" fmla="*/ 814889 h 1263650"/>
                  <a:gd name="connsiteX5" fmla="*/ 1000125 w 1165225"/>
                  <a:gd name="connsiteY5" fmla="*/ 798558 h 1263650"/>
                  <a:gd name="connsiteX6" fmla="*/ 1074251 w 1165225"/>
                  <a:gd name="connsiteY6" fmla="*/ 623887 h 1263650"/>
                  <a:gd name="connsiteX7" fmla="*/ 93162 w 1165225"/>
                  <a:gd name="connsiteY7" fmla="*/ 623887 h 1263650"/>
                  <a:gd name="connsiteX8" fmla="*/ 166688 w 1165225"/>
                  <a:gd name="connsiteY8" fmla="*/ 798558 h 1263650"/>
                  <a:gd name="connsiteX9" fmla="*/ 144559 w 1165225"/>
                  <a:gd name="connsiteY9" fmla="*/ 814889 h 1263650"/>
                  <a:gd name="connsiteX10" fmla="*/ 140990 w 1165225"/>
                  <a:gd name="connsiteY10" fmla="*/ 819149 h 1263650"/>
                  <a:gd name="connsiteX11" fmla="*/ 60325 w 1165225"/>
                  <a:gd name="connsiteY11" fmla="*/ 626727 h 1263650"/>
                  <a:gd name="connsiteX12" fmla="*/ 66750 w 1165225"/>
                  <a:gd name="connsiteY12" fmla="*/ 626727 h 1263650"/>
                  <a:gd name="connsiteX13" fmla="*/ 93162 w 1165225"/>
                  <a:gd name="connsiteY13" fmla="*/ 623887 h 1263650"/>
                  <a:gd name="connsiteX14" fmla="*/ 543482 w 1165225"/>
                  <a:gd name="connsiteY14" fmla="*/ 585787 h 1263650"/>
                  <a:gd name="connsiteX15" fmla="*/ 520004 w 1165225"/>
                  <a:gd name="connsiteY15" fmla="*/ 610055 h 1263650"/>
                  <a:gd name="connsiteX16" fmla="*/ 426092 w 1165225"/>
                  <a:gd name="connsiteY16" fmla="*/ 997626 h 1263650"/>
                  <a:gd name="connsiteX17" fmla="*/ 483009 w 1165225"/>
                  <a:gd name="connsiteY17" fmla="*/ 1013329 h 1263650"/>
                  <a:gd name="connsiteX18" fmla="*/ 480163 w 1165225"/>
                  <a:gd name="connsiteY18" fmla="*/ 1039738 h 1263650"/>
                  <a:gd name="connsiteX19" fmla="*/ 480163 w 1165225"/>
                  <a:gd name="connsiteY19" fmla="*/ 1046876 h 1263650"/>
                  <a:gd name="connsiteX20" fmla="*/ 418266 w 1165225"/>
                  <a:gd name="connsiteY20" fmla="*/ 1029746 h 1263650"/>
                  <a:gd name="connsiteX21" fmla="*/ 369887 w 1165225"/>
                  <a:gd name="connsiteY21" fmla="*/ 1230312 h 1263650"/>
                  <a:gd name="connsiteX22" fmla="*/ 795337 w 1165225"/>
                  <a:gd name="connsiteY22" fmla="*/ 1230312 h 1263650"/>
                  <a:gd name="connsiteX23" fmla="*/ 746958 w 1165225"/>
                  <a:gd name="connsiteY23" fmla="*/ 1029746 h 1263650"/>
                  <a:gd name="connsiteX24" fmla="*/ 685773 w 1165225"/>
                  <a:gd name="connsiteY24" fmla="*/ 1046876 h 1263650"/>
                  <a:gd name="connsiteX25" fmla="*/ 685773 w 1165225"/>
                  <a:gd name="connsiteY25" fmla="*/ 1039738 h 1263650"/>
                  <a:gd name="connsiteX26" fmla="*/ 682927 w 1165225"/>
                  <a:gd name="connsiteY26" fmla="*/ 1013329 h 1263650"/>
                  <a:gd name="connsiteX27" fmla="*/ 739844 w 1165225"/>
                  <a:gd name="connsiteY27" fmla="*/ 998340 h 1263650"/>
                  <a:gd name="connsiteX28" fmla="*/ 645932 w 1165225"/>
                  <a:gd name="connsiteY28" fmla="*/ 609341 h 1263650"/>
                  <a:gd name="connsiteX29" fmla="*/ 622454 w 1165225"/>
                  <a:gd name="connsiteY29" fmla="*/ 585787 h 1263650"/>
                  <a:gd name="connsiteX30" fmla="*/ 599687 w 1165225"/>
                  <a:gd name="connsiteY30" fmla="*/ 595066 h 1263650"/>
                  <a:gd name="connsiteX31" fmla="*/ 599687 w 1165225"/>
                  <a:gd name="connsiteY31" fmla="*/ 938384 h 1263650"/>
                  <a:gd name="connsiteX32" fmla="*/ 583324 w 1165225"/>
                  <a:gd name="connsiteY32" fmla="*/ 936957 h 1263650"/>
                  <a:gd name="connsiteX33" fmla="*/ 566249 w 1165225"/>
                  <a:gd name="connsiteY33" fmla="*/ 938384 h 1263650"/>
                  <a:gd name="connsiteX34" fmla="*/ 566249 w 1165225"/>
                  <a:gd name="connsiteY34" fmla="*/ 595066 h 1263650"/>
                  <a:gd name="connsiteX35" fmla="*/ 543482 w 1165225"/>
                  <a:gd name="connsiteY35" fmla="*/ 585787 h 1263650"/>
                  <a:gd name="connsiteX36" fmla="*/ 582971 w 1165225"/>
                  <a:gd name="connsiteY36" fmla="*/ 482600 h 1263650"/>
                  <a:gd name="connsiteX37" fmla="*/ 567179 w 1165225"/>
                  <a:gd name="connsiteY37" fmla="*/ 485447 h 1263650"/>
                  <a:gd name="connsiteX38" fmla="*/ 565743 w 1165225"/>
                  <a:gd name="connsiteY38" fmla="*/ 486158 h 1263650"/>
                  <a:gd name="connsiteX39" fmla="*/ 544926 w 1165225"/>
                  <a:gd name="connsiteY39" fmla="*/ 506796 h 1263650"/>
                  <a:gd name="connsiteX40" fmla="*/ 544209 w 1165225"/>
                  <a:gd name="connsiteY40" fmla="*/ 508931 h 1263650"/>
                  <a:gd name="connsiteX41" fmla="*/ 542055 w 1165225"/>
                  <a:gd name="connsiteY41" fmla="*/ 515335 h 1263650"/>
                  <a:gd name="connsiteX42" fmla="*/ 541337 w 1165225"/>
                  <a:gd name="connsiteY42" fmla="*/ 523875 h 1263650"/>
                  <a:gd name="connsiteX43" fmla="*/ 544209 w 1165225"/>
                  <a:gd name="connsiteY43" fmla="*/ 538820 h 1263650"/>
                  <a:gd name="connsiteX44" fmla="*/ 544926 w 1165225"/>
                  <a:gd name="connsiteY44" fmla="*/ 540243 h 1263650"/>
                  <a:gd name="connsiteX45" fmla="*/ 565743 w 1165225"/>
                  <a:gd name="connsiteY45" fmla="*/ 560880 h 1263650"/>
                  <a:gd name="connsiteX46" fmla="*/ 567179 w 1165225"/>
                  <a:gd name="connsiteY46" fmla="*/ 561592 h 1263650"/>
                  <a:gd name="connsiteX47" fmla="*/ 582971 w 1165225"/>
                  <a:gd name="connsiteY47" fmla="*/ 565150 h 1263650"/>
                  <a:gd name="connsiteX48" fmla="*/ 598046 w 1165225"/>
                  <a:gd name="connsiteY48" fmla="*/ 561592 h 1263650"/>
                  <a:gd name="connsiteX49" fmla="*/ 599481 w 1165225"/>
                  <a:gd name="connsiteY49" fmla="*/ 560880 h 1263650"/>
                  <a:gd name="connsiteX50" fmla="*/ 620298 w 1165225"/>
                  <a:gd name="connsiteY50" fmla="*/ 540243 h 1263650"/>
                  <a:gd name="connsiteX51" fmla="*/ 621016 w 1165225"/>
                  <a:gd name="connsiteY51" fmla="*/ 538820 h 1263650"/>
                  <a:gd name="connsiteX52" fmla="*/ 623887 w 1165225"/>
                  <a:gd name="connsiteY52" fmla="*/ 523875 h 1263650"/>
                  <a:gd name="connsiteX53" fmla="*/ 623169 w 1165225"/>
                  <a:gd name="connsiteY53" fmla="*/ 518182 h 1263650"/>
                  <a:gd name="connsiteX54" fmla="*/ 621016 w 1165225"/>
                  <a:gd name="connsiteY54" fmla="*/ 509642 h 1263650"/>
                  <a:gd name="connsiteX55" fmla="*/ 621016 w 1165225"/>
                  <a:gd name="connsiteY55" fmla="*/ 508931 h 1263650"/>
                  <a:gd name="connsiteX56" fmla="*/ 620298 w 1165225"/>
                  <a:gd name="connsiteY56" fmla="*/ 506796 h 1263650"/>
                  <a:gd name="connsiteX57" fmla="*/ 599481 w 1165225"/>
                  <a:gd name="connsiteY57" fmla="*/ 486158 h 1263650"/>
                  <a:gd name="connsiteX58" fmla="*/ 598046 w 1165225"/>
                  <a:gd name="connsiteY58" fmla="*/ 485447 h 1263650"/>
                  <a:gd name="connsiteX59" fmla="*/ 582971 w 1165225"/>
                  <a:gd name="connsiteY59" fmla="*/ 482600 h 1263650"/>
                  <a:gd name="connsiteX60" fmla="*/ 1026033 w 1165225"/>
                  <a:gd name="connsiteY60" fmla="*/ 227012 h 1263650"/>
                  <a:gd name="connsiteX61" fmla="*/ 1108075 w 1165225"/>
                  <a:gd name="connsiteY61" fmla="*/ 420999 h 1263650"/>
                  <a:gd name="connsiteX62" fmla="*/ 1100879 w 1165225"/>
                  <a:gd name="connsiteY62" fmla="*/ 420999 h 1263650"/>
                  <a:gd name="connsiteX63" fmla="*/ 1074251 w 1165225"/>
                  <a:gd name="connsiteY63" fmla="*/ 423862 h 1263650"/>
                  <a:gd name="connsiteX64" fmla="*/ 1000125 w 1165225"/>
                  <a:gd name="connsiteY64" fmla="*/ 247771 h 1263650"/>
                  <a:gd name="connsiteX65" fmla="*/ 1022435 w 1165225"/>
                  <a:gd name="connsiteY65" fmla="*/ 231307 h 1263650"/>
                  <a:gd name="connsiteX66" fmla="*/ 1026033 w 1165225"/>
                  <a:gd name="connsiteY66" fmla="*/ 227012 h 1263650"/>
                  <a:gd name="connsiteX67" fmla="*/ 140990 w 1165225"/>
                  <a:gd name="connsiteY67" fmla="*/ 227012 h 1263650"/>
                  <a:gd name="connsiteX68" fmla="*/ 144559 w 1165225"/>
                  <a:gd name="connsiteY68" fmla="*/ 231307 h 1263650"/>
                  <a:gd name="connsiteX69" fmla="*/ 166688 w 1165225"/>
                  <a:gd name="connsiteY69" fmla="*/ 247771 h 1263650"/>
                  <a:gd name="connsiteX70" fmla="*/ 93162 w 1165225"/>
                  <a:gd name="connsiteY70" fmla="*/ 423862 h 1263650"/>
                  <a:gd name="connsiteX71" fmla="*/ 66750 w 1165225"/>
                  <a:gd name="connsiteY71" fmla="*/ 420999 h 1263650"/>
                  <a:gd name="connsiteX72" fmla="*/ 60325 w 1165225"/>
                  <a:gd name="connsiteY72" fmla="*/ 420999 h 1263650"/>
                  <a:gd name="connsiteX73" fmla="*/ 140990 w 1165225"/>
                  <a:gd name="connsiteY73" fmla="*/ 227012 h 1263650"/>
                  <a:gd name="connsiteX74" fmla="*/ 566211 w 1165225"/>
                  <a:gd name="connsiteY74" fmla="*/ 107950 h 1263650"/>
                  <a:gd name="connsiteX75" fmla="*/ 583326 w 1165225"/>
                  <a:gd name="connsiteY75" fmla="*/ 108664 h 1263650"/>
                  <a:gd name="connsiteX76" fmla="*/ 599727 w 1165225"/>
                  <a:gd name="connsiteY76" fmla="*/ 107950 h 1263650"/>
                  <a:gd name="connsiteX77" fmla="*/ 599727 w 1165225"/>
                  <a:gd name="connsiteY77" fmla="*/ 450591 h 1263650"/>
                  <a:gd name="connsiteX78" fmla="*/ 622547 w 1165225"/>
                  <a:gd name="connsiteY78" fmla="*/ 459871 h 1263650"/>
                  <a:gd name="connsiteX79" fmla="*/ 864292 w 1165225"/>
                  <a:gd name="connsiteY79" fmla="*/ 217881 h 1263650"/>
                  <a:gd name="connsiteX80" fmla="*/ 874989 w 1165225"/>
                  <a:gd name="connsiteY80" fmla="*/ 230730 h 1263650"/>
                  <a:gd name="connsiteX81" fmla="*/ 887825 w 1165225"/>
                  <a:gd name="connsiteY81" fmla="*/ 241437 h 1263650"/>
                  <a:gd name="connsiteX82" fmla="*/ 646080 w 1165225"/>
                  <a:gd name="connsiteY82" fmla="*/ 484142 h 1263650"/>
                  <a:gd name="connsiteX83" fmla="*/ 652498 w 1165225"/>
                  <a:gd name="connsiteY83" fmla="*/ 498418 h 1263650"/>
                  <a:gd name="connsiteX84" fmla="*/ 652498 w 1165225"/>
                  <a:gd name="connsiteY84" fmla="*/ 499132 h 1263650"/>
                  <a:gd name="connsiteX85" fmla="*/ 655350 w 1165225"/>
                  <a:gd name="connsiteY85" fmla="*/ 506270 h 1263650"/>
                  <a:gd name="connsiteX86" fmla="*/ 997644 w 1165225"/>
                  <a:gd name="connsiteY86" fmla="*/ 506270 h 1263650"/>
                  <a:gd name="connsiteX87" fmla="*/ 996931 w 1165225"/>
                  <a:gd name="connsiteY87" fmla="*/ 523403 h 1263650"/>
                  <a:gd name="connsiteX88" fmla="*/ 997644 w 1165225"/>
                  <a:gd name="connsiteY88" fmla="*/ 539821 h 1263650"/>
                  <a:gd name="connsiteX89" fmla="*/ 663194 w 1165225"/>
                  <a:gd name="connsiteY89" fmla="*/ 539821 h 1263650"/>
                  <a:gd name="connsiteX90" fmla="*/ 676030 w 1165225"/>
                  <a:gd name="connsiteY90" fmla="*/ 593358 h 1263650"/>
                  <a:gd name="connsiteX91" fmla="*/ 887825 w 1165225"/>
                  <a:gd name="connsiteY91" fmla="*/ 804654 h 1263650"/>
                  <a:gd name="connsiteX92" fmla="*/ 874989 w 1165225"/>
                  <a:gd name="connsiteY92" fmla="*/ 816075 h 1263650"/>
                  <a:gd name="connsiteX93" fmla="*/ 864292 w 1165225"/>
                  <a:gd name="connsiteY93" fmla="*/ 828210 h 1263650"/>
                  <a:gd name="connsiteX94" fmla="*/ 690293 w 1165225"/>
                  <a:gd name="connsiteY94" fmla="*/ 654748 h 1263650"/>
                  <a:gd name="connsiteX95" fmla="*/ 770874 w 1165225"/>
                  <a:gd name="connsiteY95" fmla="*/ 986682 h 1263650"/>
                  <a:gd name="connsiteX96" fmla="*/ 859300 w 1165225"/>
                  <a:gd name="connsiteY96" fmla="*/ 940283 h 1263650"/>
                  <a:gd name="connsiteX97" fmla="*/ 874989 w 1165225"/>
                  <a:gd name="connsiteY97" fmla="*/ 962411 h 1263650"/>
                  <a:gd name="connsiteX98" fmla="*/ 880694 w 1165225"/>
                  <a:gd name="connsiteY98" fmla="*/ 965981 h 1263650"/>
                  <a:gd name="connsiteX99" fmla="*/ 778719 w 1165225"/>
                  <a:gd name="connsiteY99" fmla="*/ 1019518 h 1263650"/>
                  <a:gd name="connsiteX100" fmla="*/ 830063 w 1165225"/>
                  <a:gd name="connsiteY100" fmla="*/ 1230814 h 1263650"/>
                  <a:gd name="connsiteX101" fmla="*/ 1148824 w 1165225"/>
                  <a:gd name="connsiteY101" fmla="*/ 1230814 h 1263650"/>
                  <a:gd name="connsiteX102" fmla="*/ 1165225 w 1165225"/>
                  <a:gd name="connsiteY102" fmla="*/ 1247232 h 1263650"/>
                  <a:gd name="connsiteX103" fmla="*/ 1148824 w 1165225"/>
                  <a:gd name="connsiteY103" fmla="*/ 1263650 h 1263650"/>
                  <a:gd name="connsiteX104" fmla="*/ 16402 w 1165225"/>
                  <a:gd name="connsiteY104" fmla="*/ 1263650 h 1263650"/>
                  <a:gd name="connsiteX105" fmla="*/ 0 w 1165225"/>
                  <a:gd name="connsiteY105" fmla="*/ 1247232 h 1263650"/>
                  <a:gd name="connsiteX106" fmla="*/ 16402 w 1165225"/>
                  <a:gd name="connsiteY106" fmla="*/ 1230814 h 1263650"/>
                  <a:gd name="connsiteX107" fmla="*/ 335876 w 1165225"/>
                  <a:gd name="connsiteY107" fmla="*/ 1230814 h 1263650"/>
                  <a:gd name="connsiteX108" fmla="*/ 387220 w 1165225"/>
                  <a:gd name="connsiteY108" fmla="*/ 1019518 h 1263650"/>
                  <a:gd name="connsiteX109" fmla="*/ 285245 w 1165225"/>
                  <a:gd name="connsiteY109" fmla="*/ 965981 h 1263650"/>
                  <a:gd name="connsiteX110" fmla="*/ 290950 w 1165225"/>
                  <a:gd name="connsiteY110" fmla="*/ 962411 h 1263650"/>
                  <a:gd name="connsiteX111" fmla="*/ 306638 w 1165225"/>
                  <a:gd name="connsiteY111" fmla="*/ 940283 h 1263650"/>
                  <a:gd name="connsiteX112" fmla="*/ 394351 w 1165225"/>
                  <a:gd name="connsiteY112" fmla="*/ 986682 h 1263650"/>
                  <a:gd name="connsiteX113" fmla="*/ 474933 w 1165225"/>
                  <a:gd name="connsiteY113" fmla="*/ 654748 h 1263650"/>
                  <a:gd name="connsiteX114" fmla="*/ 301647 w 1165225"/>
                  <a:gd name="connsiteY114" fmla="*/ 828210 h 1263650"/>
                  <a:gd name="connsiteX115" fmla="*/ 290950 w 1165225"/>
                  <a:gd name="connsiteY115" fmla="*/ 816075 h 1263650"/>
                  <a:gd name="connsiteX116" fmla="*/ 278114 w 1165225"/>
                  <a:gd name="connsiteY116" fmla="*/ 804654 h 1263650"/>
                  <a:gd name="connsiteX117" fmla="*/ 489908 w 1165225"/>
                  <a:gd name="connsiteY117" fmla="*/ 593358 h 1263650"/>
                  <a:gd name="connsiteX118" fmla="*/ 502744 w 1165225"/>
                  <a:gd name="connsiteY118" fmla="*/ 539821 h 1263650"/>
                  <a:gd name="connsiteX119" fmla="*/ 168295 w 1165225"/>
                  <a:gd name="connsiteY119" fmla="*/ 539821 h 1263650"/>
                  <a:gd name="connsiteX120" fmla="*/ 169008 w 1165225"/>
                  <a:gd name="connsiteY120" fmla="*/ 523403 h 1263650"/>
                  <a:gd name="connsiteX121" fmla="*/ 168295 w 1165225"/>
                  <a:gd name="connsiteY121" fmla="*/ 506270 h 1263650"/>
                  <a:gd name="connsiteX122" fmla="*/ 510588 w 1165225"/>
                  <a:gd name="connsiteY122" fmla="*/ 506270 h 1263650"/>
                  <a:gd name="connsiteX123" fmla="*/ 510588 w 1165225"/>
                  <a:gd name="connsiteY123" fmla="*/ 504129 h 1263650"/>
                  <a:gd name="connsiteX124" fmla="*/ 512728 w 1165225"/>
                  <a:gd name="connsiteY124" fmla="*/ 499846 h 1263650"/>
                  <a:gd name="connsiteX125" fmla="*/ 514154 w 1165225"/>
                  <a:gd name="connsiteY125" fmla="*/ 495563 h 1263650"/>
                  <a:gd name="connsiteX126" fmla="*/ 519859 w 1165225"/>
                  <a:gd name="connsiteY126" fmla="*/ 484142 h 1263650"/>
                  <a:gd name="connsiteX127" fmla="*/ 278114 w 1165225"/>
                  <a:gd name="connsiteY127" fmla="*/ 241437 h 1263650"/>
                  <a:gd name="connsiteX128" fmla="*/ 290950 w 1165225"/>
                  <a:gd name="connsiteY128" fmla="*/ 230730 h 1263650"/>
                  <a:gd name="connsiteX129" fmla="*/ 301647 w 1165225"/>
                  <a:gd name="connsiteY129" fmla="*/ 217881 h 1263650"/>
                  <a:gd name="connsiteX130" fmla="*/ 543392 w 1165225"/>
                  <a:gd name="connsiteY130" fmla="*/ 459871 h 1263650"/>
                  <a:gd name="connsiteX131" fmla="*/ 566211 w 1165225"/>
                  <a:gd name="connsiteY131" fmla="*/ 450591 h 1263650"/>
                  <a:gd name="connsiteX132" fmla="*/ 566211 w 1165225"/>
                  <a:gd name="connsiteY132" fmla="*/ 107950 h 1263650"/>
                  <a:gd name="connsiteX133" fmla="*/ 687052 w 1165225"/>
                  <a:gd name="connsiteY133" fmla="*/ 0 h 1263650"/>
                  <a:gd name="connsiteX134" fmla="*/ 879475 w 1165225"/>
                  <a:gd name="connsiteY134" fmla="*/ 80664 h 1263650"/>
                  <a:gd name="connsiteX135" fmla="*/ 874505 w 1165225"/>
                  <a:gd name="connsiteY135" fmla="*/ 85661 h 1263650"/>
                  <a:gd name="connsiteX136" fmla="*/ 858884 w 1165225"/>
                  <a:gd name="connsiteY136" fmla="*/ 106362 h 1263650"/>
                  <a:gd name="connsiteX137" fmla="*/ 684212 w 1165225"/>
                  <a:gd name="connsiteY137" fmla="*/ 32836 h 1263650"/>
                  <a:gd name="connsiteX138" fmla="*/ 687052 w 1165225"/>
                  <a:gd name="connsiteY138" fmla="*/ 6424 h 1263650"/>
                  <a:gd name="connsiteX139" fmla="*/ 687052 w 1165225"/>
                  <a:gd name="connsiteY139" fmla="*/ 0 h 1263650"/>
                  <a:gd name="connsiteX140" fmla="*/ 479760 w 1165225"/>
                  <a:gd name="connsiteY140" fmla="*/ 0 h 1263650"/>
                  <a:gd name="connsiteX141" fmla="*/ 479760 w 1165225"/>
                  <a:gd name="connsiteY141" fmla="*/ 6424 h 1263650"/>
                  <a:gd name="connsiteX142" fmla="*/ 482600 w 1165225"/>
                  <a:gd name="connsiteY142" fmla="*/ 32836 h 1263650"/>
                  <a:gd name="connsiteX143" fmla="*/ 307929 w 1165225"/>
                  <a:gd name="connsiteY143" fmla="*/ 106362 h 1263650"/>
                  <a:gd name="connsiteX144" fmla="*/ 292308 w 1165225"/>
                  <a:gd name="connsiteY144" fmla="*/ 85661 h 1263650"/>
                  <a:gd name="connsiteX145" fmla="*/ 287337 w 1165225"/>
                  <a:gd name="connsiteY145" fmla="*/ 80664 h 1263650"/>
                  <a:gd name="connsiteX146" fmla="*/ 479760 w 1165225"/>
                  <a:gd name="connsiteY146" fmla="*/ 0 h 126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1165225" h="1263650">
                    <a:moveTo>
                      <a:pt x="1074251" y="623887"/>
                    </a:moveTo>
                    <a:cubicBezTo>
                      <a:pt x="1082887" y="626017"/>
                      <a:pt x="1092243" y="626727"/>
                      <a:pt x="1100879" y="626727"/>
                    </a:cubicBezTo>
                    <a:cubicBezTo>
                      <a:pt x="1103038" y="626727"/>
                      <a:pt x="1105197" y="626727"/>
                      <a:pt x="1108075" y="626727"/>
                    </a:cubicBezTo>
                    <a:cubicBezTo>
                      <a:pt x="1093682" y="697022"/>
                      <a:pt x="1065615" y="762346"/>
                      <a:pt x="1026033" y="819149"/>
                    </a:cubicBezTo>
                    <a:cubicBezTo>
                      <a:pt x="1024594" y="817729"/>
                      <a:pt x="1023874" y="816309"/>
                      <a:pt x="1022435" y="814889"/>
                    </a:cubicBezTo>
                    <a:cubicBezTo>
                      <a:pt x="1015238" y="808498"/>
                      <a:pt x="1008042" y="802818"/>
                      <a:pt x="1000125" y="798558"/>
                    </a:cubicBezTo>
                    <a:cubicBezTo>
                      <a:pt x="1036109" y="746725"/>
                      <a:pt x="1060577" y="687081"/>
                      <a:pt x="1074251" y="623887"/>
                    </a:cubicBezTo>
                    <a:close/>
                    <a:moveTo>
                      <a:pt x="93162" y="623887"/>
                    </a:moveTo>
                    <a:cubicBezTo>
                      <a:pt x="106725" y="687081"/>
                      <a:pt x="131710" y="746725"/>
                      <a:pt x="166688" y="798558"/>
                    </a:cubicBezTo>
                    <a:cubicBezTo>
                      <a:pt x="158836" y="802818"/>
                      <a:pt x="151697" y="808498"/>
                      <a:pt x="144559" y="814889"/>
                    </a:cubicBezTo>
                    <a:cubicBezTo>
                      <a:pt x="143131" y="816309"/>
                      <a:pt x="142417" y="817729"/>
                      <a:pt x="140990" y="819149"/>
                    </a:cubicBezTo>
                    <a:cubicBezTo>
                      <a:pt x="101728" y="762346"/>
                      <a:pt x="74602" y="697022"/>
                      <a:pt x="60325" y="626727"/>
                    </a:cubicBezTo>
                    <a:cubicBezTo>
                      <a:pt x="62467" y="626727"/>
                      <a:pt x="64608" y="626727"/>
                      <a:pt x="66750" y="626727"/>
                    </a:cubicBezTo>
                    <a:cubicBezTo>
                      <a:pt x="76030" y="626727"/>
                      <a:pt x="84596" y="626017"/>
                      <a:pt x="93162" y="623887"/>
                    </a:cubicBezTo>
                    <a:close/>
                    <a:moveTo>
                      <a:pt x="543482" y="585787"/>
                    </a:moveTo>
                    <a:cubicBezTo>
                      <a:pt x="543482" y="585787"/>
                      <a:pt x="543482" y="585787"/>
                      <a:pt x="520004" y="610055"/>
                    </a:cubicBezTo>
                    <a:cubicBezTo>
                      <a:pt x="520004" y="610055"/>
                      <a:pt x="520004" y="610055"/>
                      <a:pt x="426092" y="997626"/>
                    </a:cubicBezTo>
                    <a:cubicBezTo>
                      <a:pt x="445301" y="1004764"/>
                      <a:pt x="463799" y="1009760"/>
                      <a:pt x="483009" y="1013329"/>
                    </a:cubicBezTo>
                    <a:cubicBezTo>
                      <a:pt x="480874" y="1021894"/>
                      <a:pt x="480163" y="1030459"/>
                      <a:pt x="480163" y="1039738"/>
                    </a:cubicBezTo>
                    <a:cubicBezTo>
                      <a:pt x="480163" y="1041880"/>
                      <a:pt x="480163" y="1044021"/>
                      <a:pt x="480163" y="1046876"/>
                    </a:cubicBezTo>
                    <a:cubicBezTo>
                      <a:pt x="459531" y="1041880"/>
                      <a:pt x="438187" y="1036883"/>
                      <a:pt x="418266" y="1029746"/>
                    </a:cubicBezTo>
                    <a:cubicBezTo>
                      <a:pt x="418266" y="1029746"/>
                      <a:pt x="418266" y="1029746"/>
                      <a:pt x="369887" y="1230312"/>
                    </a:cubicBezTo>
                    <a:cubicBezTo>
                      <a:pt x="369887" y="1230312"/>
                      <a:pt x="369887" y="1230312"/>
                      <a:pt x="795337" y="1230312"/>
                    </a:cubicBezTo>
                    <a:cubicBezTo>
                      <a:pt x="795337" y="1230312"/>
                      <a:pt x="795337" y="1230312"/>
                      <a:pt x="746958" y="1029746"/>
                    </a:cubicBezTo>
                    <a:cubicBezTo>
                      <a:pt x="727038" y="1036883"/>
                      <a:pt x="706405" y="1041880"/>
                      <a:pt x="685773" y="1046876"/>
                    </a:cubicBezTo>
                    <a:cubicBezTo>
                      <a:pt x="685773" y="1044021"/>
                      <a:pt x="685773" y="1041880"/>
                      <a:pt x="685773" y="1039738"/>
                    </a:cubicBezTo>
                    <a:cubicBezTo>
                      <a:pt x="685773" y="1030459"/>
                      <a:pt x="685062" y="1021894"/>
                      <a:pt x="682927" y="1013329"/>
                    </a:cubicBezTo>
                    <a:cubicBezTo>
                      <a:pt x="702137" y="1009760"/>
                      <a:pt x="720634" y="1004764"/>
                      <a:pt x="739844" y="998340"/>
                    </a:cubicBezTo>
                    <a:cubicBezTo>
                      <a:pt x="739844" y="998340"/>
                      <a:pt x="739844" y="998340"/>
                      <a:pt x="645932" y="609341"/>
                    </a:cubicBezTo>
                    <a:cubicBezTo>
                      <a:pt x="645932" y="609341"/>
                      <a:pt x="645932" y="609341"/>
                      <a:pt x="622454" y="585787"/>
                    </a:cubicBezTo>
                    <a:cubicBezTo>
                      <a:pt x="615339" y="590070"/>
                      <a:pt x="607513" y="593638"/>
                      <a:pt x="599687" y="595066"/>
                    </a:cubicBezTo>
                    <a:cubicBezTo>
                      <a:pt x="599687" y="595066"/>
                      <a:pt x="599687" y="595066"/>
                      <a:pt x="599687" y="938384"/>
                    </a:cubicBezTo>
                    <a:cubicBezTo>
                      <a:pt x="593996" y="936957"/>
                      <a:pt x="588304" y="936957"/>
                      <a:pt x="583324" y="936957"/>
                    </a:cubicBezTo>
                    <a:cubicBezTo>
                      <a:pt x="577632" y="936957"/>
                      <a:pt x="571940" y="936957"/>
                      <a:pt x="566249" y="938384"/>
                    </a:cubicBezTo>
                    <a:cubicBezTo>
                      <a:pt x="566249" y="938384"/>
                      <a:pt x="566249" y="938384"/>
                      <a:pt x="566249" y="595066"/>
                    </a:cubicBezTo>
                    <a:cubicBezTo>
                      <a:pt x="558423" y="593638"/>
                      <a:pt x="550597" y="590070"/>
                      <a:pt x="543482" y="585787"/>
                    </a:cubicBezTo>
                    <a:close/>
                    <a:moveTo>
                      <a:pt x="582971" y="482600"/>
                    </a:moveTo>
                    <a:cubicBezTo>
                      <a:pt x="577229" y="482600"/>
                      <a:pt x="572204" y="484023"/>
                      <a:pt x="567179" y="485447"/>
                    </a:cubicBezTo>
                    <a:cubicBezTo>
                      <a:pt x="566461" y="485447"/>
                      <a:pt x="566461" y="486158"/>
                      <a:pt x="565743" y="486158"/>
                    </a:cubicBezTo>
                    <a:cubicBezTo>
                      <a:pt x="556412" y="489717"/>
                      <a:pt x="548516" y="498256"/>
                      <a:pt x="544926" y="506796"/>
                    </a:cubicBezTo>
                    <a:cubicBezTo>
                      <a:pt x="544926" y="507507"/>
                      <a:pt x="544209" y="508931"/>
                      <a:pt x="544209" y="508931"/>
                    </a:cubicBezTo>
                    <a:cubicBezTo>
                      <a:pt x="543491" y="511066"/>
                      <a:pt x="542773" y="513201"/>
                      <a:pt x="542055" y="515335"/>
                    </a:cubicBezTo>
                    <a:cubicBezTo>
                      <a:pt x="542055" y="518182"/>
                      <a:pt x="541337" y="520317"/>
                      <a:pt x="541337" y="523875"/>
                    </a:cubicBezTo>
                    <a:cubicBezTo>
                      <a:pt x="541337" y="528857"/>
                      <a:pt x="542773" y="533838"/>
                      <a:pt x="544209" y="538820"/>
                    </a:cubicBezTo>
                    <a:cubicBezTo>
                      <a:pt x="544209" y="539531"/>
                      <a:pt x="544926" y="539531"/>
                      <a:pt x="544926" y="540243"/>
                    </a:cubicBezTo>
                    <a:cubicBezTo>
                      <a:pt x="548516" y="549494"/>
                      <a:pt x="556412" y="557322"/>
                      <a:pt x="565743" y="560880"/>
                    </a:cubicBezTo>
                    <a:cubicBezTo>
                      <a:pt x="566461" y="561592"/>
                      <a:pt x="566461" y="561592"/>
                      <a:pt x="567179" y="561592"/>
                    </a:cubicBezTo>
                    <a:cubicBezTo>
                      <a:pt x="572204" y="563727"/>
                      <a:pt x="577229" y="565150"/>
                      <a:pt x="582971" y="565150"/>
                    </a:cubicBezTo>
                    <a:cubicBezTo>
                      <a:pt x="587996" y="565150"/>
                      <a:pt x="593021" y="563727"/>
                      <a:pt x="598046" y="561592"/>
                    </a:cubicBezTo>
                    <a:cubicBezTo>
                      <a:pt x="598763" y="561592"/>
                      <a:pt x="598763" y="561592"/>
                      <a:pt x="599481" y="560880"/>
                    </a:cubicBezTo>
                    <a:cubicBezTo>
                      <a:pt x="608813" y="557322"/>
                      <a:pt x="616709" y="549494"/>
                      <a:pt x="620298" y="540243"/>
                    </a:cubicBezTo>
                    <a:cubicBezTo>
                      <a:pt x="620298" y="539531"/>
                      <a:pt x="621016" y="539531"/>
                      <a:pt x="621016" y="538820"/>
                    </a:cubicBezTo>
                    <a:cubicBezTo>
                      <a:pt x="622452" y="533838"/>
                      <a:pt x="623887" y="528857"/>
                      <a:pt x="623887" y="523875"/>
                    </a:cubicBezTo>
                    <a:cubicBezTo>
                      <a:pt x="623887" y="521740"/>
                      <a:pt x="623887" y="520317"/>
                      <a:pt x="623169" y="518182"/>
                    </a:cubicBezTo>
                    <a:cubicBezTo>
                      <a:pt x="623169" y="518182"/>
                      <a:pt x="623169" y="518182"/>
                      <a:pt x="621016" y="509642"/>
                    </a:cubicBezTo>
                    <a:cubicBezTo>
                      <a:pt x="621016" y="509642"/>
                      <a:pt x="621016" y="509642"/>
                      <a:pt x="621016" y="508931"/>
                    </a:cubicBezTo>
                    <a:cubicBezTo>
                      <a:pt x="621016" y="508931"/>
                      <a:pt x="620298" y="507507"/>
                      <a:pt x="620298" y="506796"/>
                    </a:cubicBezTo>
                    <a:cubicBezTo>
                      <a:pt x="616709" y="498256"/>
                      <a:pt x="608813" y="489717"/>
                      <a:pt x="599481" y="486158"/>
                    </a:cubicBezTo>
                    <a:cubicBezTo>
                      <a:pt x="598763" y="486158"/>
                      <a:pt x="598763" y="485447"/>
                      <a:pt x="598046" y="485447"/>
                    </a:cubicBezTo>
                    <a:cubicBezTo>
                      <a:pt x="593021" y="484023"/>
                      <a:pt x="587996" y="482600"/>
                      <a:pt x="582971" y="482600"/>
                    </a:cubicBezTo>
                    <a:close/>
                    <a:moveTo>
                      <a:pt x="1026033" y="227012"/>
                    </a:moveTo>
                    <a:cubicBezTo>
                      <a:pt x="1065615" y="284278"/>
                      <a:pt x="1093682" y="350133"/>
                      <a:pt x="1108075" y="420999"/>
                    </a:cubicBezTo>
                    <a:cubicBezTo>
                      <a:pt x="1105197" y="420999"/>
                      <a:pt x="1103038" y="420999"/>
                      <a:pt x="1100879" y="420999"/>
                    </a:cubicBezTo>
                    <a:cubicBezTo>
                      <a:pt x="1092243" y="420999"/>
                      <a:pt x="1082887" y="421715"/>
                      <a:pt x="1074251" y="423862"/>
                    </a:cubicBezTo>
                    <a:cubicBezTo>
                      <a:pt x="1060577" y="360154"/>
                      <a:pt x="1036109" y="300741"/>
                      <a:pt x="1000125" y="247771"/>
                    </a:cubicBezTo>
                    <a:cubicBezTo>
                      <a:pt x="1008042" y="243476"/>
                      <a:pt x="1015238" y="237749"/>
                      <a:pt x="1022435" y="231307"/>
                    </a:cubicBezTo>
                    <a:cubicBezTo>
                      <a:pt x="1023874" y="229875"/>
                      <a:pt x="1024594" y="228444"/>
                      <a:pt x="1026033" y="227012"/>
                    </a:cubicBezTo>
                    <a:close/>
                    <a:moveTo>
                      <a:pt x="140990" y="227012"/>
                    </a:moveTo>
                    <a:cubicBezTo>
                      <a:pt x="142417" y="228444"/>
                      <a:pt x="143131" y="229875"/>
                      <a:pt x="144559" y="231307"/>
                    </a:cubicBezTo>
                    <a:cubicBezTo>
                      <a:pt x="151697" y="237749"/>
                      <a:pt x="158836" y="243476"/>
                      <a:pt x="166688" y="247771"/>
                    </a:cubicBezTo>
                    <a:cubicBezTo>
                      <a:pt x="131710" y="300741"/>
                      <a:pt x="106725" y="360154"/>
                      <a:pt x="93162" y="423862"/>
                    </a:cubicBezTo>
                    <a:cubicBezTo>
                      <a:pt x="84596" y="421715"/>
                      <a:pt x="76030" y="420999"/>
                      <a:pt x="66750" y="420999"/>
                    </a:cubicBezTo>
                    <a:cubicBezTo>
                      <a:pt x="64608" y="420999"/>
                      <a:pt x="62467" y="420999"/>
                      <a:pt x="60325" y="420999"/>
                    </a:cubicBezTo>
                    <a:cubicBezTo>
                      <a:pt x="74602" y="350133"/>
                      <a:pt x="101728" y="284278"/>
                      <a:pt x="140990" y="227012"/>
                    </a:cubicBezTo>
                    <a:close/>
                    <a:moveTo>
                      <a:pt x="566211" y="107950"/>
                    </a:moveTo>
                    <a:cubicBezTo>
                      <a:pt x="571916" y="108664"/>
                      <a:pt x="577621" y="108664"/>
                      <a:pt x="583326" y="108664"/>
                    </a:cubicBezTo>
                    <a:cubicBezTo>
                      <a:pt x="588318" y="108664"/>
                      <a:pt x="594023" y="108664"/>
                      <a:pt x="599727" y="107950"/>
                    </a:cubicBezTo>
                    <a:cubicBezTo>
                      <a:pt x="599727" y="107950"/>
                      <a:pt x="599727" y="107950"/>
                      <a:pt x="599727" y="450591"/>
                    </a:cubicBezTo>
                    <a:cubicBezTo>
                      <a:pt x="607572" y="452733"/>
                      <a:pt x="615416" y="456302"/>
                      <a:pt x="622547" y="459871"/>
                    </a:cubicBezTo>
                    <a:cubicBezTo>
                      <a:pt x="622547" y="459871"/>
                      <a:pt x="622547" y="459871"/>
                      <a:pt x="864292" y="217881"/>
                    </a:cubicBezTo>
                    <a:cubicBezTo>
                      <a:pt x="867858" y="222164"/>
                      <a:pt x="871423" y="226447"/>
                      <a:pt x="874989" y="230730"/>
                    </a:cubicBezTo>
                    <a:cubicBezTo>
                      <a:pt x="879980" y="234299"/>
                      <a:pt x="883546" y="237868"/>
                      <a:pt x="887825" y="241437"/>
                    </a:cubicBezTo>
                    <a:cubicBezTo>
                      <a:pt x="887825" y="241437"/>
                      <a:pt x="887825" y="241437"/>
                      <a:pt x="646080" y="484142"/>
                    </a:cubicBezTo>
                    <a:cubicBezTo>
                      <a:pt x="648219" y="488425"/>
                      <a:pt x="651071" y="492708"/>
                      <a:pt x="652498" y="498418"/>
                    </a:cubicBezTo>
                    <a:cubicBezTo>
                      <a:pt x="652498" y="498418"/>
                      <a:pt x="652498" y="498418"/>
                      <a:pt x="652498" y="499132"/>
                    </a:cubicBezTo>
                    <a:cubicBezTo>
                      <a:pt x="654637" y="501274"/>
                      <a:pt x="655350" y="504129"/>
                      <a:pt x="655350" y="506270"/>
                    </a:cubicBezTo>
                    <a:cubicBezTo>
                      <a:pt x="655350" y="506270"/>
                      <a:pt x="655350" y="506270"/>
                      <a:pt x="997644" y="506270"/>
                    </a:cubicBezTo>
                    <a:cubicBezTo>
                      <a:pt x="996931" y="511981"/>
                      <a:pt x="996931" y="517692"/>
                      <a:pt x="996931" y="523403"/>
                    </a:cubicBezTo>
                    <a:cubicBezTo>
                      <a:pt x="996931" y="529113"/>
                      <a:pt x="996931" y="534110"/>
                      <a:pt x="997644" y="539821"/>
                    </a:cubicBezTo>
                    <a:cubicBezTo>
                      <a:pt x="997644" y="539821"/>
                      <a:pt x="997644" y="539821"/>
                      <a:pt x="663194" y="539821"/>
                    </a:cubicBezTo>
                    <a:cubicBezTo>
                      <a:pt x="663194" y="539821"/>
                      <a:pt x="663194" y="539821"/>
                      <a:pt x="676030" y="593358"/>
                    </a:cubicBezTo>
                    <a:cubicBezTo>
                      <a:pt x="676030" y="593358"/>
                      <a:pt x="676030" y="593358"/>
                      <a:pt x="887825" y="804654"/>
                    </a:cubicBezTo>
                    <a:cubicBezTo>
                      <a:pt x="883546" y="808223"/>
                      <a:pt x="879980" y="811792"/>
                      <a:pt x="874989" y="816075"/>
                    </a:cubicBezTo>
                    <a:cubicBezTo>
                      <a:pt x="871423" y="820358"/>
                      <a:pt x="867858" y="823927"/>
                      <a:pt x="864292" y="828210"/>
                    </a:cubicBezTo>
                    <a:cubicBezTo>
                      <a:pt x="864292" y="828210"/>
                      <a:pt x="864292" y="828210"/>
                      <a:pt x="690293" y="654748"/>
                    </a:cubicBezTo>
                    <a:cubicBezTo>
                      <a:pt x="690293" y="654748"/>
                      <a:pt x="690293" y="654748"/>
                      <a:pt x="770874" y="986682"/>
                    </a:cubicBezTo>
                    <a:cubicBezTo>
                      <a:pt x="802251" y="973833"/>
                      <a:pt x="831489" y="958842"/>
                      <a:pt x="859300" y="940283"/>
                    </a:cubicBezTo>
                    <a:cubicBezTo>
                      <a:pt x="862866" y="948135"/>
                      <a:pt x="869284" y="955273"/>
                      <a:pt x="874989" y="962411"/>
                    </a:cubicBezTo>
                    <a:cubicBezTo>
                      <a:pt x="876415" y="963839"/>
                      <a:pt x="877841" y="965267"/>
                      <a:pt x="880694" y="965981"/>
                    </a:cubicBezTo>
                    <a:cubicBezTo>
                      <a:pt x="848603" y="987396"/>
                      <a:pt x="814374" y="1005955"/>
                      <a:pt x="778719" y="1019518"/>
                    </a:cubicBezTo>
                    <a:cubicBezTo>
                      <a:pt x="778719" y="1019518"/>
                      <a:pt x="778719" y="1019518"/>
                      <a:pt x="830063" y="1230814"/>
                    </a:cubicBezTo>
                    <a:cubicBezTo>
                      <a:pt x="830063" y="1230814"/>
                      <a:pt x="830063" y="1230814"/>
                      <a:pt x="1148824" y="1230814"/>
                    </a:cubicBezTo>
                    <a:cubicBezTo>
                      <a:pt x="1157381" y="1230814"/>
                      <a:pt x="1165225" y="1237952"/>
                      <a:pt x="1165225" y="1247232"/>
                    </a:cubicBezTo>
                    <a:cubicBezTo>
                      <a:pt x="1165225" y="1255798"/>
                      <a:pt x="1157381" y="1263650"/>
                      <a:pt x="1148824" y="1263650"/>
                    </a:cubicBezTo>
                    <a:cubicBezTo>
                      <a:pt x="1148824" y="1263650"/>
                      <a:pt x="1148824" y="1263650"/>
                      <a:pt x="16402" y="1263650"/>
                    </a:cubicBezTo>
                    <a:cubicBezTo>
                      <a:pt x="7844" y="1263650"/>
                      <a:pt x="0" y="1255798"/>
                      <a:pt x="0" y="1247232"/>
                    </a:cubicBezTo>
                    <a:cubicBezTo>
                      <a:pt x="0" y="1237952"/>
                      <a:pt x="7844" y="1230814"/>
                      <a:pt x="16402" y="1230814"/>
                    </a:cubicBezTo>
                    <a:cubicBezTo>
                      <a:pt x="16402" y="1230814"/>
                      <a:pt x="16402" y="1230814"/>
                      <a:pt x="335876" y="1230814"/>
                    </a:cubicBezTo>
                    <a:cubicBezTo>
                      <a:pt x="335876" y="1230814"/>
                      <a:pt x="335876" y="1230814"/>
                      <a:pt x="387220" y="1019518"/>
                    </a:cubicBezTo>
                    <a:cubicBezTo>
                      <a:pt x="350851" y="1005955"/>
                      <a:pt x="317335" y="987396"/>
                      <a:pt x="285245" y="965981"/>
                    </a:cubicBezTo>
                    <a:cubicBezTo>
                      <a:pt x="288097" y="965267"/>
                      <a:pt x="289524" y="963839"/>
                      <a:pt x="290950" y="962411"/>
                    </a:cubicBezTo>
                    <a:cubicBezTo>
                      <a:pt x="296655" y="955273"/>
                      <a:pt x="303073" y="948135"/>
                      <a:pt x="306638" y="940283"/>
                    </a:cubicBezTo>
                    <a:cubicBezTo>
                      <a:pt x="334450" y="958842"/>
                      <a:pt x="363687" y="973833"/>
                      <a:pt x="394351" y="986682"/>
                    </a:cubicBezTo>
                    <a:cubicBezTo>
                      <a:pt x="394351" y="986682"/>
                      <a:pt x="394351" y="986682"/>
                      <a:pt x="474933" y="654748"/>
                    </a:cubicBezTo>
                    <a:cubicBezTo>
                      <a:pt x="474933" y="654748"/>
                      <a:pt x="474933" y="654748"/>
                      <a:pt x="301647" y="828210"/>
                    </a:cubicBezTo>
                    <a:cubicBezTo>
                      <a:pt x="298081" y="823927"/>
                      <a:pt x="294515" y="820358"/>
                      <a:pt x="290950" y="816075"/>
                    </a:cubicBezTo>
                    <a:cubicBezTo>
                      <a:pt x="286671" y="811792"/>
                      <a:pt x="282393" y="808223"/>
                      <a:pt x="278114" y="804654"/>
                    </a:cubicBezTo>
                    <a:cubicBezTo>
                      <a:pt x="278114" y="804654"/>
                      <a:pt x="278114" y="804654"/>
                      <a:pt x="489908" y="593358"/>
                    </a:cubicBezTo>
                    <a:cubicBezTo>
                      <a:pt x="489908" y="593358"/>
                      <a:pt x="489908" y="593358"/>
                      <a:pt x="502744" y="539821"/>
                    </a:cubicBezTo>
                    <a:cubicBezTo>
                      <a:pt x="502744" y="539821"/>
                      <a:pt x="502744" y="539821"/>
                      <a:pt x="168295" y="539821"/>
                    </a:cubicBezTo>
                    <a:cubicBezTo>
                      <a:pt x="169008" y="534110"/>
                      <a:pt x="169008" y="529113"/>
                      <a:pt x="169008" y="523403"/>
                    </a:cubicBezTo>
                    <a:cubicBezTo>
                      <a:pt x="169008" y="517692"/>
                      <a:pt x="169008" y="511981"/>
                      <a:pt x="168295" y="506270"/>
                    </a:cubicBezTo>
                    <a:cubicBezTo>
                      <a:pt x="168295" y="506270"/>
                      <a:pt x="168295" y="506270"/>
                      <a:pt x="510588" y="506270"/>
                    </a:cubicBezTo>
                    <a:cubicBezTo>
                      <a:pt x="510588" y="505557"/>
                      <a:pt x="510588" y="504843"/>
                      <a:pt x="510588" y="504129"/>
                    </a:cubicBezTo>
                    <a:cubicBezTo>
                      <a:pt x="510588" y="504129"/>
                      <a:pt x="510588" y="504129"/>
                      <a:pt x="512728" y="499846"/>
                    </a:cubicBezTo>
                    <a:cubicBezTo>
                      <a:pt x="512728" y="498418"/>
                      <a:pt x="513441" y="496991"/>
                      <a:pt x="514154" y="495563"/>
                    </a:cubicBezTo>
                    <a:cubicBezTo>
                      <a:pt x="516293" y="491280"/>
                      <a:pt x="517720" y="486997"/>
                      <a:pt x="519859" y="484142"/>
                    </a:cubicBezTo>
                    <a:cubicBezTo>
                      <a:pt x="519859" y="484142"/>
                      <a:pt x="519859" y="484142"/>
                      <a:pt x="278114" y="241437"/>
                    </a:cubicBezTo>
                    <a:cubicBezTo>
                      <a:pt x="282393" y="237868"/>
                      <a:pt x="286671" y="234299"/>
                      <a:pt x="290950" y="230730"/>
                    </a:cubicBezTo>
                    <a:cubicBezTo>
                      <a:pt x="294515" y="226447"/>
                      <a:pt x="298081" y="222164"/>
                      <a:pt x="301647" y="217881"/>
                    </a:cubicBezTo>
                    <a:cubicBezTo>
                      <a:pt x="301647" y="217881"/>
                      <a:pt x="301647" y="217881"/>
                      <a:pt x="543392" y="459871"/>
                    </a:cubicBezTo>
                    <a:cubicBezTo>
                      <a:pt x="550523" y="456302"/>
                      <a:pt x="558367" y="452733"/>
                      <a:pt x="566211" y="450591"/>
                    </a:cubicBezTo>
                    <a:cubicBezTo>
                      <a:pt x="566211" y="450591"/>
                      <a:pt x="566211" y="450591"/>
                      <a:pt x="566211" y="107950"/>
                    </a:cubicBezTo>
                    <a:close/>
                    <a:moveTo>
                      <a:pt x="687052" y="0"/>
                    </a:moveTo>
                    <a:cubicBezTo>
                      <a:pt x="757347" y="14277"/>
                      <a:pt x="822671" y="42116"/>
                      <a:pt x="879475" y="80664"/>
                    </a:cubicBezTo>
                    <a:cubicBezTo>
                      <a:pt x="877345" y="82091"/>
                      <a:pt x="875925" y="84233"/>
                      <a:pt x="874505" y="85661"/>
                    </a:cubicBezTo>
                    <a:cubicBezTo>
                      <a:pt x="868825" y="91371"/>
                      <a:pt x="862434" y="99223"/>
                      <a:pt x="858884" y="106362"/>
                    </a:cubicBezTo>
                    <a:cubicBezTo>
                      <a:pt x="806340" y="71384"/>
                      <a:pt x="747406" y="46399"/>
                      <a:pt x="684212" y="32836"/>
                    </a:cubicBezTo>
                    <a:cubicBezTo>
                      <a:pt x="686342" y="24270"/>
                      <a:pt x="687052" y="15704"/>
                      <a:pt x="687052" y="6424"/>
                    </a:cubicBezTo>
                    <a:cubicBezTo>
                      <a:pt x="687052" y="4283"/>
                      <a:pt x="687052" y="2141"/>
                      <a:pt x="687052" y="0"/>
                    </a:cubicBezTo>
                    <a:close/>
                    <a:moveTo>
                      <a:pt x="479760" y="0"/>
                    </a:moveTo>
                    <a:cubicBezTo>
                      <a:pt x="479760" y="2141"/>
                      <a:pt x="479760" y="4283"/>
                      <a:pt x="479760" y="6424"/>
                    </a:cubicBezTo>
                    <a:cubicBezTo>
                      <a:pt x="479760" y="15704"/>
                      <a:pt x="480470" y="24270"/>
                      <a:pt x="482600" y="32836"/>
                    </a:cubicBezTo>
                    <a:cubicBezTo>
                      <a:pt x="419406" y="46399"/>
                      <a:pt x="360472" y="71384"/>
                      <a:pt x="307929" y="106362"/>
                    </a:cubicBezTo>
                    <a:cubicBezTo>
                      <a:pt x="304378" y="99223"/>
                      <a:pt x="297988" y="91371"/>
                      <a:pt x="292308" y="85661"/>
                    </a:cubicBezTo>
                    <a:cubicBezTo>
                      <a:pt x="290887" y="84233"/>
                      <a:pt x="289467" y="82091"/>
                      <a:pt x="287337" y="80664"/>
                    </a:cubicBezTo>
                    <a:cubicBezTo>
                      <a:pt x="344141" y="42116"/>
                      <a:pt x="409465" y="14277"/>
                      <a:pt x="479760" y="0"/>
                    </a:cubicBezTo>
                    <a:close/>
                  </a:path>
                </a:pathLst>
              </a:custGeom>
              <a:solidFill>
                <a:srgbClr val="6E6F73"/>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118" name="Group 117"/>
          <p:cNvGrpSpPr>
            <a:grpSpLocks noChangeAspect="1"/>
          </p:cNvGrpSpPr>
          <p:nvPr/>
        </p:nvGrpSpPr>
        <p:grpSpPr>
          <a:xfrm>
            <a:off x="3055221" y="5442079"/>
            <a:ext cx="235730" cy="235948"/>
            <a:chOff x="5273799" y="2606040"/>
            <a:chExt cx="1644396" cy="1645920"/>
          </a:xfrm>
        </p:grpSpPr>
        <p:sp>
          <p:nvSpPr>
            <p:cNvPr id="119" name="AutoShape 28">
              <a:extLst>
                <a:ext uri="{FF2B5EF4-FFF2-40B4-BE49-F238E27FC236}">
                  <a16:creationId xmlns:a16="http://schemas.microsoft.com/office/drawing/2014/main" id="{7563FC07-0F95-4975-8A35-266F618BA3E6}"/>
                </a:ext>
              </a:extLst>
            </p:cNvPr>
            <p:cNvSpPr>
              <a:spLocks noChangeAspect="1" noChangeArrowheads="1" noTextEdit="1"/>
            </p:cNvSpPr>
            <p:nvPr/>
          </p:nvSpPr>
          <p:spPr bwMode="auto">
            <a:xfrm>
              <a:off x="5273799"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20" name="Group 119"/>
            <p:cNvGrpSpPr/>
            <p:nvPr/>
          </p:nvGrpSpPr>
          <p:grpSpPr>
            <a:xfrm>
              <a:off x="5537070" y="2899029"/>
              <a:ext cx="1119378" cy="1182243"/>
              <a:chOff x="5537070" y="2899029"/>
              <a:chExt cx="1119378" cy="1182243"/>
            </a:xfrm>
          </p:grpSpPr>
          <p:sp>
            <p:nvSpPr>
              <p:cNvPr id="121" name="Freeform 30">
                <a:extLst>
                  <a:ext uri="{FF2B5EF4-FFF2-40B4-BE49-F238E27FC236}">
                    <a16:creationId xmlns:a16="http://schemas.microsoft.com/office/drawing/2014/main" id="{49BC73FE-6853-4419-AC44-1784975BCF4D}"/>
                  </a:ext>
                </a:extLst>
              </p:cNvPr>
              <p:cNvSpPr>
                <a:spLocks noEditPoints="1"/>
              </p:cNvSpPr>
              <p:nvPr/>
            </p:nvSpPr>
            <p:spPr bwMode="auto">
              <a:xfrm>
                <a:off x="5538594" y="2961894"/>
                <a:ext cx="1116330" cy="961263"/>
              </a:xfrm>
              <a:custGeom>
                <a:avLst/>
                <a:gdLst>
                  <a:gd name="T0" fmla="*/ 752 w 1564"/>
                  <a:gd name="T1" fmla="*/ 1346 h 1346"/>
                  <a:gd name="T2" fmla="*/ 479 w 1564"/>
                  <a:gd name="T3" fmla="*/ 1346 h 1346"/>
                  <a:gd name="T4" fmla="*/ 469 w 1564"/>
                  <a:gd name="T5" fmla="*/ 1336 h 1346"/>
                  <a:gd name="T6" fmla="*/ 469 w 1564"/>
                  <a:gd name="T7" fmla="*/ 856 h 1346"/>
                  <a:gd name="T8" fmla="*/ 479 w 1564"/>
                  <a:gd name="T9" fmla="*/ 846 h 1346"/>
                  <a:gd name="T10" fmla="*/ 752 w 1564"/>
                  <a:gd name="T11" fmla="*/ 846 h 1346"/>
                  <a:gd name="T12" fmla="*/ 762 w 1564"/>
                  <a:gd name="T13" fmla="*/ 856 h 1346"/>
                  <a:gd name="T14" fmla="*/ 762 w 1564"/>
                  <a:gd name="T15" fmla="*/ 1336 h 1346"/>
                  <a:gd name="T16" fmla="*/ 752 w 1564"/>
                  <a:gd name="T17" fmla="*/ 1346 h 1346"/>
                  <a:gd name="T18" fmla="*/ 1095 w 1564"/>
                  <a:gd name="T19" fmla="*/ 1336 h 1346"/>
                  <a:gd name="T20" fmla="*/ 1095 w 1564"/>
                  <a:gd name="T21" fmla="*/ 856 h 1346"/>
                  <a:gd name="T22" fmla="*/ 1085 w 1564"/>
                  <a:gd name="T23" fmla="*/ 846 h 1346"/>
                  <a:gd name="T24" fmla="*/ 812 w 1564"/>
                  <a:gd name="T25" fmla="*/ 846 h 1346"/>
                  <a:gd name="T26" fmla="*/ 802 w 1564"/>
                  <a:gd name="T27" fmla="*/ 856 h 1346"/>
                  <a:gd name="T28" fmla="*/ 802 w 1564"/>
                  <a:gd name="T29" fmla="*/ 1336 h 1346"/>
                  <a:gd name="T30" fmla="*/ 812 w 1564"/>
                  <a:gd name="T31" fmla="*/ 1346 h 1346"/>
                  <a:gd name="T32" fmla="*/ 1085 w 1564"/>
                  <a:gd name="T33" fmla="*/ 1346 h 1346"/>
                  <a:gd name="T34" fmla="*/ 1095 w 1564"/>
                  <a:gd name="T35" fmla="*/ 1336 h 1346"/>
                  <a:gd name="T36" fmla="*/ 1554 w 1564"/>
                  <a:gd name="T37" fmla="*/ 372 h 1346"/>
                  <a:gd name="T38" fmla="*/ 1384 w 1564"/>
                  <a:gd name="T39" fmla="*/ 18 h 1346"/>
                  <a:gd name="T40" fmla="*/ 1360 w 1564"/>
                  <a:gd name="T41" fmla="*/ 0 h 1346"/>
                  <a:gd name="T42" fmla="*/ 205 w 1564"/>
                  <a:gd name="T43" fmla="*/ 0 h 1346"/>
                  <a:gd name="T44" fmla="*/ 180 w 1564"/>
                  <a:gd name="T45" fmla="*/ 20 h 1346"/>
                  <a:gd name="T46" fmla="*/ 10 w 1564"/>
                  <a:gd name="T47" fmla="*/ 370 h 1346"/>
                  <a:gd name="T48" fmla="*/ 34 w 1564"/>
                  <a:gd name="T49" fmla="*/ 408 h 1346"/>
                  <a:gd name="T50" fmla="*/ 1530 w 1564"/>
                  <a:gd name="T51" fmla="*/ 408 h 1346"/>
                  <a:gd name="T52" fmla="*/ 1554 w 1564"/>
                  <a:gd name="T53" fmla="*/ 372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64" h="1346">
                    <a:moveTo>
                      <a:pt x="752" y="1346"/>
                    </a:moveTo>
                    <a:cubicBezTo>
                      <a:pt x="479" y="1346"/>
                      <a:pt x="479" y="1346"/>
                      <a:pt x="479" y="1346"/>
                    </a:cubicBezTo>
                    <a:cubicBezTo>
                      <a:pt x="474" y="1346"/>
                      <a:pt x="469" y="1342"/>
                      <a:pt x="469" y="1336"/>
                    </a:cubicBezTo>
                    <a:cubicBezTo>
                      <a:pt x="469" y="856"/>
                      <a:pt x="469" y="856"/>
                      <a:pt x="469" y="856"/>
                    </a:cubicBezTo>
                    <a:cubicBezTo>
                      <a:pt x="469" y="851"/>
                      <a:pt x="474" y="846"/>
                      <a:pt x="479" y="846"/>
                    </a:cubicBezTo>
                    <a:cubicBezTo>
                      <a:pt x="752" y="846"/>
                      <a:pt x="752" y="846"/>
                      <a:pt x="752" y="846"/>
                    </a:cubicBezTo>
                    <a:cubicBezTo>
                      <a:pt x="758" y="846"/>
                      <a:pt x="762" y="851"/>
                      <a:pt x="762" y="856"/>
                    </a:cubicBezTo>
                    <a:cubicBezTo>
                      <a:pt x="762" y="1336"/>
                      <a:pt x="762" y="1336"/>
                      <a:pt x="762" y="1336"/>
                    </a:cubicBezTo>
                    <a:cubicBezTo>
                      <a:pt x="762" y="1342"/>
                      <a:pt x="758" y="1346"/>
                      <a:pt x="752" y="1346"/>
                    </a:cubicBezTo>
                    <a:close/>
                    <a:moveTo>
                      <a:pt x="1095" y="1336"/>
                    </a:moveTo>
                    <a:cubicBezTo>
                      <a:pt x="1095" y="856"/>
                      <a:pt x="1095" y="856"/>
                      <a:pt x="1095" y="856"/>
                    </a:cubicBezTo>
                    <a:cubicBezTo>
                      <a:pt x="1095" y="851"/>
                      <a:pt x="1090" y="846"/>
                      <a:pt x="1085" y="846"/>
                    </a:cubicBezTo>
                    <a:cubicBezTo>
                      <a:pt x="812" y="846"/>
                      <a:pt x="812" y="846"/>
                      <a:pt x="812" y="846"/>
                    </a:cubicBezTo>
                    <a:cubicBezTo>
                      <a:pt x="806" y="846"/>
                      <a:pt x="802" y="851"/>
                      <a:pt x="802" y="856"/>
                    </a:cubicBezTo>
                    <a:cubicBezTo>
                      <a:pt x="802" y="1336"/>
                      <a:pt x="802" y="1336"/>
                      <a:pt x="802" y="1336"/>
                    </a:cubicBezTo>
                    <a:cubicBezTo>
                      <a:pt x="802" y="1342"/>
                      <a:pt x="806" y="1346"/>
                      <a:pt x="812" y="1346"/>
                    </a:cubicBezTo>
                    <a:cubicBezTo>
                      <a:pt x="1085" y="1346"/>
                      <a:pt x="1085" y="1346"/>
                      <a:pt x="1085" y="1346"/>
                    </a:cubicBezTo>
                    <a:cubicBezTo>
                      <a:pt x="1090" y="1346"/>
                      <a:pt x="1095" y="1342"/>
                      <a:pt x="1095" y="1336"/>
                    </a:cubicBezTo>
                    <a:close/>
                    <a:moveTo>
                      <a:pt x="1554" y="372"/>
                    </a:moveTo>
                    <a:cubicBezTo>
                      <a:pt x="1384" y="18"/>
                      <a:pt x="1384" y="18"/>
                      <a:pt x="1384" y="18"/>
                    </a:cubicBezTo>
                    <a:cubicBezTo>
                      <a:pt x="1379" y="9"/>
                      <a:pt x="1370" y="0"/>
                      <a:pt x="1360" y="0"/>
                    </a:cubicBezTo>
                    <a:cubicBezTo>
                      <a:pt x="205" y="0"/>
                      <a:pt x="205" y="0"/>
                      <a:pt x="205" y="0"/>
                    </a:cubicBezTo>
                    <a:cubicBezTo>
                      <a:pt x="194" y="0"/>
                      <a:pt x="185" y="11"/>
                      <a:pt x="180" y="20"/>
                    </a:cubicBezTo>
                    <a:cubicBezTo>
                      <a:pt x="10" y="370"/>
                      <a:pt x="10" y="370"/>
                      <a:pt x="10" y="370"/>
                    </a:cubicBezTo>
                    <a:cubicBezTo>
                      <a:pt x="0" y="388"/>
                      <a:pt x="14" y="408"/>
                      <a:pt x="34" y="408"/>
                    </a:cubicBezTo>
                    <a:cubicBezTo>
                      <a:pt x="1530" y="408"/>
                      <a:pt x="1530" y="408"/>
                      <a:pt x="1530" y="408"/>
                    </a:cubicBezTo>
                    <a:cubicBezTo>
                      <a:pt x="1551" y="408"/>
                      <a:pt x="1564" y="391"/>
                      <a:pt x="1554" y="372"/>
                    </a:cubicBezTo>
                    <a:close/>
                  </a:path>
                </a:pathLst>
              </a:custGeom>
              <a:solidFill>
                <a:srgbClr val="6E6F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2" name="Freeform 31">
                <a:extLst>
                  <a:ext uri="{FF2B5EF4-FFF2-40B4-BE49-F238E27FC236}">
                    <a16:creationId xmlns:a16="http://schemas.microsoft.com/office/drawing/2014/main" id="{76C2B07B-CC10-467E-80DB-D1179FF6D780}"/>
                  </a:ext>
                </a:extLst>
              </p:cNvPr>
              <p:cNvSpPr>
                <a:spLocks noEditPoints="1"/>
              </p:cNvSpPr>
              <p:nvPr/>
            </p:nvSpPr>
            <p:spPr bwMode="auto">
              <a:xfrm>
                <a:off x="5537070" y="2899029"/>
                <a:ext cx="1119378" cy="1182243"/>
              </a:xfrm>
              <a:custGeom>
                <a:avLst/>
                <a:gdLst>
                  <a:gd name="T0" fmla="*/ 1524 w 1568"/>
                  <a:gd name="T1" fmla="*/ 1529 h 1655"/>
                  <a:gd name="T2" fmla="*/ 1459 w 1568"/>
                  <a:gd name="T3" fmla="*/ 1529 h 1655"/>
                  <a:gd name="T4" fmla="*/ 1459 w 1568"/>
                  <a:gd name="T5" fmla="*/ 1500 h 1655"/>
                  <a:gd name="T6" fmla="*/ 1438 w 1568"/>
                  <a:gd name="T7" fmla="*/ 1478 h 1655"/>
                  <a:gd name="T8" fmla="*/ 130 w 1568"/>
                  <a:gd name="T9" fmla="*/ 1478 h 1655"/>
                  <a:gd name="T10" fmla="*/ 109 w 1568"/>
                  <a:gd name="T11" fmla="*/ 1500 h 1655"/>
                  <a:gd name="T12" fmla="*/ 109 w 1568"/>
                  <a:gd name="T13" fmla="*/ 1529 h 1655"/>
                  <a:gd name="T14" fmla="*/ 44 w 1568"/>
                  <a:gd name="T15" fmla="*/ 1529 h 1655"/>
                  <a:gd name="T16" fmla="*/ 23 w 1568"/>
                  <a:gd name="T17" fmla="*/ 1551 h 1655"/>
                  <a:gd name="T18" fmla="*/ 23 w 1568"/>
                  <a:gd name="T19" fmla="*/ 1634 h 1655"/>
                  <a:gd name="T20" fmla="*/ 44 w 1568"/>
                  <a:gd name="T21" fmla="*/ 1655 h 1655"/>
                  <a:gd name="T22" fmla="*/ 1524 w 1568"/>
                  <a:gd name="T23" fmla="*/ 1655 h 1655"/>
                  <a:gd name="T24" fmla="*/ 1545 w 1568"/>
                  <a:gd name="T25" fmla="*/ 1634 h 1655"/>
                  <a:gd name="T26" fmla="*/ 1545 w 1568"/>
                  <a:gd name="T27" fmla="*/ 1551 h 1655"/>
                  <a:gd name="T28" fmla="*/ 1524 w 1568"/>
                  <a:gd name="T29" fmla="*/ 1529 h 1655"/>
                  <a:gd name="T30" fmla="*/ 1568 w 1568"/>
                  <a:gd name="T31" fmla="*/ 562 h 1655"/>
                  <a:gd name="T32" fmla="*/ 1568 w 1568"/>
                  <a:gd name="T33" fmla="*/ 583 h 1655"/>
                  <a:gd name="T34" fmla="*/ 1568 w 1568"/>
                  <a:gd name="T35" fmla="*/ 583 h 1655"/>
                  <a:gd name="T36" fmla="*/ 1394 w 1568"/>
                  <a:gd name="T37" fmla="*/ 778 h 1655"/>
                  <a:gd name="T38" fmla="*/ 1394 w 1568"/>
                  <a:gd name="T39" fmla="*/ 1434 h 1655"/>
                  <a:gd name="T40" fmla="*/ 1350 w 1568"/>
                  <a:gd name="T41" fmla="*/ 1434 h 1655"/>
                  <a:gd name="T42" fmla="*/ 1350 w 1568"/>
                  <a:gd name="T43" fmla="*/ 778 h 1655"/>
                  <a:gd name="T44" fmla="*/ 1176 w 1568"/>
                  <a:gd name="T45" fmla="*/ 588 h 1655"/>
                  <a:gd name="T46" fmla="*/ 980 w 1568"/>
                  <a:gd name="T47" fmla="*/ 779 h 1655"/>
                  <a:gd name="T48" fmla="*/ 784 w 1568"/>
                  <a:gd name="T49" fmla="*/ 588 h 1655"/>
                  <a:gd name="T50" fmla="*/ 588 w 1568"/>
                  <a:gd name="T51" fmla="*/ 779 h 1655"/>
                  <a:gd name="T52" fmla="*/ 392 w 1568"/>
                  <a:gd name="T53" fmla="*/ 588 h 1655"/>
                  <a:gd name="T54" fmla="*/ 218 w 1568"/>
                  <a:gd name="T55" fmla="*/ 778 h 1655"/>
                  <a:gd name="T56" fmla="*/ 218 w 1568"/>
                  <a:gd name="T57" fmla="*/ 1434 h 1655"/>
                  <a:gd name="T58" fmla="*/ 174 w 1568"/>
                  <a:gd name="T59" fmla="*/ 1434 h 1655"/>
                  <a:gd name="T60" fmla="*/ 174 w 1568"/>
                  <a:gd name="T61" fmla="*/ 778 h 1655"/>
                  <a:gd name="T62" fmla="*/ 0 w 1568"/>
                  <a:gd name="T63" fmla="*/ 583 h 1655"/>
                  <a:gd name="T64" fmla="*/ 0 w 1568"/>
                  <a:gd name="T65" fmla="*/ 583 h 1655"/>
                  <a:gd name="T66" fmla="*/ 0 w 1568"/>
                  <a:gd name="T67" fmla="*/ 562 h 1655"/>
                  <a:gd name="T68" fmla="*/ 22 w 1568"/>
                  <a:gd name="T69" fmla="*/ 540 h 1655"/>
                  <a:gd name="T70" fmla="*/ 1546 w 1568"/>
                  <a:gd name="T71" fmla="*/ 540 h 1655"/>
                  <a:gd name="T72" fmla="*/ 1568 w 1568"/>
                  <a:gd name="T73" fmla="*/ 562 h 1655"/>
                  <a:gd name="T74" fmla="*/ 1354 w 1568"/>
                  <a:gd name="T75" fmla="*/ 44 h 1655"/>
                  <a:gd name="T76" fmla="*/ 214 w 1568"/>
                  <a:gd name="T77" fmla="*/ 44 h 1655"/>
                  <a:gd name="T78" fmla="*/ 192 w 1568"/>
                  <a:gd name="T79" fmla="*/ 22 h 1655"/>
                  <a:gd name="T80" fmla="*/ 214 w 1568"/>
                  <a:gd name="T81" fmla="*/ 0 h 1655"/>
                  <a:gd name="T82" fmla="*/ 1354 w 1568"/>
                  <a:gd name="T83" fmla="*/ 0 h 1655"/>
                  <a:gd name="T84" fmla="*/ 1376 w 1568"/>
                  <a:gd name="T85" fmla="*/ 22 h 1655"/>
                  <a:gd name="T86" fmla="*/ 1354 w 1568"/>
                  <a:gd name="T87" fmla="*/ 44 h 1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68" h="1655">
                    <a:moveTo>
                      <a:pt x="1524" y="1529"/>
                    </a:moveTo>
                    <a:cubicBezTo>
                      <a:pt x="1459" y="1529"/>
                      <a:pt x="1459" y="1529"/>
                      <a:pt x="1459" y="1529"/>
                    </a:cubicBezTo>
                    <a:cubicBezTo>
                      <a:pt x="1459" y="1500"/>
                      <a:pt x="1459" y="1500"/>
                      <a:pt x="1459" y="1500"/>
                    </a:cubicBezTo>
                    <a:cubicBezTo>
                      <a:pt x="1459" y="1488"/>
                      <a:pt x="1450" y="1478"/>
                      <a:pt x="1438" y="1478"/>
                    </a:cubicBezTo>
                    <a:cubicBezTo>
                      <a:pt x="130" y="1478"/>
                      <a:pt x="130" y="1478"/>
                      <a:pt x="130" y="1478"/>
                    </a:cubicBezTo>
                    <a:cubicBezTo>
                      <a:pt x="118" y="1478"/>
                      <a:pt x="109" y="1488"/>
                      <a:pt x="109" y="1500"/>
                    </a:cubicBezTo>
                    <a:cubicBezTo>
                      <a:pt x="109" y="1529"/>
                      <a:pt x="109" y="1529"/>
                      <a:pt x="109" y="1529"/>
                    </a:cubicBezTo>
                    <a:cubicBezTo>
                      <a:pt x="44" y="1529"/>
                      <a:pt x="44" y="1529"/>
                      <a:pt x="44" y="1529"/>
                    </a:cubicBezTo>
                    <a:cubicBezTo>
                      <a:pt x="32" y="1529"/>
                      <a:pt x="23" y="1539"/>
                      <a:pt x="23" y="1551"/>
                    </a:cubicBezTo>
                    <a:cubicBezTo>
                      <a:pt x="23" y="1634"/>
                      <a:pt x="23" y="1634"/>
                      <a:pt x="23" y="1634"/>
                    </a:cubicBezTo>
                    <a:cubicBezTo>
                      <a:pt x="23" y="1646"/>
                      <a:pt x="32" y="1655"/>
                      <a:pt x="44" y="1655"/>
                    </a:cubicBezTo>
                    <a:cubicBezTo>
                      <a:pt x="1524" y="1655"/>
                      <a:pt x="1524" y="1655"/>
                      <a:pt x="1524" y="1655"/>
                    </a:cubicBezTo>
                    <a:cubicBezTo>
                      <a:pt x="1536" y="1655"/>
                      <a:pt x="1545" y="1646"/>
                      <a:pt x="1545" y="1634"/>
                    </a:cubicBezTo>
                    <a:cubicBezTo>
                      <a:pt x="1545" y="1551"/>
                      <a:pt x="1545" y="1551"/>
                      <a:pt x="1545" y="1551"/>
                    </a:cubicBezTo>
                    <a:cubicBezTo>
                      <a:pt x="1545" y="1539"/>
                      <a:pt x="1536" y="1529"/>
                      <a:pt x="1524" y="1529"/>
                    </a:cubicBezTo>
                    <a:close/>
                    <a:moveTo>
                      <a:pt x="1568" y="562"/>
                    </a:moveTo>
                    <a:cubicBezTo>
                      <a:pt x="1568" y="583"/>
                      <a:pt x="1568" y="583"/>
                      <a:pt x="1568" y="583"/>
                    </a:cubicBezTo>
                    <a:cubicBezTo>
                      <a:pt x="1568" y="583"/>
                      <a:pt x="1568" y="583"/>
                      <a:pt x="1568" y="583"/>
                    </a:cubicBezTo>
                    <a:cubicBezTo>
                      <a:pt x="1568" y="684"/>
                      <a:pt x="1491" y="767"/>
                      <a:pt x="1394" y="778"/>
                    </a:cubicBezTo>
                    <a:cubicBezTo>
                      <a:pt x="1394" y="1434"/>
                      <a:pt x="1394" y="1434"/>
                      <a:pt x="1394" y="1434"/>
                    </a:cubicBezTo>
                    <a:cubicBezTo>
                      <a:pt x="1350" y="1434"/>
                      <a:pt x="1350" y="1434"/>
                      <a:pt x="1350" y="1434"/>
                    </a:cubicBezTo>
                    <a:cubicBezTo>
                      <a:pt x="1350" y="778"/>
                      <a:pt x="1350" y="778"/>
                      <a:pt x="1350" y="778"/>
                    </a:cubicBezTo>
                    <a:cubicBezTo>
                      <a:pt x="1253" y="767"/>
                      <a:pt x="1178" y="687"/>
                      <a:pt x="1176" y="588"/>
                    </a:cubicBezTo>
                    <a:cubicBezTo>
                      <a:pt x="1173" y="694"/>
                      <a:pt x="1086" y="779"/>
                      <a:pt x="980" y="779"/>
                    </a:cubicBezTo>
                    <a:cubicBezTo>
                      <a:pt x="873" y="779"/>
                      <a:pt x="787" y="694"/>
                      <a:pt x="784" y="588"/>
                    </a:cubicBezTo>
                    <a:cubicBezTo>
                      <a:pt x="781" y="694"/>
                      <a:pt x="695" y="779"/>
                      <a:pt x="588" y="779"/>
                    </a:cubicBezTo>
                    <a:cubicBezTo>
                      <a:pt x="482" y="779"/>
                      <a:pt x="395" y="694"/>
                      <a:pt x="392" y="588"/>
                    </a:cubicBezTo>
                    <a:cubicBezTo>
                      <a:pt x="390" y="687"/>
                      <a:pt x="315" y="767"/>
                      <a:pt x="218" y="778"/>
                    </a:cubicBezTo>
                    <a:cubicBezTo>
                      <a:pt x="218" y="1434"/>
                      <a:pt x="218" y="1434"/>
                      <a:pt x="218" y="1434"/>
                    </a:cubicBezTo>
                    <a:cubicBezTo>
                      <a:pt x="174" y="1434"/>
                      <a:pt x="174" y="1434"/>
                      <a:pt x="174" y="1434"/>
                    </a:cubicBezTo>
                    <a:cubicBezTo>
                      <a:pt x="174" y="778"/>
                      <a:pt x="174" y="778"/>
                      <a:pt x="174" y="778"/>
                    </a:cubicBezTo>
                    <a:cubicBezTo>
                      <a:pt x="77" y="767"/>
                      <a:pt x="0" y="684"/>
                      <a:pt x="0" y="583"/>
                    </a:cubicBezTo>
                    <a:cubicBezTo>
                      <a:pt x="0" y="583"/>
                      <a:pt x="0" y="583"/>
                      <a:pt x="0" y="583"/>
                    </a:cubicBezTo>
                    <a:cubicBezTo>
                      <a:pt x="0" y="562"/>
                      <a:pt x="0" y="562"/>
                      <a:pt x="0" y="562"/>
                    </a:cubicBezTo>
                    <a:cubicBezTo>
                      <a:pt x="0" y="549"/>
                      <a:pt x="10" y="540"/>
                      <a:pt x="22" y="540"/>
                    </a:cubicBezTo>
                    <a:cubicBezTo>
                      <a:pt x="1546" y="540"/>
                      <a:pt x="1546" y="540"/>
                      <a:pt x="1546" y="540"/>
                    </a:cubicBezTo>
                    <a:cubicBezTo>
                      <a:pt x="1558" y="540"/>
                      <a:pt x="1568" y="549"/>
                      <a:pt x="1568" y="562"/>
                    </a:cubicBezTo>
                    <a:close/>
                    <a:moveTo>
                      <a:pt x="1354" y="44"/>
                    </a:moveTo>
                    <a:cubicBezTo>
                      <a:pt x="214" y="44"/>
                      <a:pt x="214" y="44"/>
                      <a:pt x="214" y="44"/>
                    </a:cubicBezTo>
                    <a:cubicBezTo>
                      <a:pt x="202" y="44"/>
                      <a:pt x="192" y="34"/>
                      <a:pt x="192" y="22"/>
                    </a:cubicBezTo>
                    <a:cubicBezTo>
                      <a:pt x="192" y="10"/>
                      <a:pt x="202" y="0"/>
                      <a:pt x="214" y="0"/>
                    </a:cubicBezTo>
                    <a:cubicBezTo>
                      <a:pt x="1354" y="0"/>
                      <a:pt x="1354" y="0"/>
                      <a:pt x="1354" y="0"/>
                    </a:cubicBezTo>
                    <a:cubicBezTo>
                      <a:pt x="1366" y="0"/>
                      <a:pt x="1376" y="10"/>
                      <a:pt x="1376" y="22"/>
                    </a:cubicBezTo>
                    <a:cubicBezTo>
                      <a:pt x="1376" y="34"/>
                      <a:pt x="1366" y="44"/>
                      <a:pt x="1354" y="44"/>
                    </a:cubicBezTo>
                    <a:close/>
                  </a:path>
                </a:pathLst>
              </a:custGeom>
              <a:solidFill>
                <a:srgbClr val="6E6F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123" name="Group 122"/>
          <p:cNvGrpSpPr>
            <a:grpSpLocks noChangeAspect="1"/>
          </p:cNvGrpSpPr>
          <p:nvPr/>
        </p:nvGrpSpPr>
        <p:grpSpPr>
          <a:xfrm>
            <a:off x="6270698" y="5442079"/>
            <a:ext cx="235948" cy="235948"/>
            <a:chOff x="5273675" y="2606675"/>
            <a:chExt cx="1644650" cy="1644650"/>
          </a:xfrm>
        </p:grpSpPr>
        <p:sp>
          <p:nvSpPr>
            <p:cNvPr id="124" name="AutoShape 3"/>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25" name="Group 124"/>
            <p:cNvGrpSpPr/>
            <p:nvPr/>
          </p:nvGrpSpPr>
          <p:grpSpPr>
            <a:xfrm>
              <a:off x="5332413" y="3094038"/>
              <a:ext cx="1533525" cy="614362"/>
              <a:chOff x="5332413" y="3094038"/>
              <a:chExt cx="1533525" cy="614362"/>
            </a:xfrm>
          </p:grpSpPr>
          <p:sp>
            <p:nvSpPr>
              <p:cNvPr id="126" name="Freeform 125"/>
              <p:cNvSpPr>
                <a:spLocks/>
              </p:cNvSpPr>
              <p:nvPr/>
            </p:nvSpPr>
            <p:spPr bwMode="auto">
              <a:xfrm>
                <a:off x="5332413" y="3094038"/>
                <a:ext cx="1533525" cy="542925"/>
              </a:xfrm>
              <a:custGeom>
                <a:avLst/>
                <a:gdLst>
                  <a:gd name="connsiteX0" fmla="*/ 1246187 w 1533525"/>
                  <a:gd name="connsiteY0" fmla="*/ 511175 h 542925"/>
                  <a:gd name="connsiteX1" fmla="*/ 1517878 w 1533525"/>
                  <a:gd name="connsiteY1" fmla="*/ 511175 h 542925"/>
                  <a:gd name="connsiteX2" fmla="*/ 1533525 w 1533525"/>
                  <a:gd name="connsiteY2" fmla="*/ 527050 h 542925"/>
                  <a:gd name="connsiteX3" fmla="*/ 1517878 w 1533525"/>
                  <a:gd name="connsiteY3" fmla="*/ 542925 h 542925"/>
                  <a:gd name="connsiteX4" fmla="*/ 1255433 w 1533525"/>
                  <a:gd name="connsiteY4" fmla="*/ 542925 h 542925"/>
                  <a:gd name="connsiteX5" fmla="*/ 1246187 w 1533525"/>
                  <a:gd name="connsiteY5" fmla="*/ 511175 h 542925"/>
                  <a:gd name="connsiteX6" fmla="*/ 735012 w 1533525"/>
                  <a:gd name="connsiteY6" fmla="*/ 511175 h 542925"/>
                  <a:gd name="connsiteX7" fmla="*/ 792162 w 1533525"/>
                  <a:gd name="connsiteY7" fmla="*/ 511175 h 542925"/>
                  <a:gd name="connsiteX8" fmla="*/ 783101 w 1533525"/>
                  <a:gd name="connsiteY8" fmla="*/ 542925 h 542925"/>
                  <a:gd name="connsiteX9" fmla="*/ 744072 w 1533525"/>
                  <a:gd name="connsiteY9" fmla="*/ 542925 h 542925"/>
                  <a:gd name="connsiteX10" fmla="*/ 735012 w 1533525"/>
                  <a:gd name="connsiteY10" fmla="*/ 511175 h 542925"/>
                  <a:gd name="connsiteX11" fmla="*/ 15650 w 1533525"/>
                  <a:gd name="connsiteY11" fmla="*/ 511175 h 542925"/>
                  <a:gd name="connsiteX12" fmla="*/ 280988 w 1533525"/>
                  <a:gd name="connsiteY12" fmla="*/ 511175 h 542925"/>
                  <a:gd name="connsiteX13" fmla="*/ 271740 w 1533525"/>
                  <a:gd name="connsiteY13" fmla="*/ 542925 h 542925"/>
                  <a:gd name="connsiteX14" fmla="*/ 15650 w 1533525"/>
                  <a:gd name="connsiteY14" fmla="*/ 542925 h 542925"/>
                  <a:gd name="connsiteX15" fmla="*/ 0 w 1533525"/>
                  <a:gd name="connsiteY15" fmla="*/ 527050 h 542925"/>
                  <a:gd name="connsiteX16" fmla="*/ 15650 w 1533525"/>
                  <a:gd name="connsiteY16" fmla="*/ 511175 h 542925"/>
                  <a:gd name="connsiteX17" fmla="*/ 764317 w 1533525"/>
                  <a:gd name="connsiteY17" fmla="*/ 349250 h 542925"/>
                  <a:gd name="connsiteX18" fmla="*/ 778175 w 1533525"/>
                  <a:gd name="connsiteY18" fmla="*/ 350679 h 542925"/>
                  <a:gd name="connsiteX19" fmla="*/ 788387 w 1533525"/>
                  <a:gd name="connsiteY19" fmla="*/ 352822 h 542925"/>
                  <a:gd name="connsiteX20" fmla="*/ 789845 w 1533525"/>
                  <a:gd name="connsiteY20" fmla="*/ 355680 h 542925"/>
                  <a:gd name="connsiteX21" fmla="*/ 773799 w 1533525"/>
                  <a:gd name="connsiteY21" fmla="*/ 380683 h 542925"/>
                  <a:gd name="connsiteX22" fmla="*/ 773799 w 1533525"/>
                  <a:gd name="connsiteY22" fmla="*/ 382826 h 542925"/>
                  <a:gd name="connsiteX23" fmla="*/ 789116 w 1533525"/>
                  <a:gd name="connsiteY23" fmla="*/ 477838 h 542925"/>
                  <a:gd name="connsiteX24" fmla="*/ 736600 w 1533525"/>
                  <a:gd name="connsiteY24" fmla="*/ 477838 h 542925"/>
                  <a:gd name="connsiteX25" fmla="*/ 753376 w 1533525"/>
                  <a:gd name="connsiteY25" fmla="*/ 382826 h 542925"/>
                  <a:gd name="connsiteX26" fmla="*/ 753376 w 1533525"/>
                  <a:gd name="connsiteY26" fmla="*/ 380683 h 542925"/>
                  <a:gd name="connsiteX27" fmla="*/ 737329 w 1533525"/>
                  <a:gd name="connsiteY27" fmla="*/ 355680 h 542925"/>
                  <a:gd name="connsiteX28" fmla="*/ 738788 w 1533525"/>
                  <a:gd name="connsiteY28" fmla="*/ 352822 h 542925"/>
                  <a:gd name="connsiteX29" fmla="*/ 749729 w 1533525"/>
                  <a:gd name="connsiteY29" fmla="*/ 350679 h 542925"/>
                  <a:gd name="connsiteX30" fmla="*/ 764317 w 1533525"/>
                  <a:gd name="connsiteY30" fmla="*/ 349250 h 542925"/>
                  <a:gd name="connsiteX31" fmla="*/ 1200963 w 1533525"/>
                  <a:gd name="connsiteY31" fmla="*/ 334962 h 542925"/>
                  <a:gd name="connsiteX32" fmla="*/ 1203105 w 1533525"/>
                  <a:gd name="connsiteY32" fmla="*/ 337095 h 542925"/>
                  <a:gd name="connsiteX33" fmla="*/ 1268787 w 1533525"/>
                  <a:gd name="connsiteY33" fmla="*/ 409598 h 542925"/>
                  <a:gd name="connsiteX34" fmla="*/ 1280210 w 1533525"/>
                  <a:gd name="connsiteY34" fmla="*/ 409598 h 542925"/>
                  <a:gd name="connsiteX35" fmla="*/ 1345893 w 1533525"/>
                  <a:gd name="connsiteY35" fmla="*/ 337095 h 542925"/>
                  <a:gd name="connsiteX36" fmla="*/ 1348034 w 1533525"/>
                  <a:gd name="connsiteY36" fmla="*/ 334962 h 542925"/>
                  <a:gd name="connsiteX37" fmla="*/ 1441561 w 1533525"/>
                  <a:gd name="connsiteY37" fmla="*/ 351311 h 542925"/>
                  <a:gd name="connsiteX38" fmla="*/ 1492250 w 1533525"/>
                  <a:gd name="connsiteY38" fmla="*/ 477837 h 542925"/>
                  <a:gd name="connsiteX39" fmla="*/ 1232376 w 1533525"/>
                  <a:gd name="connsiteY39" fmla="*/ 477837 h 542925"/>
                  <a:gd name="connsiteX40" fmla="*/ 1198821 w 1533525"/>
                  <a:gd name="connsiteY40" fmla="*/ 440164 h 542925"/>
                  <a:gd name="connsiteX41" fmla="*/ 1101725 w 1533525"/>
                  <a:gd name="connsiteY41" fmla="*/ 421682 h 542925"/>
                  <a:gd name="connsiteX42" fmla="*/ 1111720 w 1533525"/>
                  <a:gd name="connsiteY42" fmla="*/ 409598 h 542925"/>
                  <a:gd name="connsiteX43" fmla="*/ 1112434 w 1533525"/>
                  <a:gd name="connsiteY43" fmla="*/ 408177 h 542925"/>
                  <a:gd name="connsiteX44" fmla="*/ 1118859 w 1533525"/>
                  <a:gd name="connsiteY44" fmla="*/ 394671 h 542925"/>
                  <a:gd name="connsiteX45" fmla="*/ 1120287 w 1533525"/>
                  <a:gd name="connsiteY45" fmla="*/ 390406 h 542925"/>
                  <a:gd name="connsiteX46" fmla="*/ 1155271 w 1533525"/>
                  <a:gd name="connsiteY46" fmla="*/ 338516 h 542925"/>
                  <a:gd name="connsiteX47" fmla="*/ 1200963 w 1533525"/>
                  <a:gd name="connsiteY47" fmla="*/ 334962 h 542925"/>
                  <a:gd name="connsiteX48" fmla="*/ 837524 w 1533525"/>
                  <a:gd name="connsiteY48" fmla="*/ 334962 h 542925"/>
                  <a:gd name="connsiteX49" fmla="*/ 883153 w 1533525"/>
                  <a:gd name="connsiteY49" fmla="*/ 338545 h 542925"/>
                  <a:gd name="connsiteX50" fmla="*/ 917375 w 1533525"/>
                  <a:gd name="connsiteY50" fmla="*/ 389427 h 542925"/>
                  <a:gd name="connsiteX51" fmla="*/ 919514 w 1533525"/>
                  <a:gd name="connsiteY51" fmla="*/ 395160 h 542925"/>
                  <a:gd name="connsiteX52" fmla="*/ 928069 w 1533525"/>
                  <a:gd name="connsiteY52" fmla="*/ 412360 h 542925"/>
                  <a:gd name="connsiteX53" fmla="*/ 936625 w 1533525"/>
                  <a:gd name="connsiteY53" fmla="*/ 422393 h 542925"/>
                  <a:gd name="connsiteX54" fmla="*/ 839663 w 1533525"/>
                  <a:gd name="connsiteY54" fmla="*/ 441026 h 542925"/>
                  <a:gd name="connsiteX55" fmla="*/ 817562 w 1533525"/>
                  <a:gd name="connsiteY55" fmla="*/ 460375 h 542925"/>
                  <a:gd name="connsiteX56" fmla="*/ 835386 w 1533525"/>
                  <a:gd name="connsiteY56" fmla="*/ 337112 h 542925"/>
                  <a:gd name="connsiteX57" fmla="*/ 837524 w 1533525"/>
                  <a:gd name="connsiteY57" fmla="*/ 334962 h 542925"/>
                  <a:gd name="connsiteX58" fmla="*/ 689650 w 1533525"/>
                  <a:gd name="connsiteY58" fmla="*/ 334962 h 542925"/>
                  <a:gd name="connsiteX59" fmla="*/ 691789 w 1533525"/>
                  <a:gd name="connsiteY59" fmla="*/ 337112 h 542925"/>
                  <a:gd name="connsiteX60" fmla="*/ 709613 w 1533525"/>
                  <a:gd name="connsiteY60" fmla="*/ 460375 h 542925"/>
                  <a:gd name="connsiteX61" fmla="*/ 687511 w 1533525"/>
                  <a:gd name="connsiteY61" fmla="*/ 441026 h 542925"/>
                  <a:gd name="connsiteX62" fmla="*/ 590550 w 1533525"/>
                  <a:gd name="connsiteY62" fmla="*/ 422393 h 542925"/>
                  <a:gd name="connsiteX63" fmla="*/ 600531 w 1533525"/>
                  <a:gd name="connsiteY63" fmla="*/ 410210 h 542925"/>
                  <a:gd name="connsiteX64" fmla="*/ 601244 w 1533525"/>
                  <a:gd name="connsiteY64" fmla="*/ 408777 h 542925"/>
                  <a:gd name="connsiteX65" fmla="*/ 607661 w 1533525"/>
                  <a:gd name="connsiteY65" fmla="*/ 395160 h 542925"/>
                  <a:gd name="connsiteX66" fmla="*/ 609087 w 1533525"/>
                  <a:gd name="connsiteY66" fmla="*/ 390860 h 542925"/>
                  <a:gd name="connsiteX67" fmla="*/ 644021 w 1533525"/>
                  <a:gd name="connsiteY67" fmla="*/ 338545 h 542925"/>
                  <a:gd name="connsiteX68" fmla="*/ 689650 w 1533525"/>
                  <a:gd name="connsiteY68" fmla="*/ 334962 h 542925"/>
                  <a:gd name="connsiteX69" fmla="*/ 180120 w 1533525"/>
                  <a:gd name="connsiteY69" fmla="*/ 334962 h 542925"/>
                  <a:gd name="connsiteX70" fmla="*/ 252360 w 1533525"/>
                  <a:gd name="connsiteY70" fmla="*/ 369082 h 542925"/>
                  <a:gd name="connsiteX71" fmla="*/ 323885 w 1533525"/>
                  <a:gd name="connsiteY71" fmla="*/ 334962 h 542925"/>
                  <a:gd name="connsiteX72" fmla="*/ 371806 w 1533525"/>
                  <a:gd name="connsiteY72" fmla="*/ 338516 h 542925"/>
                  <a:gd name="connsiteX73" fmla="*/ 406138 w 1533525"/>
                  <a:gd name="connsiteY73" fmla="*/ 388985 h 542925"/>
                  <a:gd name="connsiteX74" fmla="*/ 408284 w 1533525"/>
                  <a:gd name="connsiteY74" fmla="*/ 394671 h 542925"/>
                  <a:gd name="connsiteX75" fmla="*/ 416867 w 1533525"/>
                  <a:gd name="connsiteY75" fmla="*/ 411731 h 542925"/>
                  <a:gd name="connsiteX76" fmla="*/ 425450 w 1533525"/>
                  <a:gd name="connsiteY76" fmla="*/ 421682 h 542925"/>
                  <a:gd name="connsiteX77" fmla="*/ 328176 w 1533525"/>
                  <a:gd name="connsiteY77" fmla="*/ 440164 h 542925"/>
                  <a:gd name="connsiteX78" fmla="*/ 294560 w 1533525"/>
                  <a:gd name="connsiteY78" fmla="*/ 477837 h 542925"/>
                  <a:gd name="connsiteX79" fmla="*/ 34925 w 1533525"/>
                  <a:gd name="connsiteY79" fmla="*/ 477837 h 542925"/>
                  <a:gd name="connsiteX80" fmla="*/ 84992 w 1533525"/>
                  <a:gd name="connsiteY80" fmla="*/ 351311 h 542925"/>
                  <a:gd name="connsiteX81" fmla="*/ 180120 w 1533525"/>
                  <a:gd name="connsiteY81" fmla="*/ 334962 h 542925"/>
                  <a:gd name="connsiteX82" fmla="*/ 1381410 w 1533525"/>
                  <a:gd name="connsiteY82" fmla="*/ 215900 h 542925"/>
                  <a:gd name="connsiteX83" fmla="*/ 1414463 w 1533525"/>
                  <a:gd name="connsiteY83" fmla="*/ 298275 h 542925"/>
                  <a:gd name="connsiteX84" fmla="*/ 1376380 w 1533525"/>
                  <a:gd name="connsiteY84" fmla="*/ 320675 h 542925"/>
                  <a:gd name="connsiteX85" fmla="*/ 1349074 w 1533525"/>
                  <a:gd name="connsiteY85" fmla="*/ 319230 h 542925"/>
                  <a:gd name="connsiteX86" fmla="*/ 1346200 w 1533525"/>
                  <a:gd name="connsiteY86" fmla="*/ 317785 h 542925"/>
                  <a:gd name="connsiteX87" fmla="*/ 1346200 w 1533525"/>
                  <a:gd name="connsiteY87" fmla="*/ 293939 h 542925"/>
                  <a:gd name="connsiteX88" fmla="*/ 1381410 w 1533525"/>
                  <a:gd name="connsiteY88" fmla="*/ 215900 h 542925"/>
                  <a:gd name="connsiteX89" fmla="*/ 1167890 w 1533525"/>
                  <a:gd name="connsiteY89" fmla="*/ 215900 h 542925"/>
                  <a:gd name="connsiteX90" fmla="*/ 1203325 w 1533525"/>
                  <a:gd name="connsiteY90" fmla="*/ 293939 h 542925"/>
                  <a:gd name="connsiteX91" fmla="*/ 1203325 w 1533525"/>
                  <a:gd name="connsiteY91" fmla="*/ 317785 h 542925"/>
                  <a:gd name="connsiteX92" fmla="*/ 1200490 w 1533525"/>
                  <a:gd name="connsiteY92" fmla="*/ 319230 h 542925"/>
                  <a:gd name="connsiteX93" fmla="*/ 1173559 w 1533525"/>
                  <a:gd name="connsiteY93" fmla="*/ 320675 h 542925"/>
                  <a:gd name="connsiteX94" fmla="*/ 1163637 w 1533525"/>
                  <a:gd name="connsiteY94" fmla="*/ 317785 h 542925"/>
                  <a:gd name="connsiteX95" fmla="*/ 1171433 w 1533525"/>
                  <a:gd name="connsiteY95" fmla="*/ 278765 h 542925"/>
                  <a:gd name="connsiteX96" fmla="*/ 1165055 w 1533525"/>
                  <a:gd name="connsiteY96" fmla="*/ 233242 h 542925"/>
                  <a:gd name="connsiteX97" fmla="*/ 1167890 w 1533525"/>
                  <a:gd name="connsiteY97" fmla="*/ 215900 h 542925"/>
                  <a:gd name="connsiteX98" fmla="*/ 1275200 w 1533525"/>
                  <a:gd name="connsiteY98" fmla="*/ 0 h 542925"/>
                  <a:gd name="connsiteX99" fmla="*/ 1397875 w 1533525"/>
                  <a:gd name="connsiteY99" fmla="*/ 124537 h 542925"/>
                  <a:gd name="connsiteX100" fmla="*/ 1393596 w 1533525"/>
                  <a:gd name="connsiteY100" fmla="*/ 166524 h 542925"/>
                  <a:gd name="connsiteX101" fmla="*/ 1393596 w 1533525"/>
                  <a:gd name="connsiteY101" fmla="*/ 165812 h 542925"/>
                  <a:gd name="connsiteX102" fmla="*/ 1380044 w 1533525"/>
                  <a:gd name="connsiteY102" fmla="*/ 185026 h 542925"/>
                  <a:gd name="connsiteX103" fmla="*/ 1378618 w 1533525"/>
                  <a:gd name="connsiteY103" fmla="*/ 185738 h 542925"/>
                  <a:gd name="connsiteX104" fmla="*/ 1370772 w 1533525"/>
                  <a:gd name="connsiteY104" fmla="*/ 185738 h 542925"/>
                  <a:gd name="connsiteX105" fmla="*/ 1370059 w 1533525"/>
                  <a:gd name="connsiteY105" fmla="*/ 185026 h 542925"/>
                  <a:gd name="connsiteX106" fmla="*/ 1208870 w 1533525"/>
                  <a:gd name="connsiteY106" fmla="*/ 100341 h 542925"/>
                  <a:gd name="connsiteX107" fmla="*/ 1207444 w 1533525"/>
                  <a:gd name="connsiteY107" fmla="*/ 99630 h 542925"/>
                  <a:gd name="connsiteX108" fmla="*/ 1159658 w 1533525"/>
                  <a:gd name="connsiteY108" fmla="*/ 175064 h 542925"/>
                  <a:gd name="connsiteX109" fmla="*/ 1152525 w 1533525"/>
                  <a:gd name="connsiteY109" fmla="*/ 124537 h 542925"/>
                  <a:gd name="connsiteX110" fmla="*/ 1275200 w 1533525"/>
                  <a:gd name="connsiteY110" fmla="*/ 0 h 542925"/>
                  <a:gd name="connsiteX111" fmla="*/ 763587 w 1533525"/>
                  <a:gd name="connsiteY111" fmla="*/ 0 h 542925"/>
                  <a:gd name="connsiteX112" fmla="*/ 884237 w 1533525"/>
                  <a:gd name="connsiteY112" fmla="*/ 123004 h 542925"/>
                  <a:gd name="connsiteX113" fmla="*/ 879953 w 1533525"/>
                  <a:gd name="connsiteY113" fmla="*/ 164953 h 542925"/>
                  <a:gd name="connsiteX114" fmla="*/ 866389 w 1533525"/>
                  <a:gd name="connsiteY114" fmla="*/ 184150 h 542925"/>
                  <a:gd name="connsiteX115" fmla="*/ 857108 w 1533525"/>
                  <a:gd name="connsiteY115" fmla="*/ 184150 h 542925"/>
                  <a:gd name="connsiteX116" fmla="*/ 856394 w 1533525"/>
                  <a:gd name="connsiteY116" fmla="*/ 93142 h 542925"/>
                  <a:gd name="connsiteX117" fmla="*/ 697194 w 1533525"/>
                  <a:gd name="connsiteY117" fmla="*/ 98830 h 542925"/>
                  <a:gd name="connsiteX118" fmla="*/ 667923 w 1533525"/>
                  <a:gd name="connsiteY118" fmla="*/ 182017 h 542925"/>
                  <a:gd name="connsiteX119" fmla="*/ 660070 w 1533525"/>
                  <a:gd name="connsiteY119" fmla="*/ 181306 h 542925"/>
                  <a:gd name="connsiteX120" fmla="*/ 647934 w 1533525"/>
                  <a:gd name="connsiteY120" fmla="*/ 166375 h 542925"/>
                  <a:gd name="connsiteX121" fmla="*/ 642937 w 1533525"/>
                  <a:gd name="connsiteY121" fmla="*/ 123004 h 542925"/>
                  <a:gd name="connsiteX122" fmla="*/ 763587 w 1533525"/>
                  <a:gd name="connsiteY122" fmla="*/ 0 h 542925"/>
                  <a:gd name="connsiteX123" fmla="*/ 252412 w 1533525"/>
                  <a:gd name="connsiteY123" fmla="*/ 0 h 542925"/>
                  <a:gd name="connsiteX124" fmla="*/ 373062 w 1533525"/>
                  <a:gd name="connsiteY124" fmla="*/ 123004 h 542925"/>
                  <a:gd name="connsiteX125" fmla="*/ 368778 w 1533525"/>
                  <a:gd name="connsiteY125" fmla="*/ 164953 h 542925"/>
                  <a:gd name="connsiteX126" fmla="*/ 368064 w 1533525"/>
                  <a:gd name="connsiteY126" fmla="*/ 164953 h 542925"/>
                  <a:gd name="connsiteX127" fmla="*/ 354500 w 1533525"/>
                  <a:gd name="connsiteY127" fmla="*/ 184150 h 542925"/>
                  <a:gd name="connsiteX128" fmla="*/ 345933 w 1533525"/>
                  <a:gd name="connsiteY128" fmla="*/ 184150 h 542925"/>
                  <a:gd name="connsiteX129" fmla="*/ 344506 w 1533525"/>
                  <a:gd name="connsiteY129" fmla="*/ 93142 h 542925"/>
                  <a:gd name="connsiteX130" fmla="*/ 186019 w 1533525"/>
                  <a:gd name="connsiteY130" fmla="*/ 98830 h 542925"/>
                  <a:gd name="connsiteX131" fmla="*/ 156748 w 1533525"/>
                  <a:gd name="connsiteY131" fmla="*/ 182017 h 542925"/>
                  <a:gd name="connsiteX132" fmla="*/ 148182 w 1533525"/>
                  <a:gd name="connsiteY132" fmla="*/ 181306 h 542925"/>
                  <a:gd name="connsiteX133" fmla="*/ 136759 w 1533525"/>
                  <a:gd name="connsiteY133" fmla="*/ 166375 h 542925"/>
                  <a:gd name="connsiteX134" fmla="*/ 131762 w 1533525"/>
                  <a:gd name="connsiteY134" fmla="*/ 123004 h 542925"/>
                  <a:gd name="connsiteX135" fmla="*/ 252412 w 1533525"/>
                  <a:gd name="connsiteY135" fmla="*/ 0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1533525" h="542925">
                    <a:moveTo>
                      <a:pt x="1246187" y="511175"/>
                    </a:moveTo>
                    <a:cubicBezTo>
                      <a:pt x="1246187" y="511175"/>
                      <a:pt x="1246187" y="511175"/>
                      <a:pt x="1517878" y="511175"/>
                    </a:cubicBezTo>
                    <a:cubicBezTo>
                      <a:pt x="1526413" y="511175"/>
                      <a:pt x="1533525" y="518391"/>
                      <a:pt x="1533525" y="527050"/>
                    </a:cubicBezTo>
                    <a:cubicBezTo>
                      <a:pt x="1533525" y="536431"/>
                      <a:pt x="1526413" y="542925"/>
                      <a:pt x="1517878" y="542925"/>
                    </a:cubicBezTo>
                    <a:cubicBezTo>
                      <a:pt x="1517878" y="542925"/>
                      <a:pt x="1517878" y="542925"/>
                      <a:pt x="1255433" y="542925"/>
                    </a:cubicBezTo>
                    <a:cubicBezTo>
                      <a:pt x="1252588" y="531380"/>
                      <a:pt x="1249032" y="521277"/>
                      <a:pt x="1246187" y="511175"/>
                    </a:cubicBezTo>
                    <a:close/>
                    <a:moveTo>
                      <a:pt x="735012" y="511175"/>
                    </a:moveTo>
                    <a:cubicBezTo>
                      <a:pt x="735012" y="511175"/>
                      <a:pt x="735012" y="511175"/>
                      <a:pt x="792162" y="511175"/>
                    </a:cubicBezTo>
                    <a:cubicBezTo>
                      <a:pt x="789374" y="521277"/>
                      <a:pt x="786586" y="531380"/>
                      <a:pt x="783101" y="542925"/>
                    </a:cubicBezTo>
                    <a:cubicBezTo>
                      <a:pt x="783101" y="542925"/>
                      <a:pt x="783101" y="542925"/>
                      <a:pt x="744072" y="542925"/>
                    </a:cubicBezTo>
                    <a:cubicBezTo>
                      <a:pt x="740587" y="531380"/>
                      <a:pt x="737800" y="521277"/>
                      <a:pt x="735012" y="511175"/>
                    </a:cubicBezTo>
                    <a:close/>
                    <a:moveTo>
                      <a:pt x="15650" y="511175"/>
                    </a:moveTo>
                    <a:cubicBezTo>
                      <a:pt x="15650" y="511175"/>
                      <a:pt x="15650" y="511175"/>
                      <a:pt x="280988" y="511175"/>
                    </a:cubicBezTo>
                    <a:cubicBezTo>
                      <a:pt x="278142" y="521277"/>
                      <a:pt x="274586" y="531380"/>
                      <a:pt x="271740" y="542925"/>
                    </a:cubicBezTo>
                    <a:cubicBezTo>
                      <a:pt x="271740" y="542925"/>
                      <a:pt x="271740" y="542925"/>
                      <a:pt x="15650" y="542925"/>
                    </a:cubicBezTo>
                    <a:cubicBezTo>
                      <a:pt x="6402" y="542925"/>
                      <a:pt x="0" y="536431"/>
                      <a:pt x="0" y="527050"/>
                    </a:cubicBezTo>
                    <a:cubicBezTo>
                      <a:pt x="0" y="518391"/>
                      <a:pt x="6402" y="511175"/>
                      <a:pt x="15650" y="511175"/>
                    </a:cubicBezTo>
                    <a:close/>
                    <a:moveTo>
                      <a:pt x="764317" y="349250"/>
                    </a:moveTo>
                    <a:cubicBezTo>
                      <a:pt x="768693" y="349250"/>
                      <a:pt x="773799" y="349965"/>
                      <a:pt x="778175" y="350679"/>
                    </a:cubicBezTo>
                    <a:cubicBezTo>
                      <a:pt x="782551" y="351393"/>
                      <a:pt x="786198" y="352108"/>
                      <a:pt x="788387" y="352822"/>
                    </a:cubicBezTo>
                    <a:cubicBezTo>
                      <a:pt x="789845" y="352822"/>
                      <a:pt x="790575" y="354251"/>
                      <a:pt x="789845" y="355680"/>
                    </a:cubicBezTo>
                    <a:cubicBezTo>
                      <a:pt x="789845" y="355680"/>
                      <a:pt x="789845" y="355680"/>
                      <a:pt x="773799" y="380683"/>
                    </a:cubicBezTo>
                    <a:cubicBezTo>
                      <a:pt x="773799" y="381397"/>
                      <a:pt x="773799" y="382112"/>
                      <a:pt x="773799" y="382826"/>
                    </a:cubicBezTo>
                    <a:cubicBezTo>
                      <a:pt x="773799" y="382826"/>
                      <a:pt x="773799" y="382826"/>
                      <a:pt x="789116" y="477838"/>
                    </a:cubicBezTo>
                    <a:cubicBezTo>
                      <a:pt x="789116" y="477838"/>
                      <a:pt x="789116" y="477838"/>
                      <a:pt x="736600" y="477838"/>
                    </a:cubicBezTo>
                    <a:lnTo>
                      <a:pt x="753376" y="382826"/>
                    </a:lnTo>
                    <a:cubicBezTo>
                      <a:pt x="753376" y="382112"/>
                      <a:pt x="753376" y="381397"/>
                      <a:pt x="753376" y="380683"/>
                    </a:cubicBezTo>
                    <a:cubicBezTo>
                      <a:pt x="753376" y="380683"/>
                      <a:pt x="753376" y="380683"/>
                      <a:pt x="737329" y="355680"/>
                    </a:cubicBezTo>
                    <a:cubicBezTo>
                      <a:pt x="736600" y="354965"/>
                      <a:pt x="737329" y="352822"/>
                      <a:pt x="738788" y="352822"/>
                    </a:cubicBezTo>
                    <a:cubicBezTo>
                      <a:pt x="741705" y="352108"/>
                      <a:pt x="745352" y="351393"/>
                      <a:pt x="749729" y="350679"/>
                    </a:cubicBezTo>
                    <a:cubicBezTo>
                      <a:pt x="754105" y="349965"/>
                      <a:pt x="759940" y="349250"/>
                      <a:pt x="764317" y="349250"/>
                    </a:cubicBezTo>
                    <a:close/>
                    <a:moveTo>
                      <a:pt x="1200963" y="334962"/>
                    </a:moveTo>
                    <a:cubicBezTo>
                      <a:pt x="1202391" y="334962"/>
                      <a:pt x="1203105" y="335673"/>
                      <a:pt x="1203105" y="337095"/>
                    </a:cubicBezTo>
                    <a:cubicBezTo>
                      <a:pt x="1203105" y="337095"/>
                      <a:pt x="1203105" y="337095"/>
                      <a:pt x="1268787" y="409598"/>
                    </a:cubicBezTo>
                    <a:cubicBezTo>
                      <a:pt x="1271643" y="413863"/>
                      <a:pt x="1277354" y="413863"/>
                      <a:pt x="1280210" y="409598"/>
                    </a:cubicBezTo>
                    <a:cubicBezTo>
                      <a:pt x="1280210" y="409598"/>
                      <a:pt x="1280210" y="409598"/>
                      <a:pt x="1345893" y="337095"/>
                    </a:cubicBezTo>
                    <a:cubicBezTo>
                      <a:pt x="1345893" y="335673"/>
                      <a:pt x="1347320" y="334962"/>
                      <a:pt x="1348034" y="334962"/>
                    </a:cubicBezTo>
                    <a:cubicBezTo>
                      <a:pt x="1359457" y="334962"/>
                      <a:pt x="1411575" y="337095"/>
                      <a:pt x="1441561" y="351311"/>
                    </a:cubicBezTo>
                    <a:cubicBezTo>
                      <a:pt x="1465834" y="361973"/>
                      <a:pt x="1484397" y="447983"/>
                      <a:pt x="1492250" y="477837"/>
                    </a:cubicBezTo>
                    <a:cubicBezTo>
                      <a:pt x="1492250" y="477837"/>
                      <a:pt x="1492250" y="477837"/>
                      <a:pt x="1232376" y="477837"/>
                    </a:cubicBezTo>
                    <a:cubicBezTo>
                      <a:pt x="1223095" y="458645"/>
                      <a:pt x="1212386" y="446561"/>
                      <a:pt x="1198821" y="440164"/>
                    </a:cubicBezTo>
                    <a:cubicBezTo>
                      <a:pt x="1168836" y="425947"/>
                      <a:pt x="1123143" y="422393"/>
                      <a:pt x="1101725" y="421682"/>
                    </a:cubicBezTo>
                    <a:cubicBezTo>
                      <a:pt x="1106008" y="417417"/>
                      <a:pt x="1109578" y="413152"/>
                      <a:pt x="1111720" y="409598"/>
                    </a:cubicBezTo>
                    <a:cubicBezTo>
                      <a:pt x="1111720" y="409598"/>
                      <a:pt x="1111720" y="409598"/>
                      <a:pt x="1112434" y="408177"/>
                    </a:cubicBezTo>
                    <a:cubicBezTo>
                      <a:pt x="1116004" y="402490"/>
                      <a:pt x="1116717" y="400358"/>
                      <a:pt x="1118859" y="394671"/>
                    </a:cubicBezTo>
                    <a:cubicBezTo>
                      <a:pt x="1119573" y="393960"/>
                      <a:pt x="1119573" y="392539"/>
                      <a:pt x="1120287" y="390406"/>
                    </a:cubicBezTo>
                    <a:cubicBezTo>
                      <a:pt x="1133852" y="376901"/>
                      <a:pt x="1148131" y="354865"/>
                      <a:pt x="1155271" y="338516"/>
                    </a:cubicBezTo>
                    <a:cubicBezTo>
                      <a:pt x="1175975" y="335673"/>
                      <a:pt x="1195251" y="334962"/>
                      <a:pt x="1200963" y="334962"/>
                    </a:cubicBezTo>
                    <a:close/>
                    <a:moveTo>
                      <a:pt x="837524" y="334962"/>
                    </a:moveTo>
                    <a:cubicBezTo>
                      <a:pt x="843941" y="334962"/>
                      <a:pt x="862478" y="335679"/>
                      <a:pt x="883153" y="338545"/>
                    </a:cubicBezTo>
                    <a:cubicBezTo>
                      <a:pt x="891709" y="356461"/>
                      <a:pt x="905968" y="377244"/>
                      <a:pt x="917375" y="389427"/>
                    </a:cubicBezTo>
                    <a:cubicBezTo>
                      <a:pt x="918801" y="392294"/>
                      <a:pt x="918801" y="393727"/>
                      <a:pt x="919514" y="395160"/>
                    </a:cubicBezTo>
                    <a:cubicBezTo>
                      <a:pt x="921653" y="402327"/>
                      <a:pt x="923792" y="405910"/>
                      <a:pt x="928069" y="412360"/>
                    </a:cubicBezTo>
                    <a:cubicBezTo>
                      <a:pt x="930208" y="415226"/>
                      <a:pt x="933060" y="418810"/>
                      <a:pt x="936625" y="422393"/>
                    </a:cubicBezTo>
                    <a:cubicBezTo>
                      <a:pt x="915949" y="423110"/>
                      <a:pt x="870320" y="426693"/>
                      <a:pt x="839663" y="441026"/>
                    </a:cubicBezTo>
                    <a:cubicBezTo>
                      <a:pt x="831108" y="444609"/>
                      <a:pt x="823978" y="451059"/>
                      <a:pt x="817562" y="460375"/>
                    </a:cubicBezTo>
                    <a:cubicBezTo>
                      <a:pt x="817562" y="460375"/>
                      <a:pt x="817562" y="460375"/>
                      <a:pt x="835386" y="337112"/>
                    </a:cubicBezTo>
                    <a:cubicBezTo>
                      <a:pt x="835386" y="335679"/>
                      <a:pt x="836811" y="334962"/>
                      <a:pt x="837524" y="334962"/>
                    </a:cubicBezTo>
                    <a:close/>
                    <a:moveTo>
                      <a:pt x="689650" y="334962"/>
                    </a:moveTo>
                    <a:cubicBezTo>
                      <a:pt x="690363" y="334962"/>
                      <a:pt x="691789" y="335679"/>
                      <a:pt x="691789" y="337112"/>
                    </a:cubicBezTo>
                    <a:cubicBezTo>
                      <a:pt x="691789" y="337112"/>
                      <a:pt x="691789" y="337112"/>
                      <a:pt x="709613" y="460375"/>
                    </a:cubicBezTo>
                    <a:cubicBezTo>
                      <a:pt x="703196" y="451059"/>
                      <a:pt x="696067" y="444609"/>
                      <a:pt x="687511" y="441026"/>
                    </a:cubicBezTo>
                    <a:cubicBezTo>
                      <a:pt x="656854" y="426693"/>
                      <a:pt x="611225" y="423110"/>
                      <a:pt x="590550" y="422393"/>
                    </a:cubicBezTo>
                    <a:cubicBezTo>
                      <a:pt x="594827" y="418093"/>
                      <a:pt x="598392" y="413793"/>
                      <a:pt x="600531" y="410210"/>
                    </a:cubicBezTo>
                    <a:cubicBezTo>
                      <a:pt x="600531" y="410210"/>
                      <a:pt x="600531" y="410210"/>
                      <a:pt x="601244" y="408777"/>
                    </a:cubicBezTo>
                    <a:cubicBezTo>
                      <a:pt x="604809" y="403043"/>
                      <a:pt x="605522" y="400894"/>
                      <a:pt x="607661" y="395160"/>
                    </a:cubicBezTo>
                    <a:cubicBezTo>
                      <a:pt x="607661" y="394444"/>
                      <a:pt x="608374" y="393010"/>
                      <a:pt x="609087" y="390860"/>
                    </a:cubicBezTo>
                    <a:cubicBezTo>
                      <a:pt x="622633" y="377244"/>
                      <a:pt x="636179" y="355028"/>
                      <a:pt x="644021" y="338545"/>
                    </a:cubicBezTo>
                    <a:cubicBezTo>
                      <a:pt x="664697" y="335679"/>
                      <a:pt x="683234" y="334962"/>
                      <a:pt x="689650" y="334962"/>
                    </a:cubicBezTo>
                    <a:close/>
                    <a:moveTo>
                      <a:pt x="180120" y="334962"/>
                    </a:moveTo>
                    <a:cubicBezTo>
                      <a:pt x="180120" y="334962"/>
                      <a:pt x="204438" y="368371"/>
                      <a:pt x="252360" y="369082"/>
                    </a:cubicBezTo>
                    <a:cubicBezTo>
                      <a:pt x="299566" y="368371"/>
                      <a:pt x="323885" y="334962"/>
                      <a:pt x="323885" y="334962"/>
                    </a:cubicBezTo>
                    <a:cubicBezTo>
                      <a:pt x="323885" y="334962"/>
                      <a:pt x="346773" y="334962"/>
                      <a:pt x="371806" y="338516"/>
                    </a:cubicBezTo>
                    <a:cubicBezTo>
                      <a:pt x="379674" y="356287"/>
                      <a:pt x="394694" y="376901"/>
                      <a:pt x="406138" y="388985"/>
                    </a:cubicBezTo>
                    <a:cubicBezTo>
                      <a:pt x="406853" y="391828"/>
                      <a:pt x="407569" y="393249"/>
                      <a:pt x="408284" y="394671"/>
                    </a:cubicBezTo>
                    <a:cubicBezTo>
                      <a:pt x="410430" y="401779"/>
                      <a:pt x="411860" y="405333"/>
                      <a:pt x="416867" y="411731"/>
                    </a:cubicBezTo>
                    <a:cubicBezTo>
                      <a:pt x="419013" y="414574"/>
                      <a:pt x="421874" y="418128"/>
                      <a:pt x="425450" y="421682"/>
                    </a:cubicBezTo>
                    <a:cubicBezTo>
                      <a:pt x="404708" y="422393"/>
                      <a:pt x="358932" y="425947"/>
                      <a:pt x="328176" y="440164"/>
                    </a:cubicBezTo>
                    <a:cubicBezTo>
                      <a:pt x="314586" y="446561"/>
                      <a:pt x="303858" y="458645"/>
                      <a:pt x="294560" y="477837"/>
                    </a:cubicBezTo>
                    <a:cubicBezTo>
                      <a:pt x="294560" y="477837"/>
                      <a:pt x="294560" y="477837"/>
                      <a:pt x="34925" y="477837"/>
                    </a:cubicBezTo>
                    <a:cubicBezTo>
                      <a:pt x="43508" y="444429"/>
                      <a:pt x="61389" y="361973"/>
                      <a:pt x="84992" y="351311"/>
                    </a:cubicBezTo>
                    <a:cubicBezTo>
                      <a:pt x="118609" y="335673"/>
                      <a:pt x="180120" y="334962"/>
                      <a:pt x="180120" y="334962"/>
                    </a:cubicBezTo>
                    <a:close/>
                    <a:moveTo>
                      <a:pt x="1381410" y="215900"/>
                    </a:moveTo>
                    <a:cubicBezTo>
                      <a:pt x="1388595" y="215900"/>
                      <a:pt x="1375661" y="294662"/>
                      <a:pt x="1414463" y="298275"/>
                    </a:cubicBezTo>
                    <a:cubicBezTo>
                      <a:pt x="1400811" y="312727"/>
                      <a:pt x="1387158" y="318507"/>
                      <a:pt x="1376380" y="320675"/>
                    </a:cubicBezTo>
                    <a:cubicBezTo>
                      <a:pt x="1364164" y="319230"/>
                      <a:pt x="1354104" y="319230"/>
                      <a:pt x="1349074" y="319230"/>
                    </a:cubicBezTo>
                    <a:cubicBezTo>
                      <a:pt x="1347637" y="318507"/>
                      <a:pt x="1346200" y="317785"/>
                      <a:pt x="1346200" y="317785"/>
                    </a:cubicBezTo>
                    <a:cubicBezTo>
                      <a:pt x="1346200" y="317785"/>
                      <a:pt x="1346200" y="317785"/>
                      <a:pt x="1346200" y="293939"/>
                    </a:cubicBezTo>
                    <a:cubicBezTo>
                      <a:pt x="1346200" y="293939"/>
                      <a:pt x="1376380" y="238300"/>
                      <a:pt x="1381410" y="215900"/>
                    </a:cubicBezTo>
                    <a:close/>
                    <a:moveTo>
                      <a:pt x="1167890" y="215900"/>
                    </a:moveTo>
                    <a:cubicBezTo>
                      <a:pt x="1172851" y="236855"/>
                      <a:pt x="1203325" y="293939"/>
                      <a:pt x="1203325" y="293939"/>
                    </a:cubicBezTo>
                    <a:cubicBezTo>
                      <a:pt x="1203325" y="293939"/>
                      <a:pt x="1203325" y="293939"/>
                      <a:pt x="1203325" y="317785"/>
                    </a:cubicBezTo>
                    <a:cubicBezTo>
                      <a:pt x="1203325" y="317785"/>
                      <a:pt x="1201908" y="318507"/>
                      <a:pt x="1200490" y="319230"/>
                    </a:cubicBezTo>
                    <a:cubicBezTo>
                      <a:pt x="1196238" y="319230"/>
                      <a:pt x="1185607" y="319230"/>
                      <a:pt x="1173559" y="320675"/>
                    </a:cubicBezTo>
                    <a:cubicBezTo>
                      <a:pt x="1170016" y="319953"/>
                      <a:pt x="1167181" y="319230"/>
                      <a:pt x="1163637" y="317785"/>
                    </a:cubicBezTo>
                    <a:cubicBezTo>
                      <a:pt x="1167181" y="306946"/>
                      <a:pt x="1171433" y="293939"/>
                      <a:pt x="1171433" y="278765"/>
                    </a:cubicBezTo>
                    <a:cubicBezTo>
                      <a:pt x="1171433" y="262868"/>
                      <a:pt x="1169307" y="247694"/>
                      <a:pt x="1165055" y="233242"/>
                    </a:cubicBezTo>
                    <a:cubicBezTo>
                      <a:pt x="1165763" y="223126"/>
                      <a:pt x="1165763" y="215900"/>
                      <a:pt x="1167890" y="215900"/>
                    </a:cubicBezTo>
                    <a:close/>
                    <a:moveTo>
                      <a:pt x="1275200" y="0"/>
                    </a:moveTo>
                    <a:cubicBezTo>
                      <a:pt x="1344383" y="0"/>
                      <a:pt x="1397875" y="55508"/>
                      <a:pt x="1397875" y="124537"/>
                    </a:cubicBezTo>
                    <a:cubicBezTo>
                      <a:pt x="1397875" y="138770"/>
                      <a:pt x="1398588" y="153003"/>
                      <a:pt x="1393596" y="166524"/>
                    </a:cubicBezTo>
                    <a:cubicBezTo>
                      <a:pt x="1393596" y="166524"/>
                      <a:pt x="1393596" y="165812"/>
                      <a:pt x="1393596" y="165812"/>
                    </a:cubicBezTo>
                    <a:cubicBezTo>
                      <a:pt x="1392882" y="166524"/>
                      <a:pt x="1391456" y="172217"/>
                      <a:pt x="1380044" y="185026"/>
                    </a:cubicBezTo>
                    <a:cubicBezTo>
                      <a:pt x="1380044" y="185026"/>
                      <a:pt x="1379331" y="185738"/>
                      <a:pt x="1378618" y="185738"/>
                    </a:cubicBezTo>
                    <a:cubicBezTo>
                      <a:pt x="1378618" y="185738"/>
                      <a:pt x="1378618" y="185738"/>
                      <a:pt x="1370772" y="185738"/>
                    </a:cubicBezTo>
                    <a:cubicBezTo>
                      <a:pt x="1370772" y="185738"/>
                      <a:pt x="1370772" y="185738"/>
                      <a:pt x="1370059" y="185026"/>
                    </a:cubicBezTo>
                    <a:cubicBezTo>
                      <a:pt x="1370059" y="185026"/>
                      <a:pt x="1370059" y="185026"/>
                      <a:pt x="1208870" y="100341"/>
                    </a:cubicBezTo>
                    <a:cubicBezTo>
                      <a:pt x="1208157" y="99630"/>
                      <a:pt x="1208157" y="99630"/>
                      <a:pt x="1207444" y="99630"/>
                    </a:cubicBezTo>
                    <a:cubicBezTo>
                      <a:pt x="1171782" y="111728"/>
                      <a:pt x="1171782" y="185738"/>
                      <a:pt x="1159658" y="175064"/>
                    </a:cubicBezTo>
                    <a:cubicBezTo>
                      <a:pt x="1154665" y="161542"/>
                      <a:pt x="1152525" y="139482"/>
                      <a:pt x="1152525" y="124537"/>
                    </a:cubicBezTo>
                    <a:cubicBezTo>
                      <a:pt x="1152525" y="55508"/>
                      <a:pt x="1206017" y="0"/>
                      <a:pt x="1275200" y="0"/>
                    </a:cubicBezTo>
                    <a:close/>
                    <a:moveTo>
                      <a:pt x="763587" y="0"/>
                    </a:moveTo>
                    <a:cubicBezTo>
                      <a:pt x="832122" y="0"/>
                      <a:pt x="884237" y="55458"/>
                      <a:pt x="884237" y="123004"/>
                    </a:cubicBezTo>
                    <a:cubicBezTo>
                      <a:pt x="884237" y="137935"/>
                      <a:pt x="884237" y="152155"/>
                      <a:pt x="879953" y="164953"/>
                    </a:cubicBezTo>
                    <a:cubicBezTo>
                      <a:pt x="879239" y="164953"/>
                      <a:pt x="877098" y="171352"/>
                      <a:pt x="866389" y="184150"/>
                    </a:cubicBezTo>
                    <a:cubicBezTo>
                      <a:pt x="866389" y="184150"/>
                      <a:pt x="866389" y="184150"/>
                      <a:pt x="857108" y="184150"/>
                    </a:cubicBezTo>
                    <a:cubicBezTo>
                      <a:pt x="857108" y="184150"/>
                      <a:pt x="857108" y="179173"/>
                      <a:pt x="856394" y="93142"/>
                    </a:cubicBezTo>
                    <a:cubicBezTo>
                      <a:pt x="842116" y="162109"/>
                      <a:pt x="697194" y="98830"/>
                      <a:pt x="697194" y="98830"/>
                    </a:cubicBezTo>
                    <a:cubicBezTo>
                      <a:pt x="661498" y="110206"/>
                      <a:pt x="667923" y="182017"/>
                      <a:pt x="667923" y="182017"/>
                    </a:cubicBezTo>
                    <a:cubicBezTo>
                      <a:pt x="667923" y="182017"/>
                      <a:pt x="667923" y="182017"/>
                      <a:pt x="660070" y="181306"/>
                    </a:cubicBezTo>
                    <a:cubicBezTo>
                      <a:pt x="660070" y="181306"/>
                      <a:pt x="660070" y="177040"/>
                      <a:pt x="647934" y="166375"/>
                    </a:cubicBezTo>
                    <a:cubicBezTo>
                      <a:pt x="642937" y="152866"/>
                      <a:pt x="642937" y="138646"/>
                      <a:pt x="642937" y="123004"/>
                    </a:cubicBezTo>
                    <a:cubicBezTo>
                      <a:pt x="642937" y="55458"/>
                      <a:pt x="695052" y="0"/>
                      <a:pt x="763587" y="0"/>
                    </a:cubicBezTo>
                    <a:close/>
                    <a:moveTo>
                      <a:pt x="252412" y="0"/>
                    </a:moveTo>
                    <a:cubicBezTo>
                      <a:pt x="320233" y="0"/>
                      <a:pt x="373062" y="55458"/>
                      <a:pt x="373062" y="123004"/>
                    </a:cubicBezTo>
                    <a:cubicBezTo>
                      <a:pt x="373062" y="137935"/>
                      <a:pt x="373062" y="152155"/>
                      <a:pt x="368778" y="164953"/>
                    </a:cubicBezTo>
                    <a:cubicBezTo>
                      <a:pt x="368064" y="164953"/>
                      <a:pt x="368064" y="164953"/>
                      <a:pt x="368064" y="164953"/>
                    </a:cubicBezTo>
                    <a:cubicBezTo>
                      <a:pt x="368064" y="164953"/>
                      <a:pt x="365923" y="171352"/>
                      <a:pt x="354500" y="184150"/>
                    </a:cubicBezTo>
                    <a:cubicBezTo>
                      <a:pt x="354500" y="184150"/>
                      <a:pt x="354500" y="184150"/>
                      <a:pt x="345933" y="184150"/>
                    </a:cubicBezTo>
                    <a:cubicBezTo>
                      <a:pt x="345933" y="184150"/>
                      <a:pt x="345933" y="179173"/>
                      <a:pt x="344506" y="93142"/>
                    </a:cubicBezTo>
                    <a:cubicBezTo>
                      <a:pt x="330941" y="162109"/>
                      <a:pt x="186019" y="98830"/>
                      <a:pt x="186019" y="98830"/>
                    </a:cubicBezTo>
                    <a:cubicBezTo>
                      <a:pt x="150323" y="110206"/>
                      <a:pt x="156748" y="182017"/>
                      <a:pt x="156748" y="182017"/>
                    </a:cubicBezTo>
                    <a:cubicBezTo>
                      <a:pt x="156748" y="182017"/>
                      <a:pt x="156748" y="182017"/>
                      <a:pt x="148182" y="181306"/>
                    </a:cubicBezTo>
                    <a:cubicBezTo>
                      <a:pt x="148182" y="181306"/>
                      <a:pt x="148182" y="177040"/>
                      <a:pt x="136759" y="166375"/>
                    </a:cubicBezTo>
                    <a:cubicBezTo>
                      <a:pt x="131762" y="152866"/>
                      <a:pt x="131762" y="138646"/>
                      <a:pt x="131762" y="123004"/>
                    </a:cubicBezTo>
                    <a:cubicBezTo>
                      <a:pt x="131762" y="55458"/>
                      <a:pt x="183877" y="0"/>
                      <a:pt x="252412" y="0"/>
                    </a:cubicBezTo>
                    <a:close/>
                  </a:path>
                </a:pathLst>
              </a:custGeom>
              <a:solidFill>
                <a:srgbClr val="6E6F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sp>
            <p:nvSpPr>
              <p:cNvPr id="127" name="Freeform 126"/>
              <p:cNvSpPr>
                <a:spLocks/>
              </p:cNvSpPr>
              <p:nvPr/>
            </p:nvSpPr>
            <p:spPr bwMode="auto">
              <a:xfrm>
                <a:off x="5620327" y="3249613"/>
                <a:ext cx="951344" cy="458787"/>
              </a:xfrm>
              <a:custGeom>
                <a:avLst/>
                <a:gdLst>
                  <a:gd name="connsiteX0" fmla="*/ 660078 w 951344"/>
                  <a:gd name="connsiteY0" fmla="*/ 296862 h 458787"/>
                  <a:gd name="connsiteX1" fmla="*/ 691398 w 951344"/>
                  <a:gd name="connsiteY1" fmla="*/ 313982 h 458787"/>
                  <a:gd name="connsiteX2" fmla="*/ 709193 w 951344"/>
                  <a:gd name="connsiteY2" fmla="*/ 318262 h 458787"/>
                  <a:gd name="connsiteX3" fmla="*/ 731260 w 951344"/>
                  <a:gd name="connsiteY3" fmla="*/ 319689 h 458787"/>
                  <a:gd name="connsiteX4" fmla="*/ 753326 w 951344"/>
                  <a:gd name="connsiteY4" fmla="*/ 318262 h 458787"/>
                  <a:gd name="connsiteX5" fmla="*/ 771121 w 951344"/>
                  <a:gd name="connsiteY5" fmla="*/ 313982 h 458787"/>
                  <a:gd name="connsiteX6" fmla="*/ 803153 w 951344"/>
                  <a:gd name="connsiteY6" fmla="*/ 296862 h 458787"/>
                  <a:gd name="connsiteX7" fmla="*/ 897824 w 951344"/>
                  <a:gd name="connsiteY7" fmla="*/ 313269 h 458787"/>
                  <a:gd name="connsiteX8" fmla="*/ 907790 w 951344"/>
                  <a:gd name="connsiteY8" fmla="*/ 322542 h 458787"/>
                  <a:gd name="connsiteX9" fmla="*/ 916332 w 951344"/>
                  <a:gd name="connsiteY9" fmla="*/ 337522 h 458787"/>
                  <a:gd name="connsiteX10" fmla="*/ 923450 w 951344"/>
                  <a:gd name="connsiteY10" fmla="*/ 353928 h 458787"/>
                  <a:gd name="connsiteX11" fmla="*/ 923450 w 951344"/>
                  <a:gd name="connsiteY11" fmla="*/ 355355 h 458787"/>
                  <a:gd name="connsiteX12" fmla="*/ 934127 w 951344"/>
                  <a:gd name="connsiteY12" fmla="*/ 386741 h 458787"/>
                  <a:gd name="connsiteX13" fmla="*/ 951210 w 951344"/>
                  <a:gd name="connsiteY13" fmla="*/ 451654 h 458787"/>
                  <a:gd name="connsiteX14" fmla="*/ 945516 w 951344"/>
                  <a:gd name="connsiteY14" fmla="*/ 458787 h 458787"/>
                  <a:gd name="connsiteX15" fmla="*/ 517004 w 951344"/>
                  <a:gd name="connsiteY15" fmla="*/ 458787 h 458787"/>
                  <a:gd name="connsiteX16" fmla="*/ 512021 w 951344"/>
                  <a:gd name="connsiteY16" fmla="*/ 451654 h 458787"/>
                  <a:gd name="connsiteX17" fmla="*/ 529104 w 951344"/>
                  <a:gd name="connsiteY17" fmla="*/ 386741 h 458787"/>
                  <a:gd name="connsiteX18" fmla="*/ 539070 w 951344"/>
                  <a:gd name="connsiteY18" fmla="*/ 355355 h 458787"/>
                  <a:gd name="connsiteX19" fmla="*/ 539782 w 951344"/>
                  <a:gd name="connsiteY19" fmla="*/ 353928 h 458787"/>
                  <a:gd name="connsiteX20" fmla="*/ 546188 w 951344"/>
                  <a:gd name="connsiteY20" fmla="*/ 337522 h 458787"/>
                  <a:gd name="connsiteX21" fmla="*/ 554730 w 951344"/>
                  <a:gd name="connsiteY21" fmla="*/ 322542 h 458787"/>
                  <a:gd name="connsiteX22" fmla="*/ 565407 w 951344"/>
                  <a:gd name="connsiteY22" fmla="*/ 313269 h 458787"/>
                  <a:gd name="connsiteX23" fmla="*/ 660078 w 951344"/>
                  <a:gd name="connsiteY23" fmla="*/ 296862 h 458787"/>
                  <a:gd name="connsiteX24" fmla="*/ 148191 w 951344"/>
                  <a:gd name="connsiteY24" fmla="*/ 296862 h 458787"/>
                  <a:gd name="connsiteX25" fmla="*/ 178799 w 951344"/>
                  <a:gd name="connsiteY25" fmla="*/ 313269 h 458787"/>
                  <a:gd name="connsiteX26" fmla="*/ 198018 w 951344"/>
                  <a:gd name="connsiteY26" fmla="*/ 318262 h 458787"/>
                  <a:gd name="connsiteX27" fmla="*/ 220084 w 951344"/>
                  <a:gd name="connsiteY27" fmla="*/ 319689 h 458787"/>
                  <a:gd name="connsiteX28" fmla="*/ 242151 w 951344"/>
                  <a:gd name="connsiteY28" fmla="*/ 318262 h 458787"/>
                  <a:gd name="connsiteX29" fmla="*/ 259946 w 951344"/>
                  <a:gd name="connsiteY29" fmla="*/ 313982 h 458787"/>
                  <a:gd name="connsiteX30" fmla="*/ 291266 w 951344"/>
                  <a:gd name="connsiteY30" fmla="*/ 296862 h 458787"/>
                  <a:gd name="connsiteX31" fmla="*/ 385937 w 951344"/>
                  <a:gd name="connsiteY31" fmla="*/ 313269 h 458787"/>
                  <a:gd name="connsiteX32" fmla="*/ 396614 w 951344"/>
                  <a:gd name="connsiteY32" fmla="*/ 322542 h 458787"/>
                  <a:gd name="connsiteX33" fmla="*/ 405156 w 951344"/>
                  <a:gd name="connsiteY33" fmla="*/ 337522 h 458787"/>
                  <a:gd name="connsiteX34" fmla="*/ 411562 w 951344"/>
                  <a:gd name="connsiteY34" fmla="*/ 353928 h 458787"/>
                  <a:gd name="connsiteX35" fmla="*/ 412274 w 951344"/>
                  <a:gd name="connsiteY35" fmla="*/ 355355 h 458787"/>
                  <a:gd name="connsiteX36" fmla="*/ 422240 w 951344"/>
                  <a:gd name="connsiteY36" fmla="*/ 386741 h 458787"/>
                  <a:gd name="connsiteX37" fmla="*/ 439323 w 951344"/>
                  <a:gd name="connsiteY37" fmla="*/ 451654 h 458787"/>
                  <a:gd name="connsiteX38" fmla="*/ 434340 w 951344"/>
                  <a:gd name="connsiteY38" fmla="*/ 458787 h 458787"/>
                  <a:gd name="connsiteX39" fmla="*/ 5828 w 951344"/>
                  <a:gd name="connsiteY39" fmla="*/ 458787 h 458787"/>
                  <a:gd name="connsiteX40" fmla="*/ 134 w 951344"/>
                  <a:gd name="connsiteY40" fmla="*/ 451654 h 458787"/>
                  <a:gd name="connsiteX41" fmla="*/ 17217 w 951344"/>
                  <a:gd name="connsiteY41" fmla="*/ 386741 h 458787"/>
                  <a:gd name="connsiteX42" fmla="*/ 27894 w 951344"/>
                  <a:gd name="connsiteY42" fmla="*/ 355355 h 458787"/>
                  <a:gd name="connsiteX43" fmla="*/ 27894 w 951344"/>
                  <a:gd name="connsiteY43" fmla="*/ 353928 h 458787"/>
                  <a:gd name="connsiteX44" fmla="*/ 33589 w 951344"/>
                  <a:gd name="connsiteY44" fmla="*/ 341088 h 458787"/>
                  <a:gd name="connsiteX45" fmla="*/ 43554 w 951344"/>
                  <a:gd name="connsiteY45" fmla="*/ 322542 h 458787"/>
                  <a:gd name="connsiteX46" fmla="*/ 53520 w 951344"/>
                  <a:gd name="connsiteY46" fmla="*/ 313269 h 458787"/>
                  <a:gd name="connsiteX47" fmla="*/ 148191 w 951344"/>
                  <a:gd name="connsiteY47" fmla="*/ 296862 h 458787"/>
                  <a:gd name="connsiteX48" fmla="*/ 731260 w 951344"/>
                  <a:gd name="connsiteY48" fmla="*/ 0 h 458787"/>
                  <a:gd name="connsiteX49" fmla="*/ 851910 w 951344"/>
                  <a:gd name="connsiteY49" fmla="*/ 123188 h 458787"/>
                  <a:gd name="connsiteX50" fmla="*/ 849055 w 951344"/>
                  <a:gd name="connsiteY50" fmla="*/ 142414 h 458787"/>
                  <a:gd name="connsiteX51" fmla="*/ 848341 w 951344"/>
                  <a:gd name="connsiteY51" fmla="*/ 143838 h 458787"/>
                  <a:gd name="connsiteX52" fmla="*/ 842629 w 951344"/>
                  <a:gd name="connsiteY52" fmla="*/ 161640 h 458787"/>
                  <a:gd name="connsiteX53" fmla="*/ 842629 w 951344"/>
                  <a:gd name="connsiteY53" fmla="*/ 162352 h 458787"/>
                  <a:gd name="connsiteX54" fmla="*/ 838346 w 951344"/>
                  <a:gd name="connsiteY54" fmla="*/ 171609 h 458787"/>
                  <a:gd name="connsiteX55" fmla="*/ 826210 w 951344"/>
                  <a:gd name="connsiteY55" fmla="*/ 192971 h 458787"/>
                  <a:gd name="connsiteX56" fmla="*/ 806220 w 951344"/>
                  <a:gd name="connsiteY56" fmla="*/ 216470 h 458787"/>
                  <a:gd name="connsiteX57" fmla="*/ 796940 w 951344"/>
                  <a:gd name="connsiteY57" fmla="*/ 238544 h 458787"/>
                  <a:gd name="connsiteX58" fmla="*/ 791228 w 951344"/>
                  <a:gd name="connsiteY58" fmla="*/ 244952 h 458787"/>
                  <a:gd name="connsiteX59" fmla="*/ 770525 w 951344"/>
                  <a:gd name="connsiteY59" fmla="*/ 258482 h 458787"/>
                  <a:gd name="connsiteX60" fmla="*/ 731260 w 951344"/>
                  <a:gd name="connsiteY60" fmla="*/ 269875 h 458787"/>
                  <a:gd name="connsiteX61" fmla="*/ 691995 w 951344"/>
                  <a:gd name="connsiteY61" fmla="*/ 257770 h 458787"/>
                  <a:gd name="connsiteX62" fmla="*/ 671292 w 951344"/>
                  <a:gd name="connsiteY62" fmla="*/ 244240 h 458787"/>
                  <a:gd name="connsiteX63" fmla="*/ 665581 w 951344"/>
                  <a:gd name="connsiteY63" fmla="*/ 238544 h 458787"/>
                  <a:gd name="connsiteX64" fmla="*/ 656300 w 951344"/>
                  <a:gd name="connsiteY64" fmla="*/ 216470 h 458787"/>
                  <a:gd name="connsiteX65" fmla="*/ 637025 w 951344"/>
                  <a:gd name="connsiteY65" fmla="*/ 192971 h 458787"/>
                  <a:gd name="connsiteX66" fmla="*/ 624174 w 951344"/>
                  <a:gd name="connsiteY66" fmla="*/ 171609 h 458787"/>
                  <a:gd name="connsiteX67" fmla="*/ 619177 w 951344"/>
                  <a:gd name="connsiteY67" fmla="*/ 159504 h 458787"/>
                  <a:gd name="connsiteX68" fmla="*/ 619177 w 951344"/>
                  <a:gd name="connsiteY68" fmla="*/ 158080 h 458787"/>
                  <a:gd name="connsiteX69" fmla="*/ 610610 w 951344"/>
                  <a:gd name="connsiteY69" fmla="*/ 123188 h 458787"/>
                  <a:gd name="connsiteX70" fmla="*/ 731260 w 951344"/>
                  <a:gd name="connsiteY70" fmla="*/ 0 h 458787"/>
                  <a:gd name="connsiteX71" fmla="*/ 220085 w 951344"/>
                  <a:gd name="connsiteY71" fmla="*/ 0 h 458787"/>
                  <a:gd name="connsiteX72" fmla="*/ 340735 w 951344"/>
                  <a:gd name="connsiteY72" fmla="*/ 123188 h 458787"/>
                  <a:gd name="connsiteX73" fmla="*/ 331454 w 951344"/>
                  <a:gd name="connsiteY73" fmla="*/ 161640 h 458787"/>
                  <a:gd name="connsiteX74" fmla="*/ 331454 w 951344"/>
                  <a:gd name="connsiteY74" fmla="*/ 162352 h 458787"/>
                  <a:gd name="connsiteX75" fmla="*/ 327171 w 951344"/>
                  <a:gd name="connsiteY75" fmla="*/ 171609 h 458787"/>
                  <a:gd name="connsiteX76" fmla="*/ 315034 w 951344"/>
                  <a:gd name="connsiteY76" fmla="*/ 192971 h 458787"/>
                  <a:gd name="connsiteX77" fmla="*/ 295045 w 951344"/>
                  <a:gd name="connsiteY77" fmla="*/ 216470 h 458787"/>
                  <a:gd name="connsiteX78" fmla="*/ 285764 w 951344"/>
                  <a:gd name="connsiteY78" fmla="*/ 238544 h 458787"/>
                  <a:gd name="connsiteX79" fmla="*/ 279339 w 951344"/>
                  <a:gd name="connsiteY79" fmla="*/ 244952 h 458787"/>
                  <a:gd name="connsiteX80" fmla="*/ 259350 w 951344"/>
                  <a:gd name="connsiteY80" fmla="*/ 258482 h 458787"/>
                  <a:gd name="connsiteX81" fmla="*/ 220085 w 951344"/>
                  <a:gd name="connsiteY81" fmla="*/ 269875 h 458787"/>
                  <a:gd name="connsiteX82" fmla="*/ 180106 w 951344"/>
                  <a:gd name="connsiteY82" fmla="*/ 257770 h 458787"/>
                  <a:gd name="connsiteX83" fmla="*/ 159403 w 951344"/>
                  <a:gd name="connsiteY83" fmla="*/ 244240 h 458787"/>
                  <a:gd name="connsiteX84" fmla="*/ 154405 w 951344"/>
                  <a:gd name="connsiteY84" fmla="*/ 238544 h 458787"/>
                  <a:gd name="connsiteX85" fmla="*/ 145125 w 951344"/>
                  <a:gd name="connsiteY85" fmla="*/ 216470 h 458787"/>
                  <a:gd name="connsiteX86" fmla="*/ 125849 w 951344"/>
                  <a:gd name="connsiteY86" fmla="*/ 192971 h 458787"/>
                  <a:gd name="connsiteX87" fmla="*/ 112999 w 951344"/>
                  <a:gd name="connsiteY87" fmla="*/ 171609 h 458787"/>
                  <a:gd name="connsiteX88" fmla="*/ 108002 w 951344"/>
                  <a:gd name="connsiteY88" fmla="*/ 159504 h 458787"/>
                  <a:gd name="connsiteX89" fmla="*/ 107288 w 951344"/>
                  <a:gd name="connsiteY89" fmla="*/ 158080 h 458787"/>
                  <a:gd name="connsiteX90" fmla="*/ 99435 w 951344"/>
                  <a:gd name="connsiteY90" fmla="*/ 123188 h 458787"/>
                  <a:gd name="connsiteX91" fmla="*/ 220085 w 951344"/>
                  <a:gd name="connsiteY91" fmla="*/ 0 h 458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951344" h="458787">
                    <a:moveTo>
                      <a:pt x="660078" y="296862"/>
                    </a:moveTo>
                    <a:cubicBezTo>
                      <a:pt x="660078" y="296862"/>
                      <a:pt x="670756" y="306849"/>
                      <a:pt x="691398" y="313982"/>
                    </a:cubicBezTo>
                    <a:cubicBezTo>
                      <a:pt x="696381" y="315409"/>
                      <a:pt x="702787" y="316835"/>
                      <a:pt x="709193" y="318262"/>
                    </a:cubicBezTo>
                    <a:cubicBezTo>
                      <a:pt x="716312" y="318975"/>
                      <a:pt x="723430" y="319689"/>
                      <a:pt x="731260" y="319689"/>
                    </a:cubicBezTo>
                    <a:cubicBezTo>
                      <a:pt x="739090" y="319689"/>
                      <a:pt x="746920" y="318975"/>
                      <a:pt x="753326" y="318262"/>
                    </a:cubicBezTo>
                    <a:cubicBezTo>
                      <a:pt x="759732" y="316835"/>
                      <a:pt x="766139" y="315409"/>
                      <a:pt x="771121" y="313982"/>
                    </a:cubicBezTo>
                    <a:cubicBezTo>
                      <a:pt x="792476" y="306849"/>
                      <a:pt x="803153" y="296862"/>
                      <a:pt x="803153" y="296862"/>
                    </a:cubicBezTo>
                    <a:cubicBezTo>
                      <a:pt x="803153" y="296862"/>
                      <a:pt x="864369" y="297575"/>
                      <a:pt x="897824" y="313269"/>
                    </a:cubicBezTo>
                    <a:cubicBezTo>
                      <a:pt x="901383" y="314695"/>
                      <a:pt x="904231" y="318262"/>
                      <a:pt x="907790" y="322542"/>
                    </a:cubicBezTo>
                    <a:cubicBezTo>
                      <a:pt x="910637" y="326822"/>
                      <a:pt x="913484" y="331815"/>
                      <a:pt x="916332" y="337522"/>
                    </a:cubicBezTo>
                    <a:cubicBezTo>
                      <a:pt x="918467" y="342515"/>
                      <a:pt x="921314" y="348222"/>
                      <a:pt x="923450" y="353928"/>
                    </a:cubicBezTo>
                    <a:cubicBezTo>
                      <a:pt x="923450" y="354642"/>
                      <a:pt x="923450" y="355355"/>
                      <a:pt x="923450" y="355355"/>
                    </a:cubicBezTo>
                    <a:cubicBezTo>
                      <a:pt x="927721" y="365341"/>
                      <a:pt x="930568" y="376041"/>
                      <a:pt x="934127" y="386741"/>
                    </a:cubicBezTo>
                    <a:cubicBezTo>
                      <a:pt x="941957" y="415274"/>
                      <a:pt x="947651" y="443094"/>
                      <a:pt x="951210" y="451654"/>
                    </a:cubicBezTo>
                    <a:cubicBezTo>
                      <a:pt x="951922" y="455221"/>
                      <a:pt x="949787" y="458787"/>
                      <a:pt x="945516" y="458787"/>
                    </a:cubicBezTo>
                    <a:cubicBezTo>
                      <a:pt x="945516" y="458787"/>
                      <a:pt x="945516" y="458787"/>
                      <a:pt x="517004" y="458787"/>
                    </a:cubicBezTo>
                    <a:cubicBezTo>
                      <a:pt x="513445" y="458787"/>
                      <a:pt x="510597" y="455221"/>
                      <a:pt x="512021" y="451654"/>
                    </a:cubicBezTo>
                    <a:cubicBezTo>
                      <a:pt x="514868" y="443094"/>
                      <a:pt x="520563" y="415274"/>
                      <a:pt x="529104" y="386741"/>
                    </a:cubicBezTo>
                    <a:cubicBezTo>
                      <a:pt x="531952" y="376041"/>
                      <a:pt x="535511" y="365341"/>
                      <a:pt x="539070" y="355355"/>
                    </a:cubicBezTo>
                    <a:cubicBezTo>
                      <a:pt x="539070" y="355355"/>
                      <a:pt x="539070" y="354642"/>
                      <a:pt x="539782" y="353928"/>
                    </a:cubicBezTo>
                    <a:cubicBezTo>
                      <a:pt x="541917" y="348222"/>
                      <a:pt x="544053" y="342515"/>
                      <a:pt x="546188" y="337522"/>
                    </a:cubicBezTo>
                    <a:cubicBezTo>
                      <a:pt x="549035" y="331815"/>
                      <a:pt x="551882" y="326822"/>
                      <a:pt x="554730" y="322542"/>
                    </a:cubicBezTo>
                    <a:cubicBezTo>
                      <a:pt x="558289" y="318262"/>
                      <a:pt x="561848" y="314695"/>
                      <a:pt x="565407" y="313269"/>
                    </a:cubicBezTo>
                    <a:cubicBezTo>
                      <a:pt x="598150" y="297575"/>
                      <a:pt x="660078" y="296862"/>
                      <a:pt x="660078" y="296862"/>
                    </a:cubicBezTo>
                    <a:close/>
                    <a:moveTo>
                      <a:pt x="148191" y="296862"/>
                    </a:moveTo>
                    <a:cubicBezTo>
                      <a:pt x="148191" y="296862"/>
                      <a:pt x="158868" y="306849"/>
                      <a:pt x="178799" y="313269"/>
                    </a:cubicBezTo>
                    <a:cubicBezTo>
                      <a:pt x="184494" y="315409"/>
                      <a:pt x="190900" y="316835"/>
                      <a:pt x="198018" y="318262"/>
                    </a:cubicBezTo>
                    <a:cubicBezTo>
                      <a:pt x="204424" y="318975"/>
                      <a:pt x="212254" y="319689"/>
                      <a:pt x="220084" y="319689"/>
                    </a:cubicBezTo>
                    <a:cubicBezTo>
                      <a:pt x="227914" y="319689"/>
                      <a:pt x="235032" y="318975"/>
                      <a:pt x="242151" y="318262"/>
                    </a:cubicBezTo>
                    <a:cubicBezTo>
                      <a:pt x="248557" y="316835"/>
                      <a:pt x="254963" y="315409"/>
                      <a:pt x="259946" y="313982"/>
                    </a:cubicBezTo>
                    <a:cubicBezTo>
                      <a:pt x="280588" y="306849"/>
                      <a:pt x="291266" y="296862"/>
                      <a:pt x="291266" y="296862"/>
                    </a:cubicBezTo>
                    <a:cubicBezTo>
                      <a:pt x="291266" y="296862"/>
                      <a:pt x="353194" y="297575"/>
                      <a:pt x="385937" y="313269"/>
                    </a:cubicBezTo>
                    <a:cubicBezTo>
                      <a:pt x="389496" y="314695"/>
                      <a:pt x="393055" y="318262"/>
                      <a:pt x="396614" y="322542"/>
                    </a:cubicBezTo>
                    <a:cubicBezTo>
                      <a:pt x="399462" y="326822"/>
                      <a:pt x="402309" y="331815"/>
                      <a:pt x="405156" y="337522"/>
                    </a:cubicBezTo>
                    <a:cubicBezTo>
                      <a:pt x="407291" y="342515"/>
                      <a:pt x="409427" y="348222"/>
                      <a:pt x="411562" y="353928"/>
                    </a:cubicBezTo>
                    <a:cubicBezTo>
                      <a:pt x="412274" y="354642"/>
                      <a:pt x="412274" y="355355"/>
                      <a:pt x="412274" y="355355"/>
                    </a:cubicBezTo>
                    <a:cubicBezTo>
                      <a:pt x="415833" y="365341"/>
                      <a:pt x="419392" y="376041"/>
                      <a:pt x="422240" y="386741"/>
                    </a:cubicBezTo>
                    <a:cubicBezTo>
                      <a:pt x="430781" y="415274"/>
                      <a:pt x="436476" y="443094"/>
                      <a:pt x="439323" y="451654"/>
                    </a:cubicBezTo>
                    <a:cubicBezTo>
                      <a:pt x="440747" y="455221"/>
                      <a:pt x="437900" y="458787"/>
                      <a:pt x="434340" y="458787"/>
                    </a:cubicBezTo>
                    <a:cubicBezTo>
                      <a:pt x="434340" y="458787"/>
                      <a:pt x="434340" y="458787"/>
                      <a:pt x="5828" y="458787"/>
                    </a:cubicBezTo>
                    <a:cubicBezTo>
                      <a:pt x="1557" y="458787"/>
                      <a:pt x="-578" y="455221"/>
                      <a:pt x="134" y="451654"/>
                    </a:cubicBezTo>
                    <a:cubicBezTo>
                      <a:pt x="3693" y="443094"/>
                      <a:pt x="9387" y="415274"/>
                      <a:pt x="17217" y="386741"/>
                    </a:cubicBezTo>
                    <a:cubicBezTo>
                      <a:pt x="20776" y="376041"/>
                      <a:pt x="23623" y="365341"/>
                      <a:pt x="27894" y="355355"/>
                    </a:cubicBezTo>
                    <a:cubicBezTo>
                      <a:pt x="27894" y="355355"/>
                      <a:pt x="27894" y="354642"/>
                      <a:pt x="27894" y="353928"/>
                    </a:cubicBezTo>
                    <a:cubicBezTo>
                      <a:pt x="30030" y="349648"/>
                      <a:pt x="31453" y="345368"/>
                      <a:pt x="33589" y="341088"/>
                    </a:cubicBezTo>
                    <a:cubicBezTo>
                      <a:pt x="36436" y="333955"/>
                      <a:pt x="39995" y="327535"/>
                      <a:pt x="43554" y="322542"/>
                    </a:cubicBezTo>
                    <a:cubicBezTo>
                      <a:pt x="47113" y="318262"/>
                      <a:pt x="49961" y="314695"/>
                      <a:pt x="53520" y="313269"/>
                    </a:cubicBezTo>
                    <a:cubicBezTo>
                      <a:pt x="86975" y="297575"/>
                      <a:pt x="148191" y="296862"/>
                      <a:pt x="148191" y="296862"/>
                    </a:cubicBezTo>
                    <a:close/>
                    <a:moveTo>
                      <a:pt x="731260" y="0"/>
                    </a:moveTo>
                    <a:cubicBezTo>
                      <a:pt x="799795" y="0"/>
                      <a:pt x="851910" y="55541"/>
                      <a:pt x="851910" y="123188"/>
                    </a:cubicBezTo>
                    <a:cubicBezTo>
                      <a:pt x="851910" y="129597"/>
                      <a:pt x="850482" y="136005"/>
                      <a:pt x="849055" y="142414"/>
                    </a:cubicBezTo>
                    <a:cubicBezTo>
                      <a:pt x="849055" y="143126"/>
                      <a:pt x="848341" y="143126"/>
                      <a:pt x="848341" y="143838"/>
                    </a:cubicBezTo>
                    <a:cubicBezTo>
                      <a:pt x="846913" y="150247"/>
                      <a:pt x="844771" y="155943"/>
                      <a:pt x="842629" y="161640"/>
                    </a:cubicBezTo>
                    <a:cubicBezTo>
                      <a:pt x="842629" y="161640"/>
                      <a:pt x="842629" y="161640"/>
                      <a:pt x="842629" y="162352"/>
                    </a:cubicBezTo>
                    <a:cubicBezTo>
                      <a:pt x="842629" y="163776"/>
                      <a:pt x="841202" y="167337"/>
                      <a:pt x="838346" y="171609"/>
                    </a:cubicBezTo>
                    <a:cubicBezTo>
                      <a:pt x="835490" y="178018"/>
                      <a:pt x="831207" y="185850"/>
                      <a:pt x="826210" y="192971"/>
                    </a:cubicBezTo>
                    <a:cubicBezTo>
                      <a:pt x="819785" y="202940"/>
                      <a:pt x="811932" y="212197"/>
                      <a:pt x="806220" y="216470"/>
                    </a:cubicBezTo>
                    <a:cubicBezTo>
                      <a:pt x="799081" y="234983"/>
                      <a:pt x="803365" y="227863"/>
                      <a:pt x="796940" y="238544"/>
                    </a:cubicBezTo>
                    <a:cubicBezTo>
                      <a:pt x="795512" y="240680"/>
                      <a:pt x="793370" y="242816"/>
                      <a:pt x="791228" y="244952"/>
                    </a:cubicBezTo>
                    <a:cubicBezTo>
                      <a:pt x="786231" y="249225"/>
                      <a:pt x="779092" y="254209"/>
                      <a:pt x="770525" y="258482"/>
                    </a:cubicBezTo>
                    <a:cubicBezTo>
                      <a:pt x="757675" y="264890"/>
                      <a:pt x="742683" y="269875"/>
                      <a:pt x="731260" y="269875"/>
                    </a:cubicBezTo>
                    <a:cubicBezTo>
                      <a:pt x="719838" y="269875"/>
                      <a:pt x="704846" y="264178"/>
                      <a:pt x="691995" y="257770"/>
                    </a:cubicBezTo>
                    <a:cubicBezTo>
                      <a:pt x="683429" y="253497"/>
                      <a:pt x="676290" y="248513"/>
                      <a:pt x="671292" y="244240"/>
                    </a:cubicBezTo>
                    <a:cubicBezTo>
                      <a:pt x="669150" y="242104"/>
                      <a:pt x="667009" y="239968"/>
                      <a:pt x="665581" y="238544"/>
                    </a:cubicBezTo>
                    <a:cubicBezTo>
                      <a:pt x="659870" y="229999"/>
                      <a:pt x="663439" y="234983"/>
                      <a:pt x="656300" y="216470"/>
                    </a:cubicBezTo>
                    <a:cubicBezTo>
                      <a:pt x="652017" y="213621"/>
                      <a:pt x="644164" y="203652"/>
                      <a:pt x="637025" y="192971"/>
                    </a:cubicBezTo>
                    <a:cubicBezTo>
                      <a:pt x="632027" y="185850"/>
                      <a:pt x="627744" y="178730"/>
                      <a:pt x="624174" y="171609"/>
                    </a:cubicBezTo>
                    <a:cubicBezTo>
                      <a:pt x="621319" y="166625"/>
                      <a:pt x="619177" y="162352"/>
                      <a:pt x="619177" y="159504"/>
                    </a:cubicBezTo>
                    <a:cubicBezTo>
                      <a:pt x="619177" y="158792"/>
                      <a:pt x="619177" y="158792"/>
                      <a:pt x="619177" y="158080"/>
                    </a:cubicBezTo>
                    <a:cubicBezTo>
                      <a:pt x="616321" y="147399"/>
                      <a:pt x="610610" y="135293"/>
                      <a:pt x="610610" y="123188"/>
                    </a:cubicBezTo>
                    <a:cubicBezTo>
                      <a:pt x="610610" y="55541"/>
                      <a:pt x="663439" y="0"/>
                      <a:pt x="731260" y="0"/>
                    </a:cubicBezTo>
                    <a:close/>
                    <a:moveTo>
                      <a:pt x="220085" y="0"/>
                    </a:moveTo>
                    <a:cubicBezTo>
                      <a:pt x="287906" y="0"/>
                      <a:pt x="340735" y="55541"/>
                      <a:pt x="340735" y="123188"/>
                    </a:cubicBezTo>
                    <a:cubicBezTo>
                      <a:pt x="340735" y="136718"/>
                      <a:pt x="335024" y="149535"/>
                      <a:pt x="331454" y="161640"/>
                    </a:cubicBezTo>
                    <a:cubicBezTo>
                      <a:pt x="331454" y="161640"/>
                      <a:pt x="331454" y="161640"/>
                      <a:pt x="331454" y="162352"/>
                    </a:cubicBezTo>
                    <a:cubicBezTo>
                      <a:pt x="331454" y="163776"/>
                      <a:pt x="330026" y="167337"/>
                      <a:pt x="327171" y="171609"/>
                    </a:cubicBezTo>
                    <a:cubicBezTo>
                      <a:pt x="324315" y="178018"/>
                      <a:pt x="320032" y="185850"/>
                      <a:pt x="315034" y="192971"/>
                    </a:cubicBezTo>
                    <a:cubicBezTo>
                      <a:pt x="307895" y="202940"/>
                      <a:pt x="300756" y="212197"/>
                      <a:pt x="295045" y="216470"/>
                    </a:cubicBezTo>
                    <a:cubicBezTo>
                      <a:pt x="287192" y="234983"/>
                      <a:pt x="291475" y="227863"/>
                      <a:pt x="285764" y="238544"/>
                    </a:cubicBezTo>
                    <a:cubicBezTo>
                      <a:pt x="284336" y="240680"/>
                      <a:pt x="282195" y="242816"/>
                      <a:pt x="279339" y="244952"/>
                    </a:cubicBezTo>
                    <a:cubicBezTo>
                      <a:pt x="274342" y="249225"/>
                      <a:pt x="267203" y="254209"/>
                      <a:pt x="259350" y="258482"/>
                    </a:cubicBezTo>
                    <a:cubicBezTo>
                      <a:pt x="246499" y="264890"/>
                      <a:pt x="231507" y="269875"/>
                      <a:pt x="220085" y="269875"/>
                    </a:cubicBezTo>
                    <a:cubicBezTo>
                      <a:pt x="207948" y="269875"/>
                      <a:pt x="192956" y="264178"/>
                      <a:pt x="180106" y="257770"/>
                    </a:cubicBezTo>
                    <a:cubicBezTo>
                      <a:pt x="172253" y="253497"/>
                      <a:pt x="164400" y="248513"/>
                      <a:pt x="159403" y="244240"/>
                    </a:cubicBezTo>
                    <a:cubicBezTo>
                      <a:pt x="157261" y="242104"/>
                      <a:pt x="155833" y="239968"/>
                      <a:pt x="154405" y="238544"/>
                    </a:cubicBezTo>
                    <a:cubicBezTo>
                      <a:pt x="148694" y="229999"/>
                      <a:pt x="152264" y="234983"/>
                      <a:pt x="145125" y="216470"/>
                    </a:cubicBezTo>
                    <a:cubicBezTo>
                      <a:pt x="140841" y="213621"/>
                      <a:pt x="132988" y="203652"/>
                      <a:pt x="125849" y="192971"/>
                    </a:cubicBezTo>
                    <a:cubicBezTo>
                      <a:pt x="120852" y="185850"/>
                      <a:pt x="115855" y="178730"/>
                      <a:pt x="112999" y="171609"/>
                    </a:cubicBezTo>
                    <a:cubicBezTo>
                      <a:pt x="110143" y="166625"/>
                      <a:pt x="108002" y="162352"/>
                      <a:pt x="108002" y="159504"/>
                    </a:cubicBezTo>
                    <a:cubicBezTo>
                      <a:pt x="107288" y="158792"/>
                      <a:pt x="108002" y="158792"/>
                      <a:pt x="107288" y="158080"/>
                    </a:cubicBezTo>
                    <a:cubicBezTo>
                      <a:pt x="105146" y="147399"/>
                      <a:pt x="99435" y="135293"/>
                      <a:pt x="99435" y="123188"/>
                    </a:cubicBezTo>
                    <a:cubicBezTo>
                      <a:pt x="99435" y="55541"/>
                      <a:pt x="151550" y="0"/>
                      <a:pt x="220085" y="0"/>
                    </a:cubicBezTo>
                    <a:close/>
                  </a:path>
                </a:pathLst>
              </a:custGeom>
              <a:solidFill>
                <a:srgbClr val="6E6F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dirty="0"/>
              </a:p>
            </p:txBody>
          </p:sp>
        </p:grpSp>
      </p:grpSp>
      <p:pic>
        <p:nvPicPr>
          <p:cNvPr id="128" name="Picture 1" descr="image002">
            <a:extLst>
              <a:ext uri="{FF2B5EF4-FFF2-40B4-BE49-F238E27FC236}">
                <a16:creationId xmlns:a16="http://schemas.microsoft.com/office/drawing/2014/main" id="{23CC111E-D003-40D5-979C-51D60A496A31}"/>
              </a:ext>
            </a:extLst>
          </p:cNvPr>
          <p:cNvPicPr>
            <a:picLocks noChangeAspect="1" noChangeArrowheads="1"/>
          </p:cNvPicPr>
          <p:nvPr/>
        </p:nvPicPr>
        <p:blipFill rotWithShape="1">
          <a:blip r:embed="rId60"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8083786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Slide Number Placeholder 1"/>
          <p:cNvSpPr>
            <a:spLocks noGrp="1"/>
          </p:cNvSpPr>
          <p:nvPr>
            <p:ph type="sldNum" sz="quarter" idx="4"/>
          </p:nvPr>
        </p:nvSpPr>
        <p:spPr bwMode="auto"/>
        <p:txBody>
          <a:bodyPr/>
          <a:lstStyle/>
          <a:p>
            <a:pPr>
              <a:defRPr/>
            </a:pPr>
            <a:fld id="{EBC262BB-4310-134F-8D24-58475080D942}" type="slidenum">
              <a:rPr lang="en-US"/>
              <a:t>49</a:t>
            </a:fld>
            <a:endParaRPr lang="en-US" dirty="0"/>
          </a:p>
        </p:txBody>
      </p:sp>
      <p:sp>
        <p:nvSpPr>
          <p:cNvPr id="5" name="Text Placeholder 4"/>
          <p:cNvSpPr>
            <a:spLocks noGrp="1"/>
          </p:cNvSpPr>
          <p:nvPr>
            <p:ph type="body" sz="quarter" idx="10"/>
          </p:nvPr>
        </p:nvSpPr>
        <p:spPr bwMode="auto">
          <a:xfrm>
            <a:off x="985763" y="362663"/>
            <a:ext cx="9289893" cy="826313"/>
          </a:xfrm>
        </p:spPr>
        <p:txBody>
          <a:bodyPr/>
          <a:lstStyle/>
          <a:p>
            <a:pPr>
              <a:defRPr/>
            </a:pPr>
            <a:r>
              <a:rPr lang="en-US" dirty="0"/>
              <a:t>Our milestones</a:t>
            </a:r>
            <a:endParaRPr dirty="0"/>
          </a:p>
        </p:txBody>
      </p:sp>
      <p:sp>
        <p:nvSpPr>
          <p:cNvPr id="2" name="Rectangle 1"/>
          <p:cNvSpPr/>
          <p:nvPr/>
        </p:nvSpPr>
        <p:spPr>
          <a:xfrm>
            <a:off x="1005840" y="1623316"/>
            <a:ext cx="2240280" cy="426464"/>
          </a:xfrm>
          <a:prstGeom prst="rect">
            <a:avLst/>
          </a:prstGeom>
          <a:solidFill>
            <a:schemeClr val="tx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27432" tIns="27432" rIns="27432" bIns="27432" rtlCol="0" anchor="ctr"/>
          <a:lstStyle/>
          <a:p>
            <a:r>
              <a:rPr lang="en-US" sz="800" dirty="0">
                <a:solidFill>
                  <a:sysClr val="windowText" lastClr="000000"/>
                </a:solidFill>
              </a:rPr>
              <a:t>Use cases, business models and services</a:t>
            </a:r>
          </a:p>
        </p:txBody>
      </p:sp>
      <p:sp>
        <p:nvSpPr>
          <p:cNvPr id="8" name="Rectangle 7"/>
          <p:cNvSpPr/>
          <p:nvPr/>
        </p:nvSpPr>
        <p:spPr>
          <a:xfrm>
            <a:off x="4681492" y="1188976"/>
            <a:ext cx="1428015" cy="304068"/>
          </a:xfrm>
          <a:prstGeom prst="rect">
            <a:avLst/>
          </a:prstGeom>
          <a:solidFill>
            <a:schemeClr val="accent2">
              <a:lumMod val="60000"/>
              <a:lumOff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ysClr val="windowText" lastClr="000000"/>
                </a:solidFill>
              </a:rPr>
              <a:t>2020</a:t>
            </a:r>
          </a:p>
        </p:txBody>
      </p:sp>
      <p:sp>
        <p:nvSpPr>
          <p:cNvPr id="9" name="Rectangle 8"/>
          <p:cNvSpPr/>
          <p:nvPr/>
        </p:nvSpPr>
        <p:spPr>
          <a:xfrm>
            <a:off x="6144447" y="1188976"/>
            <a:ext cx="1364457" cy="304068"/>
          </a:xfrm>
          <a:prstGeom prst="rect">
            <a:avLst/>
          </a:prstGeom>
          <a:solidFill>
            <a:schemeClr val="accent2">
              <a:lumMod val="60000"/>
              <a:lumOff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ysClr val="windowText" lastClr="000000"/>
                </a:solidFill>
              </a:rPr>
              <a:t>2021</a:t>
            </a:r>
          </a:p>
        </p:txBody>
      </p:sp>
      <p:sp>
        <p:nvSpPr>
          <p:cNvPr id="10" name="Rectangle 9"/>
          <p:cNvSpPr/>
          <p:nvPr/>
        </p:nvSpPr>
        <p:spPr>
          <a:xfrm>
            <a:off x="7543844" y="1188976"/>
            <a:ext cx="1369955" cy="304068"/>
          </a:xfrm>
          <a:prstGeom prst="rect">
            <a:avLst/>
          </a:prstGeom>
          <a:solidFill>
            <a:schemeClr val="accent2">
              <a:lumMod val="60000"/>
              <a:lumOff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ysClr val="windowText" lastClr="000000"/>
                </a:solidFill>
              </a:rPr>
              <a:t>2022</a:t>
            </a:r>
          </a:p>
        </p:txBody>
      </p:sp>
      <p:sp>
        <p:nvSpPr>
          <p:cNvPr id="11" name="Rectangle 10"/>
          <p:cNvSpPr/>
          <p:nvPr/>
        </p:nvSpPr>
        <p:spPr>
          <a:xfrm>
            <a:off x="8948738" y="1188976"/>
            <a:ext cx="1326918" cy="304068"/>
          </a:xfrm>
          <a:prstGeom prst="rect">
            <a:avLst/>
          </a:prstGeom>
          <a:solidFill>
            <a:schemeClr val="accent2">
              <a:lumMod val="60000"/>
              <a:lumOff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ysClr val="windowText" lastClr="000000"/>
                </a:solidFill>
              </a:rPr>
              <a:t>2023</a:t>
            </a:r>
          </a:p>
        </p:txBody>
      </p:sp>
      <p:sp>
        <p:nvSpPr>
          <p:cNvPr id="12" name="Rectangle 11"/>
          <p:cNvSpPr/>
          <p:nvPr/>
        </p:nvSpPr>
        <p:spPr>
          <a:xfrm>
            <a:off x="1005840" y="2202687"/>
            <a:ext cx="2240280" cy="434183"/>
          </a:xfrm>
          <a:prstGeom prst="rect">
            <a:avLst/>
          </a:prstGeom>
          <a:solidFill>
            <a:schemeClr val="tx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27432" tIns="27432" rIns="27432" bIns="27432" rtlCol="0" anchor="ctr"/>
          <a:lstStyle/>
          <a:p>
            <a:r>
              <a:rPr lang="en-US" sz="800" dirty="0">
                <a:solidFill>
                  <a:sysClr val="windowText" lastClr="000000"/>
                </a:solidFill>
              </a:rPr>
              <a:t>Domain interoperable IoT</a:t>
            </a:r>
            <a:br>
              <a:rPr lang="en-US" sz="800" dirty="0">
                <a:solidFill>
                  <a:sysClr val="windowText" lastClr="000000"/>
                </a:solidFill>
              </a:rPr>
            </a:br>
            <a:r>
              <a:rPr lang="en-US" sz="800" dirty="0">
                <a:solidFill>
                  <a:sysClr val="windowText" lastClr="000000"/>
                </a:solidFill>
              </a:rPr>
              <a:t>references architecture</a:t>
            </a:r>
          </a:p>
        </p:txBody>
      </p:sp>
      <p:sp>
        <p:nvSpPr>
          <p:cNvPr id="13" name="Rectangle 12"/>
          <p:cNvSpPr/>
          <p:nvPr/>
        </p:nvSpPr>
        <p:spPr>
          <a:xfrm>
            <a:off x="1005840" y="2789777"/>
            <a:ext cx="2240280" cy="434183"/>
          </a:xfrm>
          <a:prstGeom prst="rect">
            <a:avLst/>
          </a:prstGeom>
          <a:solidFill>
            <a:schemeClr val="tx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27432" tIns="27432" rIns="27432" bIns="27432" rtlCol="0" anchor="ctr"/>
          <a:lstStyle/>
          <a:p>
            <a:r>
              <a:rPr lang="en-US" sz="800" dirty="0">
                <a:solidFill>
                  <a:sysClr val="windowText" lastClr="000000"/>
                </a:solidFill>
              </a:rPr>
              <a:t>Semantically interoperable components, applications and devices for smart homes and buildings</a:t>
            </a:r>
          </a:p>
        </p:txBody>
      </p:sp>
      <p:sp>
        <p:nvSpPr>
          <p:cNvPr id="14" name="Rectangle 13"/>
          <p:cNvSpPr/>
          <p:nvPr/>
        </p:nvSpPr>
        <p:spPr>
          <a:xfrm>
            <a:off x="1005840" y="3376867"/>
            <a:ext cx="2240280" cy="434183"/>
          </a:xfrm>
          <a:prstGeom prst="rect">
            <a:avLst/>
          </a:prstGeom>
          <a:solidFill>
            <a:schemeClr val="tx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27432" tIns="27432" rIns="27432" bIns="27432" rtlCol="0" anchor="ctr"/>
          <a:lstStyle/>
          <a:p>
            <a:r>
              <a:rPr lang="en-US" sz="800" dirty="0">
                <a:solidFill>
                  <a:sysClr val="windowText" lastClr="000000"/>
                </a:solidFill>
              </a:rPr>
              <a:t>Smart grids framework for an interoperable energy system</a:t>
            </a:r>
          </a:p>
        </p:txBody>
      </p:sp>
      <p:sp>
        <p:nvSpPr>
          <p:cNvPr id="15" name="Rectangle 14"/>
          <p:cNvSpPr/>
          <p:nvPr/>
        </p:nvSpPr>
        <p:spPr>
          <a:xfrm>
            <a:off x="1005840" y="3963957"/>
            <a:ext cx="2240280" cy="434183"/>
          </a:xfrm>
          <a:prstGeom prst="rect">
            <a:avLst/>
          </a:prstGeom>
          <a:solidFill>
            <a:schemeClr val="tx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27432" tIns="27432" rIns="27432" bIns="27432" rtlCol="0" anchor="ctr"/>
          <a:lstStyle/>
          <a:p>
            <a:r>
              <a:rPr lang="en-US" sz="800" dirty="0">
                <a:solidFill>
                  <a:sysClr val="windowText" lastClr="000000"/>
                </a:solidFill>
              </a:rPr>
              <a:t>Digital platform and marketplace</a:t>
            </a:r>
          </a:p>
        </p:txBody>
      </p:sp>
      <p:sp>
        <p:nvSpPr>
          <p:cNvPr id="16" name="Rectangle 15"/>
          <p:cNvSpPr/>
          <p:nvPr/>
        </p:nvSpPr>
        <p:spPr>
          <a:xfrm>
            <a:off x="1005840" y="4551047"/>
            <a:ext cx="2240280" cy="434183"/>
          </a:xfrm>
          <a:prstGeom prst="rect">
            <a:avLst/>
          </a:prstGeom>
          <a:solidFill>
            <a:schemeClr val="tx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27432" tIns="27432" rIns="27432" bIns="27432" rtlCol="0" anchor="ctr"/>
          <a:lstStyle/>
          <a:p>
            <a:r>
              <a:rPr lang="en-US" sz="800" dirty="0">
                <a:solidFill>
                  <a:sysClr val="windowText" lastClr="000000"/>
                </a:solidFill>
              </a:rPr>
              <a:t>Preparation, coordination and monitoring of pilots</a:t>
            </a:r>
          </a:p>
        </p:txBody>
      </p:sp>
      <p:sp>
        <p:nvSpPr>
          <p:cNvPr id="17" name="Rectangle 16"/>
          <p:cNvSpPr/>
          <p:nvPr/>
        </p:nvSpPr>
        <p:spPr>
          <a:xfrm>
            <a:off x="1005840" y="5138137"/>
            <a:ext cx="2240280" cy="434183"/>
          </a:xfrm>
          <a:prstGeom prst="rect">
            <a:avLst/>
          </a:prstGeom>
          <a:solidFill>
            <a:schemeClr val="tx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27432" tIns="27432" rIns="27432" bIns="27432" rtlCol="0" anchor="ctr"/>
          <a:lstStyle/>
          <a:p>
            <a:r>
              <a:rPr lang="en-US" sz="800" dirty="0">
                <a:solidFill>
                  <a:sysClr val="windowText" lastClr="000000"/>
                </a:solidFill>
              </a:rPr>
              <a:t>Large-scale demonstration and integration of solutions</a:t>
            </a:r>
          </a:p>
        </p:txBody>
      </p:sp>
      <p:sp>
        <p:nvSpPr>
          <p:cNvPr id="18" name="Rectangle 17"/>
          <p:cNvSpPr/>
          <p:nvPr/>
        </p:nvSpPr>
        <p:spPr>
          <a:xfrm>
            <a:off x="1005840" y="5725224"/>
            <a:ext cx="2240280" cy="434183"/>
          </a:xfrm>
          <a:prstGeom prst="rect">
            <a:avLst/>
          </a:prstGeom>
          <a:solidFill>
            <a:schemeClr val="tx2"/>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27432" tIns="27432" rIns="27432" bIns="27432" rtlCol="0" anchor="ctr"/>
          <a:lstStyle/>
          <a:p>
            <a:r>
              <a:rPr lang="en-US" sz="800" dirty="0">
                <a:solidFill>
                  <a:sysClr val="windowText" lastClr="000000"/>
                </a:solidFill>
              </a:rPr>
              <a:t>Sustainability of the interconnect project</a:t>
            </a:r>
          </a:p>
        </p:txBody>
      </p:sp>
      <p:sp>
        <p:nvSpPr>
          <p:cNvPr id="19" name="ee4pHeader1"/>
          <p:cNvSpPr>
            <a:spLocks noChangeArrowheads="1"/>
          </p:cNvSpPr>
          <p:nvPr>
            <p:custDataLst>
              <p:tags r:id="rId1"/>
            </p:custDataLst>
          </p:nvPr>
        </p:nvSpPr>
        <p:spPr bwMode="gray">
          <a:xfrm>
            <a:off x="3285231" y="5725224"/>
            <a:ext cx="3732790" cy="434183"/>
          </a:xfrm>
          <a:prstGeom prst="homePlate">
            <a:avLst>
              <a:gd name="adj" fmla="val 12004"/>
            </a:avLst>
          </a:prstGeom>
          <a:solidFill>
            <a:schemeClr val="accent2">
              <a:lumMod val="40000"/>
              <a:lumOff val="60000"/>
            </a:schemeClr>
          </a:solidFill>
          <a:ln w="38100" cap="rnd" algn="ctr">
            <a:noFill/>
            <a:round/>
            <a:headEnd/>
            <a:tailEnd/>
          </a:ln>
        </p:spPr>
        <p:txBody>
          <a:bodyPr lIns="182880" tIns="0" rIns="0" bIns="0" anchor="ctr" anchorCtr="0"/>
          <a:lstStyle/>
          <a:p>
            <a:pPr eaLnBrk="0" hangingPunct="0"/>
            <a:r>
              <a:rPr lang="en-US" sz="700" dirty="0">
                <a:solidFill>
                  <a:sysClr val="windowText" lastClr="000000"/>
                </a:solidFill>
                <a:sym typeface="Trebuchet MS" panose="020B0603020202020204" pitchFamily="34" charset="0"/>
              </a:rPr>
              <a:t>InterConnect community Launched</a:t>
            </a:r>
          </a:p>
        </p:txBody>
      </p:sp>
      <p:sp>
        <p:nvSpPr>
          <p:cNvPr id="20" name="ee4pHeader2"/>
          <p:cNvSpPr>
            <a:spLocks noChangeArrowheads="1"/>
          </p:cNvSpPr>
          <p:nvPr>
            <p:custDataLst>
              <p:tags r:id="rId2"/>
            </p:custDataLst>
          </p:nvPr>
        </p:nvSpPr>
        <p:spPr bwMode="gray">
          <a:xfrm>
            <a:off x="7018021" y="5725224"/>
            <a:ext cx="2880359" cy="434183"/>
          </a:xfrm>
          <a:prstGeom prst="chevron">
            <a:avLst>
              <a:gd name="adj" fmla="val 12004"/>
            </a:avLst>
          </a:prstGeom>
          <a:solidFill>
            <a:schemeClr val="accent2">
              <a:lumMod val="40000"/>
              <a:lumOff val="60000"/>
            </a:schemeClr>
          </a:solidFill>
          <a:ln w="38100" cap="rnd" algn="ctr">
            <a:noFill/>
            <a:round/>
            <a:headEnd/>
            <a:tailEnd/>
          </a:ln>
        </p:spPr>
        <p:txBody>
          <a:bodyPr lIns="27432" tIns="0" rIns="0" bIns="0" anchor="ctr" anchorCtr="0"/>
          <a:lstStyle/>
          <a:p>
            <a:pPr eaLnBrk="0" hangingPunct="0"/>
            <a:r>
              <a:rPr lang="en-US" sz="700" dirty="0">
                <a:solidFill>
                  <a:sysClr val="windowText" lastClr="000000"/>
                </a:solidFill>
                <a:sym typeface="Trebuchet MS" panose="020B0603020202020204" pitchFamily="34" charset="0"/>
              </a:rPr>
              <a:t>Impact assessment concluded and recommendations available</a:t>
            </a:r>
          </a:p>
        </p:txBody>
      </p:sp>
      <p:sp>
        <p:nvSpPr>
          <p:cNvPr id="24" name="ee4pHeader1"/>
          <p:cNvSpPr>
            <a:spLocks noChangeArrowheads="1"/>
          </p:cNvSpPr>
          <p:nvPr>
            <p:custDataLst>
              <p:tags r:id="rId3"/>
            </p:custDataLst>
          </p:nvPr>
        </p:nvSpPr>
        <p:spPr bwMode="gray">
          <a:xfrm>
            <a:off x="3285231" y="1619456"/>
            <a:ext cx="2033528" cy="434183"/>
          </a:xfrm>
          <a:prstGeom prst="homePlate">
            <a:avLst>
              <a:gd name="adj" fmla="val 12004"/>
            </a:avLst>
          </a:prstGeom>
          <a:solidFill>
            <a:schemeClr val="accent2">
              <a:lumMod val="40000"/>
              <a:lumOff val="60000"/>
            </a:schemeClr>
          </a:solidFill>
          <a:ln w="38100" cap="rnd" algn="ctr">
            <a:noFill/>
            <a:round/>
            <a:headEnd/>
            <a:tailEnd/>
          </a:ln>
        </p:spPr>
        <p:txBody>
          <a:bodyPr lIns="182880" tIns="0" rIns="0" bIns="0" anchor="ctr" anchorCtr="0"/>
          <a:lstStyle/>
          <a:p>
            <a:pPr eaLnBrk="0" hangingPunct="0"/>
            <a:r>
              <a:rPr lang="en-US" sz="700" dirty="0">
                <a:solidFill>
                  <a:sysClr val="windowText" lastClr="000000"/>
                </a:solidFill>
                <a:sym typeface="Trebuchet MS" panose="020B0603020202020204" pitchFamily="34" charset="0"/>
              </a:rPr>
              <a:t>Services and business use cases identified</a:t>
            </a:r>
          </a:p>
        </p:txBody>
      </p:sp>
      <p:sp>
        <p:nvSpPr>
          <p:cNvPr id="25" name="ee4pHeader2"/>
          <p:cNvSpPr>
            <a:spLocks noChangeArrowheads="1"/>
          </p:cNvSpPr>
          <p:nvPr>
            <p:custDataLst>
              <p:tags r:id="rId4"/>
            </p:custDataLst>
          </p:nvPr>
        </p:nvSpPr>
        <p:spPr bwMode="gray">
          <a:xfrm>
            <a:off x="5318760" y="1619456"/>
            <a:ext cx="1386840" cy="434183"/>
          </a:xfrm>
          <a:prstGeom prst="chevron">
            <a:avLst>
              <a:gd name="adj" fmla="val 12004"/>
            </a:avLst>
          </a:prstGeom>
          <a:solidFill>
            <a:schemeClr val="accent2">
              <a:lumMod val="40000"/>
              <a:lumOff val="60000"/>
            </a:schemeClr>
          </a:solidFill>
          <a:ln w="38100" cap="rnd" algn="ctr">
            <a:noFill/>
            <a:round/>
            <a:headEnd/>
            <a:tailEnd/>
          </a:ln>
        </p:spPr>
        <p:txBody>
          <a:bodyPr lIns="27432" tIns="0" rIns="0" bIns="0" anchor="ctr" anchorCtr="0"/>
          <a:lstStyle/>
          <a:p>
            <a:pPr eaLnBrk="0" hangingPunct="0"/>
            <a:r>
              <a:rPr lang="en-US" sz="700" dirty="0">
                <a:solidFill>
                  <a:sysClr val="windowText" lastClr="000000"/>
                </a:solidFill>
                <a:sym typeface="Trebuchet MS" panose="020B0603020202020204" pitchFamily="34" charset="0"/>
              </a:rPr>
              <a:t>Assessment of functional and non-functional requirements finalized</a:t>
            </a:r>
          </a:p>
        </p:txBody>
      </p:sp>
      <p:sp>
        <p:nvSpPr>
          <p:cNvPr id="27" name="ee4pHeader1"/>
          <p:cNvSpPr>
            <a:spLocks noChangeArrowheads="1"/>
          </p:cNvSpPr>
          <p:nvPr>
            <p:custDataLst>
              <p:tags r:id="rId5"/>
            </p:custDataLst>
          </p:nvPr>
        </p:nvSpPr>
        <p:spPr bwMode="gray">
          <a:xfrm>
            <a:off x="3285230" y="2205994"/>
            <a:ext cx="3839469" cy="434183"/>
          </a:xfrm>
          <a:prstGeom prst="homePlate">
            <a:avLst>
              <a:gd name="adj" fmla="val 12004"/>
            </a:avLst>
          </a:prstGeom>
          <a:solidFill>
            <a:schemeClr val="accent2">
              <a:lumMod val="40000"/>
              <a:lumOff val="60000"/>
            </a:schemeClr>
          </a:solidFill>
          <a:ln w="38100" cap="rnd" algn="ctr">
            <a:noFill/>
            <a:round/>
            <a:headEnd/>
            <a:tailEnd/>
          </a:ln>
        </p:spPr>
        <p:txBody>
          <a:bodyPr lIns="182880" tIns="0" rIns="0" bIns="0" anchor="ctr" anchorCtr="0"/>
          <a:lstStyle/>
          <a:p>
            <a:pPr eaLnBrk="0" hangingPunct="0"/>
            <a:r>
              <a:rPr lang="en-US" sz="700" dirty="0">
                <a:solidFill>
                  <a:sysClr val="windowText" lastClr="000000"/>
                </a:solidFill>
                <a:sym typeface="Trebuchet MS" panose="020B0603020202020204" pitchFamily="34" charset="0"/>
              </a:rPr>
              <a:t>Architecture, related standards and ontologies documented</a:t>
            </a:r>
          </a:p>
        </p:txBody>
      </p:sp>
      <p:sp>
        <p:nvSpPr>
          <p:cNvPr id="30" name="ee4pHeader1"/>
          <p:cNvSpPr>
            <a:spLocks noChangeArrowheads="1"/>
          </p:cNvSpPr>
          <p:nvPr>
            <p:custDataLst>
              <p:tags r:id="rId6"/>
            </p:custDataLst>
          </p:nvPr>
        </p:nvSpPr>
        <p:spPr bwMode="gray">
          <a:xfrm>
            <a:off x="3285230" y="2792532"/>
            <a:ext cx="4738629" cy="434183"/>
          </a:xfrm>
          <a:prstGeom prst="homePlate">
            <a:avLst>
              <a:gd name="adj" fmla="val 12004"/>
            </a:avLst>
          </a:prstGeom>
          <a:solidFill>
            <a:schemeClr val="accent2">
              <a:lumMod val="40000"/>
              <a:lumOff val="60000"/>
            </a:schemeClr>
          </a:solidFill>
          <a:ln w="38100" cap="rnd" algn="ctr">
            <a:noFill/>
            <a:round/>
            <a:headEnd/>
            <a:tailEnd/>
          </a:ln>
        </p:spPr>
        <p:txBody>
          <a:bodyPr lIns="182880" tIns="0" rIns="0" bIns="0" anchor="ctr" anchorCtr="0"/>
          <a:lstStyle/>
          <a:p>
            <a:pPr eaLnBrk="0" hangingPunct="0"/>
            <a:r>
              <a:rPr lang="en-US" sz="700" dirty="0">
                <a:solidFill>
                  <a:sysClr val="windowText" lastClr="000000"/>
                </a:solidFill>
                <a:sym typeface="Trebuchet MS" panose="020B0603020202020204" pitchFamily="34" charset="0"/>
              </a:rPr>
              <a:t>Components SAREFized and integrated in Digital Platforms</a:t>
            </a:r>
          </a:p>
        </p:txBody>
      </p:sp>
      <p:sp>
        <p:nvSpPr>
          <p:cNvPr id="33" name="ee4pHeader1"/>
          <p:cNvSpPr>
            <a:spLocks noChangeArrowheads="1"/>
          </p:cNvSpPr>
          <p:nvPr>
            <p:custDataLst>
              <p:tags r:id="rId7"/>
            </p:custDataLst>
          </p:nvPr>
        </p:nvSpPr>
        <p:spPr bwMode="gray">
          <a:xfrm>
            <a:off x="3285230" y="3379070"/>
            <a:ext cx="3839467" cy="434183"/>
          </a:xfrm>
          <a:prstGeom prst="homePlate">
            <a:avLst>
              <a:gd name="adj" fmla="val 12004"/>
            </a:avLst>
          </a:prstGeom>
          <a:solidFill>
            <a:schemeClr val="accent2">
              <a:lumMod val="40000"/>
              <a:lumOff val="60000"/>
            </a:schemeClr>
          </a:solidFill>
          <a:ln w="38100" cap="rnd" algn="ctr">
            <a:noFill/>
            <a:round/>
            <a:headEnd/>
            <a:tailEnd/>
          </a:ln>
        </p:spPr>
        <p:txBody>
          <a:bodyPr lIns="182880" tIns="0" rIns="0" bIns="0" anchor="ctr" anchorCtr="0"/>
          <a:lstStyle/>
          <a:p>
            <a:pPr eaLnBrk="0" hangingPunct="0"/>
            <a:r>
              <a:rPr lang="en-US" sz="700" dirty="0">
                <a:solidFill>
                  <a:sysClr val="windowText" lastClr="000000"/>
                </a:solidFill>
                <a:sym typeface="Trebuchet MS" panose="020B0603020202020204" pitchFamily="34" charset="0"/>
              </a:rPr>
              <a:t>Standardized DSO interface ready for testing in pilots</a:t>
            </a:r>
          </a:p>
        </p:txBody>
      </p:sp>
      <p:sp>
        <p:nvSpPr>
          <p:cNvPr id="34" name="ee4pHeader2"/>
          <p:cNvSpPr>
            <a:spLocks noChangeArrowheads="1"/>
          </p:cNvSpPr>
          <p:nvPr>
            <p:custDataLst>
              <p:tags r:id="rId8"/>
            </p:custDataLst>
          </p:nvPr>
        </p:nvSpPr>
        <p:spPr bwMode="gray">
          <a:xfrm>
            <a:off x="7124699" y="3379070"/>
            <a:ext cx="1196341" cy="434183"/>
          </a:xfrm>
          <a:prstGeom prst="chevron">
            <a:avLst>
              <a:gd name="adj" fmla="val 12004"/>
            </a:avLst>
          </a:prstGeom>
          <a:solidFill>
            <a:schemeClr val="accent2">
              <a:lumMod val="40000"/>
              <a:lumOff val="60000"/>
            </a:schemeClr>
          </a:solidFill>
          <a:ln w="38100" cap="rnd" algn="ctr">
            <a:noFill/>
            <a:round/>
            <a:headEnd/>
            <a:tailEnd/>
          </a:ln>
        </p:spPr>
        <p:txBody>
          <a:bodyPr lIns="27432" tIns="0" rIns="0" bIns="0" anchor="ctr" anchorCtr="0"/>
          <a:lstStyle/>
          <a:p>
            <a:pPr eaLnBrk="0" hangingPunct="0"/>
            <a:r>
              <a:rPr lang="en-US" sz="700" dirty="0">
                <a:solidFill>
                  <a:sysClr val="windowText" lastClr="000000"/>
                </a:solidFill>
                <a:sym typeface="Trebuchet MS" panose="020B0603020202020204" pitchFamily="34" charset="0"/>
              </a:rPr>
              <a:t>DSO flexibility platform available for testing in pilots</a:t>
            </a:r>
          </a:p>
        </p:txBody>
      </p:sp>
      <p:sp>
        <p:nvSpPr>
          <p:cNvPr id="36" name="ee4pHeader1"/>
          <p:cNvSpPr>
            <a:spLocks noChangeArrowheads="1"/>
          </p:cNvSpPr>
          <p:nvPr>
            <p:custDataLst>
              <p:tags r:id="rId9"/>
            </p:custDataLst>
          </p:nvPr>
        </p:nvSpPr>
        <p:spPr bwMode="gray">
          <a:xfrm>
            <a:off x="3285232" y="3965608"/>
            <a:ext cx="2260356" cy="434183"/>
          </a:xfrm>
          <a:prstGeom prst="homePlate">
            <a:avLst>
              <a:gd name="adj" fmla="val 12004"/>
            </a:avLst>
          </a:prstGeom>
          <a:solidFill>
            <a:schemeClr val="accent2">
              <a:lumMod val="40000"/>
              <a:lumOff val="60000"/>
            </a:schemeClr>
          </a:solidFill>
          <a:ln w="38100" cap="rnd" algn="ctr">
            <a:noFill/>
            <a:round/>
            <a:headEnd/>
            <a:tailEnd/>
          </a:ln>
        </p:spPr>
        <p:txBody>
          <a:bodyPr lIns="182880" tIns="0" rIns="0" bIns="0" anchor="ctr" anchorCtr="0"/>
          <a:lstStyle/>
          <a:p>
            <a:pPr eaLnBrk="0" hangingPunct="0"/>
            <a:r>
              <a:rPr lang="en-US" sz="700" dirty="0">
                <a:solidFill>
                  <a:sysClr val="windowText" lastClr="000000"/>
                </a:solidFill>
                <a:sym typeface="Trebuchet MS" panose="020B0603020202020204" pitchFamily="34" charset="0"/>
              </a:rPr>
              <a:t>Catalogue of digital platforms, services and systems available</a:t>
            </a:r>
          </a:p>
        </p:txBody>
      </p:sp>
      <p:sp>
        <p:nvSpPr>
          <p:cNvPr id="37" name="ee4pHeader2"/>
          <p:cNvSpPr>
            <a:spLocks noChangeArrowheads="1"/>
          </p:cNvSpPr>
          <p:nvPr>
            <p:custDataLst>
              <p:tags r:id="rId10"/>
            </p:custDataLst>
          </p:nvPr>
        </p:nvSpPr>
        <p:spPr bwMode="gray">
          <a:xfrm>
            <a:off x="5545589" y="3965608"/>
            <a:ext cx="1579109" cy="434183"/>
          </a:xfrm>
          <a:prstGeom prst="chevron">
            <a:avLst>
              <a:gd name="adj" fmla="val 12004"/>
            </a:avLst>
          </a:prstGeom>
          <a:solidFill>
            <a:schemeClr val="accent2">
              <a:lumMod val="40000"/>
              <a:lumOff val="60000"/>
            </a:schemeClr>
          </a:solidFill>
          <a:ln w="38100" cap="rnd" algn="ctr">
            <a:noFill/>
            <a:round/>
            <a:headEnd/>
            <a:tailEnd/>
          </a:ln>
        </p:spPr>
        <p:txBody>
          <a:bodyPr lIns="27432" tIns="0" rIns="0" bIns="0" anchor="ctr" anchorCtr="0"/>
          <a:lstStyle/>
          <a:p>
            <a:pPr eaLnBrk="0" hangingPunct="0"/>
            <a:r>
              <a:rPr lang="en-US" sz="700" dirty="0">
                <a:solidFill>
                  <a:sysClr val="windowText" lastClr="000000"/>
                </a:solidFill>
                <a:sym typeface="Trebuchet MS" panose="020B0603020202020204" pitchFamily="34" charset="0"/>
              </a:rPr>
              <a:t>Interoperable marketplace toolbox and enablers ready for pilots</a:t>
            </a:r>
          </a:p>
        </p:txBody>
      </p:sp>
      <p:sp>
        <p:nvSpPr>
          <p:cNvPr id="39" name="ee4pHeader1"/>
          <p:cNvSpPr>
            <a:spLocks noChangeArrowheads="1"/>
          </p:cNvSpPr>
          <p:nvPr>
            <p:custDataLst>
              <p:tags r:id="rId11"/>
            </p:custDataLst>
          </p:nvPr>
        </p:nvSpPr>
        <p:spPr bwMode="gray">
          <a:xfrm>
            <a:off x="3285231" y="4552146"/>
            <a:ext cx="3839466" cy="434183"/>
          </a:xfrm>
          <a:prstGeom prst="homePlate">
            <a:avLst>
              <a:gd name="adj" fmla="val 12004"/>
            </a:avLst>
          </a:prstGeom>
          <a:solidFill>
            <a:schemeClr val="accent2">
              <a:lumMod val="40000"/>
              <a:lumOff val="60000"/>
            </a:schemeClr>
          </a:solidFill>
          <a:ln w="38100" cap="rnd" algn="ctr">
            <a:noFill/>
            <a:round/>
            <a:headEnd/>
            <a:tailEnd/>
          </a:ln>
        </p:spPr>
        <p:txBody>
          <a:bodyPr lIns="182880" tIns="0" rIns="0" bIns="0" anchor="ctr" anchorCtr="0"/>
          <a:lstStyle/>
          <a:p>
            <a:pPr eaLnBrk="0" hangingPunct="0"/>
            <a:r>
              <a:rPr lang="en-US" sz="700" dirty="0">
                <a:solidFill>
                  <a:sysClr val="windowText" lastClr="000000"/>
                </a:solidFill>
                <a:sym typeface="Trebuchet MS" panose="020B0603020202020204" pitchFamily="34" charset="0"/>
              </a:rPr>
              <a:t>Field tests are up and running</a:t>
            </a:r>
          </a:p>
        </p:txBody>
      </p:sp>
      <p:sp>
        <p:nvSpPr>
          <p:cNvPr id="42" name="ee4pHeader1"/>
          <p:cNvSpPr>
            <a:spLocks noChangeArrowheads="1"/>
          </p:cNvSpPr>
          <p:nvPr>
            <p:custDataLst>
              <p:tags r:id="rId12"/>
            </p:custDataLst>
          </p:nvPr>
        </p:nvSpPr>
        <p:spPr bwMode="gray">
          <a:xfrm>
            <a:off x="3285230" y="5138684"/>
            <a:ext cx="6613149" cy="434183"/>
          </a:xfrm>
          <a:prstGeom prst="homePlate">
            <a:avLst>
              <a:gd name="adj" fmla="val 12004"/>
            </a:avLst>
          </a:prstGeom>
          <a:solidFill>
            <a:schemeClr val="accent2">
              <a:lumMod val="40000"/>
              <a:lumOff val="60000"/>
            </a:schemeClr>
          </a:solidFill>
          <a:ln w="38100" cap="rnd" algn="ctr">
            <a:noFill/>
            <a:round/>
            <a:headEnd/>
            <a:tailEnd/>
          </a:ln>
        </p:spPr>
        <p:txBody>
          <a:bodyPr lIns="182880" tIns="0" rIns="0" bIns="0" anchor="ctr" anchorCtr="0"/>
          <a:lstStyle/>
          <a:p>
            <a:pPr eaLnBrk="0" hangingPunct="0"/>
            <a:r>
              <a:rPr lang="en-US" sz="700" dirty="0">
                <a:solidFill>
                  <a:sysClr val="windowText" lastClr="000000"/>
                </a:solidFill>
                <a:sym typeface="Trebuchet MS" panose="020B0603020202020204" pitchFamily="34" charset="0"/>
              </a:rPr>
              <a:t>Demonstrated solutions and use cases.</a:t>
            </a:r>
            <a:br>
              <a:rPr lang="en-US" sz="700" dirty="0">
                <a:solidFill>
                  <a:sysClr val="windowText" lastClr="000000"/>
                </a:solidFill>
                <a:sym typeface="Trebuchet MS" panose="020B0603020202020204" pitchFamily="34" charset="0"/>
              </a:rPr>
            </a:br>
            <a:r>
              <a:rPr lang="en-US" sz="700" dirty="0">
                <a:solidFill>
                  <a:sysClr val="windowText" lastClr="000000"/>
                </a:solidFill>
                <a:sym typeface="Trebuchet MS" panose="020B0603020202020204" pitchFamily="34" charset="0"/>
              </a:rPr>
              <a:t>Results communicated to several stakeholders</a:t>
            </a:r>
          </a:p>
        </p:txBody>
      </p:sp>
      <p:sp>
        <p:nvSpPr>
          <p:cNvPr id="44" name="Rectangle 43"/>
          <p:cNvSpPr/>
          <p:nvPr/>
        </p:nvSpPr>
        <p:spPr>
          <a:xfrm>
            <a:off x="3285231" y="1188976"/>
            <a:ext cx="1361321" cy="304068"/>
          </a:xfrm>
          <a:prstGeom prst="rect">
            <a:avLst/>
          </a:prstGeom>
          <a:solidFill>
            <a:schemeClr val="accent2">
              <a:lumMod val="60000"/>
              <a:lumOff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ysClr val="windowText" lastClr="000000"/>
                </a:solidFill>
              </a:rPr>
              <a:t>2019</a:t>
            </a:r>
          </a:p>
        </p:txBody>
      </p:sp>
      <p:cxnSp>
        <p:nvCxnSpPr>
          <p:cNvPr id="46" name="Straight Arrow Connector 45"/>
          <p:cNvCxnSpPr/>
          <p:nvPr/>
        </p:nvCxnSpPr>
        <p:spPr>
          <a:xfrm>
            <a:off x="1073944" y="1250156"/>
            <a:ext cx="1" cy="201457"/>
          </a:xfrm>
          <a:prstGeom prst="straightConnector1">
            <a:avLst/>
          </a:prstGeom>
          <a:ln w="38100">
            <a:tailEnd type="triangle" w="med" len="med"/>
          </a:ln>
        </p:spPr>
        <p:style>
          <a:lnRef idx="1">
            <a:schemeClr val="accent1"/>
          </a:lnRef>
          <a:fillRef idx="0">
            <a:schemeClr val="accent1"/>
          </a:fillRef>
          <a:effectRef idx="0">
            <a:schemeClr val="accent1"/>
          </a:effectRef>
          <a:fontRef idx="minor">
            <a:schemeClr val="tx1"/>
          </a:fontRef>
        </p:style>
      </p:cxnSp>
      <p:pic>
        <p:nvPicPr>
          <p:cNvPr id="31" name="Picture 1" descr="image002">
            <a:extLst>
              <a:ext uri="{FF2B5EF4-FFF2-40B4-BE49-F238E27FC236}">
                <a16:creationId xmlns:a16="http://schemas.microsoft.com/office/drawing/2014/main" id="{CEC772AD-017A-461C-A4B1-D753463D3BA5}"/>
              </a:ext>
            </a:extLst>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888236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5FD30CB-183D-44CE-8555-A30333FD43A4}"/>
              </a:ext>
            </a:extLst>
          </p:cNvPr>
          <p:cNvSpPr>
            <a:spLocks noGrp="1"/>
          </p:cNvSpPr>
          <p:nvPr>
            <p:ph type="body" sz="quarter" idx="10"/>
          </p:nvPr>
        </p:nvSpPr>
        <p:spPr/>
        <p:txBody>
          <a:bodyPr/>
          <a:lstStyle/>
          <a:p>
            <a:r>
              <a:rPr lang="en-US" dirty="0"/>
              <a:t>About TNO (I)</a:t>
            </a:r>
          </a:p>
        </p:txBody>
      </p:sp>
      <p:sp>
        <p:nvSpPr>
          <p:cNvPr id="13" name="Text Placeholder 12"/>
          <p:cNvSpPr>
            <a:spLocks noGrp="1"/>
          </p:cNvSpPr>
          <p:nvPr>
            <p:ph type="body" sz="quarter" idx="11"/>
          </p:nvPr>
        </p:nvSpPr>
        <p:spPr/>
        <p:txBody>
          <a:bodyPr/>
          <a:lstStyle/>
          <a:p>
            <a:pPr>
              <a:spcBef>
                <a:spcPts val="600"/>
              </a:spcBef>
            </a:pPr>
            <a:r>
              <a:rPr lang="en-US" sz="1600" dirty="0"/>
              <a:t>Largest Dutch independent research organization. Intermediary between basic research organisations and industry</a:t>
            </a:r>
          </a:p>
          <a:p>
            <a:pPr>
              <a:spcBef>
                <a:spcPts val="600"/>
              </a:spcBef>
            </a:pPr>
            <a:r>
              <a:rPr lang="en-US" sz="1600" dirty="0"/>
              <a:t>Based on its expertise and research in technological, policy, business and social innovation, </a:t>
            </a:r>
            <a:r>
              <a:rPr lang="en-US" sz="1600" b="1" dirty="0"/>
              <a:t>TNO connects people and knowledge to create innovations that boost the competitive strength of industry and the well-being of society in a sustainable way</a:t>
            </a:r>
          </a:p>
          <a:p>
            <a:pPr>
              <a:spcBef>
                <a:spcPts val="600"/>
              </a:spcBef>
            </a:pPr>
            <a:r>
              <a:rPr lang="en-US" sz="1600" dirty="0"/>
              <a:t>Staff of over 3200 professionals and an annual turnover of 565 million Euros. Research to achieve impact on different themes addressing Societal Challenges. Organized in units (see next slide)</a:t>
            </a:r>
          </a:p>
          <a:p>
            <a:pPr>
              <a:spcBef>
                <a:spcPts val="600"/>
              </a:spcBef>
            </a:pPr>
            <a:r>
              <a:rPr lang="en-US" sz="1600" dirty="0"/>
              <a:t>By translating scientific knowledge into practical applications, TNO contributes to the innovation capacity of businesses and government</a:t>
            </a:r>
          </a:p>
          <a:p>
            <a:pPr>
              <a:spcBef>
                <a:spcPts val="600"/>
              </a:spcBef>
            </a:pPr>
            <a:r>
              <a:rPr lang="en-US" sz="1600" dirty="0"/>
              <a:t>TNO is involved in many international projects (about 30% of the market turnover), including EU-funded collaborations (Technology Platforms, Horizon 2020, KIC’s)</a:t>
            </a:r>
          </a:p>
        </p:txBody>
      </p:sp>
      <p:sp>
        <p:nvSpPr>
          <p:cNvPr id="4" name="Slide Number Placeholder 3">
            <a:extLst>
              <a:ext uri="{FF2B5EF4-FFF2-40B4-BE49-F238E27FC236}">
                <a16:creationId xmlns:a16="http://schemas.microsoft.com/office/drawing/2014/main" id="{0D9C590F-DB8E-40B8-A5C2-94B1C6D903BB}"/>
              </a:ext>
            </a:extLst>
          </p:cNvPr>
          <p:cNvSpPr>
            <a:spLocks noGrp="1"/>
          </p:cNvSpPr>
          <p:nvPr>
            <p:ph type="sldNum" sz="quarter" idx="4"/>
          </p:nvPr>
        </p:nvSpPr>
        <p:spPr/>
        <p:txBody>
          <a:bodyPr/>
          <a:lstStyle/>
          <a:p>
            <a:fld id="{EBC262BB-4310-134F-8D24-58475080D942}" type="slidenum">
              <a:rPr lang="en-US" smtClean="0"/>
              <a:pPr/>
              <a:t>5</a:t>
            </a:fld>
            <a:endParaRPr lang="en-US" dirty="0"/>
          </a:p>
        </p:txBody>
      </p:sp>
      <p:pic>
        <p:nvPicPr>
          <p:cNvPr id="14" name="Picture 1" descr="image002">
            <a:extLst>
              <a:ext uri="{FF2B5EF4-FFF2-40B4-BE49-F238E27FC236}">
                <a16:creationId xmlns:a16="http://schemas.microsoft.com/office/drawing/2014/main" id="{2ABB324A-AE2A-4D47-9D7F-AC777666729C}"/>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7706460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ounded Rectangular Callout 10"/>
          <p:cNvSpPr/>
          <p:nvPr/>
        </p:nvSpPr>
        <p:spPr>
          <a:xfrm>
            <a:off x="2325279" y="2883493"/>
            <a:ext cx="1789522" cy="1247000"/>
          </a:xfrm>
          <a:prstGeom prst="wedgeRoundRectCallout">
            <a:avLst>
              <a:gd name="adj1" fmla="val -19227"/>
              <a:gd name="adj2" fmla="val 76311"/>
              <a:gd name="adj3" fmla="val 16667"/>
            </a:avLst>
          </a:prstGeom>
          <a:solidFill>
            <a:srgbClr val="FFFFFF"/>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274320" rtlCol="0" anchor="ctr"/>
          <a:lstStyle/>
          <a:p>
            <a:endParaRPr lang="en-US" sz="1600" dirty="0">
              <a:solidFill>
                <a:sysClr val="windowText" lastClr="000000"/>
              </a:solidFill>
            </a:endParaRPr>
          </a:p>
        </p:txBody>
      </p:sp>
      <p:sp>
        <p:nvSpPr>
          <p:cNvPr id="4" name="Slide Number Placeholder 1"/>
          <p:cNvSpPr>
            <a:spLocks noGrp="1"/>
          </p:cNvSpPr>
          <p:nvPr>
            <p:ph type="sldNum" sz="quarter" idx="4"/>
          </p:nvPr>
        </p:nvSpPr>
        <p:spPr bwMode="auto"/>
        <p:txBody>
          <a:bodyPr/>
          <a:lstStyle/>
          <a:p>
            <a:pPr>
              <a:defRPr/>
            </a:pPr>
            <a:fld id="{EBC262BB-4310-134F-8D24-58475080D942}" type="slidenum">
              <a:rPr lang="en-US"/>
              <a:t>50</a:t>
            </a:fld>
            <a:endParaRPr lang="en-US" dirty="0"/>
          </a:p>
        </p:txBody>
      </p:sp>
      <p:sp>
        <p:nvSpPr>
          <p:cNvPr id="5" name="Text Placeholder 4"/>
          <p:cNvSpPr>
            <a:spLocks noGrp="1"/>
          </p:cNvSpPr>
          <p:nvPr>
            <p:ph type="body" sz="quarter" idx="10"/>
          </p:nvPr>
        </p:nvSpPr>
        <p:spPr bwMode="auto">
          <a:xfrm>
            <a:off x="985763" y="362663"/>
            <a:ext cx="9289893" cy="826313"/>
          </a:xfrm>
        </p:spPr>
        <p:txBody>
          <a:bodyPr/>
          <a:lstStyle/>
          <a:p>
            <a:pPr>
              <a:defRPr/>
            </a:pPr>
            <a:r>
              <a:rPr lang="en-US" dirty="0"/>
              <a:t>We will also support Cascading initiatives </a:t>
            </a:r>
            <a:endParaRPr dirty="0"/>
          </a:p>
        </p:txBody>
      </p:sp>
      <p:sp>
        <p:nvSpPr>
          <p:cNvPr id="6" name="TextBox 14"/>
          <p:cNvSpPr>
            <a:spLocks/>
          </p:cNvSpPr>
          <p:nvPr/>
        </p:nvSpPr>
        <p:spPr bwMode="auto">
          <a:xfrm>
            <a:off x="985763" y="1254489"/>
            <a:ext cx="9289893" cy="830997"/>
          </a:xfrm>
          <a:prstGeom prst="rect">
            <a:avLst/>
          </a:prstGeom>
          <a:noFill/>
        </p:spPr>
        <p:txBody>
          <a:bodyPr wrap="square" lIns="0" rIns="0" rtlCol="0" anchor="b">
            <a:spAutoFit/>
          </a:bodyPr>
          <a:lstStyle/>
          <a:p>
            <a:pPr algn="just">
              <a:defRPr/>
            </a:pPr>
            <a:r>
              <a:rPr lang="en-US" sz="1600" b="1" dirty="0"/>
              <a:t>Besides the developments that will be conducted by the 50 partners of the consortium, the project will also foster innovation to expand the ecosystem of players by offering opportunities for entrepreneurs through open calls.</a:t>
            </a:r>
            <a:endParaRPr dirty="0"/>
          </a:p>
        </p:txBody>
      </p:sp>
      <p:sp>
        <p:nvSpPr>
          <p:cNvPr id="2" name="Rounded Rectangular Callout 1"/>
          <p:cNvSpPr/>
          <p:nvPr/>
        </p:nvSpPr>
        <p:spPr>
          <a:xfrm>
            <a:off x="3076575" y="2280838"/>
            <a:ext cx="4114799" cy="1586311"/>
          </a:xfrm>
          <a:prstGeom prst="wedgeRoundRectCallout">
            <a:avLst>
              <a:gd name="adj1" fmla="val -16898"/>
              <a:gd name="adj2" fmla="val 73909"/>
              <a:gd name="adj3" fmla="val 16667"/>
            </a:avLst>
          </a:prstGeom>
          <a:solidFill>
            <a:srgbClr val="FFFFFF"/>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274320" rtlCol="0" anchor="ctr"/>
          <a:lstStyle/>
          <a:p>
            <a:r>
              <a:rPr lang="en-US" sz="1600" dirty="0">
                <a:solidFill>
                  <a:sysClr val="windowText" lastClr="000000"/>
                </a:solidFill>
              </a:rPr>
              <a:t>3 open calls will be launched to select 42 innovative bottom-up projects—14 prototypes and 28 small—demonstrators</a:t>
            </a:r>
          </a:p>
        </p:txBody>
      </p:sp>
      <p:sp>
        <p:nvSpPr>
          <p:cNvPr id="10" name="Rounded Rectangular Callout 9"/>
          <p:cNvSpPr/>
          <p:nvPr/>
        </p:nvSpPr>
        <p:spPr>
          <a:xfrm>
            <a:off x="4821342" y="4130492"/>
            <a:ext cx="4114799" cy="1586311"/>
          </a:xfrm>
          <a:prstGeom prst="wedgeRoundRectCallout">
            <a:avLst>
              <a:gd name="adj1" fmla="val 16435"/>
              <a:gd name="adj2" fmla="val 76311"/>
              <a:gd name="adj3" fmla="val 16667"/>
            </a:avLst>
          </a:prstGeom>
          <a:solidFill>
            <a:srgbClr val="FFFFFF"/>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274320" rtlCol="0" anchor="ctr"/>
          <a:lstStyle/>
          <a:p>
            <a:r>
              <a:rPr lang="en-US" sz="1600" dirty="0">
                <a:solidFill>
                  <a:sysClr val="windowText" lastClr="000000"/>
                </a:solidFill>
              </a:rPr>
              <a:t>The open calls will be launched in 2022. In 2023 the prototypes and small—demonstrators will be executed</a:t>
            </a:r>
          </a:p>
        </p:txBody>
      </p:sp>
      <p:pic>
        <p:nvPicPr>
          <p:cNvPr id="12" name="Picture 1" descr="image002">
            <a:extLst>
              <a:ext uri="{FF2B5EF4-FFF2-40B4-BE49-F238E27FC236}">
                <a16:creationId xmlns:a16="http://schemas.microsoft.com/office/drawing/2014/main" id="{4F8E1101-C228-487B-9903-6CB60DFA6CC3}"/>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8707639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Challenges ahead</a:t>
            </a:r>
          </a:p>
        </p:txBody>
      </p:sp>
      <p:sp>
        <p:nvSpPr>
          <p:cNvPr id="3" name="Slide Number Placeholder 2"/>
          <p:cNvSpPr>
            <a:spLocks noGrp="1"/>
          </p:cNvSpPr>
          <p:nvPr>
            <p:ph type="sldNum" sz="quarter" idx="4"/>
          </p:nvPr>
        </p:nvSpPr>
        <p:spPr>
          <a:prstGeom prst="rect">
            <a:avLst/>
          </a:prstGeom>
        </p:spPr>
        <p:txBody>
          <a:bodyPr/>
          <a:lstStyle/>
          <a:p>
            <a:fld id="{EBC262BB-4310-134F-8D24-58475080D942}" type="slidenum">
              <a:rPr lang="en-US" smtClean="0"/>
              <a:pPr/>
              <a:t>51</a:t>
            </a:fld>
            <a:endParaRPr lang="en-US" dirty="0"/>
          </a:p>
        </p:txBody>
      </p:sp>
    </p:spTree>
    <p:extLst>
      <p:ext uri="{BB962C8B-B14F-4D97-AF65-F5344CB8AC3E}">
        <p14:creationId xmlns:p14="http://schemas.microsoft.com/office/powerpoint/2010/main" val="24566381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652D591-41B3-4B01-8620-AEC22E39297C}"/>
              </a:ext>
            </a:extLst>
          </p:cNvPr>
          <p:cNvSpPr>
            <a:spLocks noGrp="1"/>
          </p:cNvSpPr>
          <p:nvPr>
            <p:ph type="body" sz="quarter" idx="10"/>
          </p:nvPr>
        </p:nvSpPr>
        <p:spPr>
          <a:xfrm>
            <a:off x="986457" y="324563"/>
            <a:ext cx="9289200" cy="954107"/>
          </a:xfrm>
        </p:spPr>
        <p:txBody>
          <a:bodyPr>
            <a:spAutoFit/>
          </a:bodyPr>
          <a:lstStyle/>
          <a:p>
            <a:r>
              <a:rPr lang="nl-NL" dirty="0"/>
              <a:t>Questions and challenges: just to mention a few…(I)</a:t>
            </a:r>
          </a:p>
        </p:txBody>
      </p:sp>
      <p:sp>
        <p:nvSpPr>
          <p:cNvPr id="3" name="Text Placeholder 2">
            <a:extLst>
              <a:ext uri="{FF2B5EF4-FFF2-40B4-BE49-F238E27FC236}">
                <a16:creationId xmlns:a16="http://schemas.microsoft.com/office/drawing/2014/main" id="{607B5DE4-0B72-4020-A9A9-47355718224D}"/>
              </a:ext>
            </a:extLst>
          </p:cNvPr>
          <p:cNvSpPr>
            <a:spLocks noGrp="1"/>
          </p:cNvSpPr>
          <p:nvPr>
            <p:ph type="body" sz="quarter" idx="11"/>
          </p:nvPr>
        </p:nvSpPr>
        <p:spPr>
          <a:xfrm>
            <a:off x="1032357" y="1822346"/>
            <a:ext cx="8944504" cy="4185761"/>
          </a:xfrm>
        </p:spPr>
        <p:txBody>
          <a:bodyPr wrap="square">
            <a:spAutoFit/>
          </a:bodyPr>
          <a:lstStyle/>
          <a:p>
            <a:pPr marL="0" indent="0">
              <a:spcBef>
                <a:spcPts val="1200"/>
              </a:spcBef>
              <a:buClrTx/>
              <a:buSzPct val="100000"/>
              <a:buFont typeface="Trebuchet MS" panose="020B0603020202020204" pitchFamily="34" charset="0"/>
              <a:buChar char="​"/>
            </a:pPr>
            <a:r>
              <a:rPr lang="en-US" sz="1600" dirty="0">
                <a:solidFill>
                  <a:schemeClr val="tx1">
                    <a:lumMod val="100000"/>
                  </a:schemeClr>
                </a:solidFill>
              </a:rPr>
              <a:t>What are the questions and challenges when concretely using (the SAREF framework of) ontologies to develop large scale applications? Especially when going across-domain, like the Interconnect project aims to do, by combining the different domains of smart homes, buildings and grids?</a:t>
            </a:r>
          </a:p>
          <a:p>
            <a:pPr marL="324000" lvl="1" indent="-216000">
              <a:lnSpc>
                <a:spcPct val="100000"/>
              </a:lnSpc>
              <a:spcBef>
                <a:spcPts val="1200"/>
              </a:spcBef>
              <a:buClr>
                <a:schemeClr val="tx2">
                  <a:lumMod val="100000"/>
                </a:schemeClr>
              </a:buClr>
              <a:buSzPct val="100000"/>
              <a:buFont typeface="Trebuchet MS" panose="020B0603020202020204" pitchFamily="34" charset="0"/>
              <a:buChar char="•"/>
            </a:pPr>
            <a:r>
              <a:rPr lang="nl-NL" sz="1600" dirty="0" err="1">
                <a:solidFill>
                  <a:schemeClr val="tx1">
                    <a:lumMod val="100000"/>
                  </a:schemeClr>
                </a:solidFill>
              </a:rPr>
              <a:t>Each</a:t>
            </a:r>
            <a:r>
              <a:rPr lang="nl-NL" sz="1600" dirty="0">
                <a:solidFill>
                  <a:schemeClr val="tx1">
                    <a:lumMod val="100000"/>
                  </a:schemeClr>
                </a:solidFill>
              </a:rPr>
              <a:t> domain (</a:t>
            </a:r>
            <a:r>
              <a:rPr lang="en-US" sz="1600" dirty="0">
                <a:solidFill>
                  <a:schemeClr val="tx1">
                    <a:lumMod val="100000"/>
                  </a:schemeClr>
                </a:solidFill>
              </a:rPr>
              <a:t>smart homes, buildings and grids</a:t>
            </a:r>
            <a:r>
              <a:rPr lang="nl-NL" sz="1600" dirty="0">
                <a:solidFill>
                  <a:schemeClr val="tx1">
                    <a:lumMod val="100000"/>
                  </a:schemeClr>
                </a:solidFill>
              </a:rPr>
              <a:t>) is </a:t>
            </a:r>
            <a:r>
              <a:rPr lang="nl-NL" sz="1600" dirty="0" err="1">
                <a:solidFill>
                  <a:schemeClr val="tx1">
                    <a:lumMod val="100000"/>
                  </a:schemeClr>
                </a:solidFill>
              </a:rPr>
              <a:t>an</a:t>
            </a:r>
            <a:r>
              <a:rPr lang="nl-NL" sz="1600" dirty="0">
                <a:solidFill>
                  <a:schemeClr val="tx1">
                    <a:lumMod val="100000"/>
                  </a:schemeClr>
                </a:solidFill>
              </a:rPr>
              <a:t> </a:t>
            </a:r>
            <a:r>
              <a:rPr lang="nl-NL" sz="1600" dirty="0" err="1">
                <a:solidFill>
                  <a:schemeClr val="tx1">
                    <a:lumMod val="100000"/>
                  </a:schemeClr>
                </a:solidFill>
              </a:rPr>
              <a:t>already</a:t>
            </a:r>
            <a:r>
              <a:rPr lang="nl-NL" sz="1600" dirty="0">
                <a:solidFill>
                  <a:schemeClr val="tx1">
                    <a:lumMod val="100000"/>
                  </a:schemeClr>
                </a:solidFill>
              </a:rPr>
              <a:t> </a:t>
            </a:r>
            <a:r>
              <a:rPr lang="nl-NL" sz="1600" dirty="0" err="1">
                <a:solidFill>
                  <a:schemeClr val="tx1">
                    <a:lumMod val="100000"/>
                  </a:schemeClr>
                </a:solidFill>
              </a:rPr>
              <a:t>mature</a:t>
            </a:r>
            <a:r>
              <a:rPr lang="nl-NL" sz="1600" dirty="0">
                <a:solidFill>
                  <a:schemeClr val="tx1">
                    <a:lumMod val="100000"/>
                  </a:schemeClr>
                </a:solidFill>
              </a:rPr>
              <a:t> domain </a:t>
            </a:r>
            <a:r>
              <a:rPr lang="nl-NL" sz="1600" dirty="0" err="1">
                <a:solidFill>
                  <a:schemeClr val="tx1">
                    <a:lumMod val="100000"/>
                  </a:schemeClr>
                </a:solidFill>
              </a:rPr>
              <a:t>that</a:t>
            </a:r>
            <a:r>
              <a:rPr lang="nl-NL" sz="1600" dirty="0">
                <a:solidFill>
                  <a:schemeClr val="tx1">
                    <a:lumMod val="100000"/>
                  </a:schemeClr>
                </a:solidFill>
              </a:rPr>
              <a:t> </a:t>
            </a:r>
            <a:r>
              <a:rPr lang="nl-NL" sz="1600" dirty="0" err="1">
                <a:solidFill>
                  <a:schemeClr val="tx1">
                    <a:lumMod val="100000"/>
                  </a:schemeClr>
                </a:solidFill>
              </a:rPr>
              <a:t>evolved</a:t>
            </a:r>
            <a:r>
              <a:rPr lang="nl-NL" sz="1600" dirty="0">
                <a:solidFill>
                  <a:schemeClr val="tx1">
                    <a:lumMod val="100000"/>
                  </a:schemeClr>
                </a:solidFill>
              </a:rPr>
              <a:t> in parallel, </a:t>
            </a:r>
            <a:r>
              <a:rPr lang="nl-NL" sz="1600" dirty="0" err="1">
                <a:solidFill>
                  <a:schemeClr val="tx1">
                    <a:lumMod val="100000"/>
                  </a:schemeClr>
                </a:solidFill>
              </a:rPr>
              <a:t>from</a:t>
            </a:r>
            <a:r>
              <a:rPr lang="nl-NL" sz="1600" dirty="0">
                <a:solidFill>
                  <a:schemeClr val="tx1">
                    <a:lumMod val="100000"/>
                  </a:schemeClr>
                </a:solidFill>
              </a:rPr>
              <a:t> different </a:t>
            </a:r>
            <a:r>
              <a:rPr lang="nl-NL" sz="1600" dirty="0" err="1">
                <a:solidFill>
                  <a:schemeClr val="tx1">
                    <a:lumMod val="100000"/>
                  </a:schemeClr>
                </a:solidFill>
              </a:rPr>
              <a:t>requirements</a:t>
            </a:r>
            <a:r>
              <a:rPr lang="nl-NL" sz="1600" dirty="0">
                <a:solidFill>
                  <a:schemeClr val="tx1">
                    <a:lumMod val="100000"/>
                  </a:schemeClr>
                </a:solidFill>
              </a:rPr>
              <a:t>, different </a:t>
            </a:r>
            <a:r>
              <a:rPr lang="nl-NL" sz="1600" dirty="0" err="1">
                <a:solidFill>
                  <a:schemeClr val="tx1">
                    <a:lumMod val="100000"/>
                  </a:schemeClr>
                </a:solidFill>
              </a:rPr>
              <a:t>communities</a:t>
            </a:r>
            <a:r>
              <a:rPr lang="nl-NL" sz="1600" dirty="0">
                <a:solidFill>
                  <a:schemeClr val="tx1">
                    <a:lumMod val="100000"/>
                  </a:schemeClr>
                </a:solidFill>
              </a:rPr>
              <a:t>, </a:t>
            </a:r>
            <a:r>
              <a:rPr lang="nl-NL" sz="1600" dirty="0" err="1">
                <a:solidFill>
                  <a:schemeClr val="tx1">
                    <a:lumMod val="100000"/>
                  </a:schemeClr>
                </a:solidFill>
              </a:rPr>
              <a:t>creating</a:t>
            </a:r>
            <a:r>
              <a:rPr lang="nl-NL" sz="1600" dirty="0">
                <a:solidFill>
                  <a:schemeClr val="tx1">
                    <a:lumMod val="100000"/>
                  </a:schemeClr>
                </a:solidFill>
              </a:rPr>
              <a:t> different </a:t>
            </a:r>
            <a:r>
              <a:rPr lang="nl-NL" sz="1600" dirty="0" err="1">
                <a:solidFill>
                  <a:schemeClr val="tx1">
                    <a:lumMod val="100000"/>
                  </a:schemeClr>
                </a:solidFill>
              </a:rPr>
              <a:t>standards</a:t>
            </a:r>
            <a:r>
              <a:rPr lang="nl-NL" sz="1600" dirty="0">
                <a:solidFill>
                  <a:schemeClr val="tx1">
                    <a:lumMod val="100000"/>
                  </a:schemeClr>
                </a:solidFill>
              </a:rPr>
              <a:t>, </a:t>
            </a:r>
            <a:r>
              <a:rPr lang="nl-NL" sz="1600" dirty="0" err="1">
                <a:solidFill>
                  <a:schemeClr val="tx1">
                    <a:lumMod val="100000"/>
                  </a:schemeClr>
                </a:solidFill>
              </a:rPr>
              <a:t>based</a:t>
            </a:r>
            <a:r>
              <a:rPr lang="nl-NL" sz="1600" dirty="0">
                <a:solidFill>
                  <a:schemeClr val="tx1">
                    <a:lumMod val="100000"/>
                  </a:schemeClr>
                </a:solidFill>
              </a:rPr>
              <a:t> on different </a:t>
            </a:r>
            <a:r>
              <a:rPr lang="nl-NL" sz="1600" dirty="0" err="1">
                <a:solidFill>
                  <a:schemeClr val="tx1">
                    <a:lumMod val="100000"/>
                  </a:schemeClr>
                </a:solidFill>
              </a:rPr>
              <a:t>architectures</a:t>
            </a:r>
            <a:r>
              <a:rPr lang="nl-NL" sz="1600" dirty="0">
                <a:solidFill>
                  <a:schemeClr val="tx1">
                    <a:lumMod val="100000"/>
                  </a:schemeClr>
                </a:solidFill>
              </a:rPr>
              <a:t>, etc. </a:t>
            </a:r>
            <a:r>
              <a:rPr lang="nl-NL" sz="1600" dirty="0" err="1">
                <a:solidFill>
                  <a:schemeClr val="tx1">
                    <a:lumMod val="100000"/>
                  </a:schemeClr>
                </a:solidFill>
              </a:rPr>
              <a:t>Combining</a:t>
            </a:r>
            <a:r>
              <a:rPr lang="nl-NL" sz="1600" dirty="0">
                <a:solidFill>
                  <a:schemeClr val="tx1">
                    <a:lumMod val="100000"/>
                  </a:schemeClr>
                </a:solidFill>
              </a:rPr>
              <a:t> is a </a:t>
            </a:r>
            <a:r>
              <a:rPr lang="nl-NL" sz="1600" dirty="0" err="1">
                <a:solidFill>
                  <a:schemeClr val="tx1">
                    <a:lumMod val="100000"/>
                  </a:schemeClr>
                </a:solidFill>
              </a:rPr>
              <a:t>huge</a:t>
            </a:r>
            <a:r>
              <a:rPr lang="nl-NL" sz="1600" dirty="0">
                <a:solidFill>
                  <a:schemeClr val="tx1">
                    <a:lumMod val="100000"/>
                  </a:schemeClr>
                </a:solidFill>
              </a:rPr>
              <a:t> </a:t>
            </a:r>
            <a:r>
              <a:rPr lang="nl-NL" sz="1600" dirty="0" err="1">
                <a:solidFill>
                  <a:schemeClr val="tx1">
                    <a:lumMod val="100000"/>
                  </a:schemeClr>
                </a:solidFill>
              </a:rPr>
              <a:t>challenge</a:t>
            </a:r>
            <a:r>
              <a:rPr lang="nl-NL" sz="1600" dirty="0">
                <a:solidFill>
                  <a:schemeClr val="tx1">
                    <a:lumMod val="100000"/>
                  </a:schemeClr>
                </a:solidFill>
              </a:rPr>
              <a:t>! </a:t>
            </a:r>
          </a:p>
          <a:p>
            <a:pPr marL="781200" lvl="2" indent="-216000">
              <a:lnSpc>
                <a:spcPct val="100000"/>
              </a:lnSpc>
              <a:spcBef>
                <a:spcPts val="1200"/>
              </a:spcBef>
              <a:buClr>
                <a:schemeClr val="tx2">
                  <a:lumMod val="100000"/>
                </a:schemeClr>
              </a:buClr>
              <a:buSzPct val="100000"/>
              <a:buFont typeface="Trebuchet MS" panose="020B0603020202020204" pitchFamily="34" charset="0"/>
              <a:buChar char="•"/>
            </a:pPr>
            <a:r>
              <a:rPr lang="nl-NL" sz="1400" dirty="0">
                <a:solidFill>
                  <a:schemeClr val="tx1">
                    <a:lumMod val="100000"/>
                  </a:schemeClr>
                </a:solidFill>
              </a:rPr>
              <a:t>See, </a:t>
            </a:r>
            <a:r>
              <a:rPr lang="nl-NL" sz="1400" dirty="0" err="1">
                <a:solidFill>
                  <a:schemeClr val="tx1">
                    <a:lumMod val="100000"/>
                  </a:schemeClr>
                </a:solidFill>
              </a:rPr>
              <a:t>for</a:t>
            </a:r>
            <a:r>
              <a:rPr lang="nl-NL" sz="1400" dirty="0">
                <a:solidFill>
                  <a:schemeClr val="tx1">
                    <a:lumMod val="100000"/>
                  </a:schemeClr>
                </a:solidFill>
              </a:rPr>
              <a:t> </a:t>
            </a:r>
            <a:r>
              <a:rPr lang="nl-NL" sz="1400" dirty="0" err="1">
                <a:solidFill>
                  <a:schemeClr val="tx1">
                    <a:lumMod val="100000"/>
                  </a:schemeClr>
                </a:solidFill>
              </a:rPr>
              <a:t>example</a:t>
            </a:r>
            <a:r>
              <a:rPr lang="nl-NL" sz="1400" dirty="0">
                <a:solidFill>
                  <a:schemeClr val="tx1">
                    <a:lumMod val="100000"/>
                  </a:schemeClr>
                </a:solidFill>
              </a:rPr>
              <a:t>, </a:t>
            </a:r>
            <a:r>
              <a:rPr lang="nl-NL" sz="1400" dirty="0" err="1">
                <a:solidFill>
                  <a:schemeClr val="tx1">
                    <a:lumMod val="100000"/>
                  </a:schemeClr>
                </a:solidFill>
              </a:rPr>
              <a:t>the</a:t>
            </a:r>
            <a:r>
              <a:rPr lang="nl-NL" sz="1400" dirty="0">
                <a:solidFill>
                  <a:schemeClr val="tx1">
                    <a:lumMod val="100000"/>
                  </a:schemeClr>
                </a:solidFill>
              </a:rPr>
              <a:t> </a:t>
            </a:r>
            <a:r>
              <a:rPr lang="nl-NL" sz="1400" dirty="0" err="1">
                <a:solidFill>
                  <a:schemeClr val="tx1">
                    <a:lumMod val="100000"/>
                  </a:schemeClr>
                </a:solidFill>
              </a:rPr>
              <a:t>challenge</a:t>
            </a:r>
            <a:r>
              <a:rPr lang="nl-NL" sz="1400" dirty="0">
                <a:solidFill>
                  <a:schemeClr val="tx1">
                    <a:lumMod val="100000"/>
                  </a:schemeClr>
                </a:solidFill>
              </a:rPr>
              <a:t> of </a:t>
            </a:r>
            <a:r>
              <a:rPr lang="nl-NL" sz="1400" dirty="0" err="1">
                <a:solidFill>
                  <a:schemeClr val="tx1">
                    <a:lumMod val="100000"/>
                  </a:schemeClr>
                </a:solidFill>
              </a:rPr>
              <a:t>defining</a:t>
            </a:r>
            <a:r>
              <a:rPr lang="nl-NL" sz="1400" dirty="0">
                <a:solidFill>
                  <a:schemeClr val="tx1">
                    <a:lumMod val="100000"/>
                  </a:schemeClr>
                </a:solidFill>
              </a:rPr>
              <a:t> a </a:t>
            </a:r>
            <a:r>
              <a:rPr lang="nl-NL" sz="1400" dirty="0" err="1">
                <a:solidFill>
                  <a:schemeClr val="tx1">
                    <a:lumMod val="100000"/>
                  </a:schemeClr>
                </a:solidFill>
              </a:rPr>
              <a:t>reference</a:t>
            </a:r>
            <a:r>
              <a:rPr lang="nl-NL" sz="1400" dirty="0">
                <a:solidFill>
                  <a:schemeClr val="tx1">
                    <a:lumMod val="100000"/>
                  </a:schemeClr>
                </a:solidFill>
              </a:rPr>
              <a:t> </a:t>
            </a:r>
            <a:r>
              <a:rPr lang="nl-NL" sz="1400" dirty="0" err="1">
                <a:solidFill>
                  <a:schemeClr val="tx1">
                    <a:lumMod val="100000"/>
                  </a:schemeClr>
                </a:solidFill>
              </a:rPr>
              <a:t>architecture</a:t>
            </a:r>
            <a:r>
              <a:rPr lang="nl-NL" sz="1400" dirty="0">
                <a:solidFill>
                  <a:schemeClr val="tx1">
                    <a:lumMod val="100000"/>
                  </a:schemeClr>
                </a:solidFill>
              </a:rPr>
              <a:t> </a:t>
            </a:r>
            <a:r>
              <a:rPr lang="nl-NL" sz="1400" dirty="0" err="1">
                <a:solidFill>
                  <a:schemeClr val="tx1">
                    <a:lumMod val="100000"/>
                  </a:schemeClr>
                </a:solidFill>
              </a:rPr>
              <a:t>that</a:t>
            </a:r>
            <a:r>
              <a:rPr lang="nl-NL" sz="1400" dirty="0">
                <a:solidFill>
                  <a:schemeClr val="tx1">
                    <a:lumMod val="100000"/>
                  </a:schemeClr>
                </a:solidFill>
              </a:rPr>
              <a:t> </a:t>
            </a:r>
            <a:r>
              <a:rPr lang="nl-NL" sz="1400" dirty="0" err="1">
                <a:solidFill>
                  <a:schemeClr val="tx1">
                    <a:lumMod val="100000"/>
                  </a:schemeClr>
                </a:solidFill>
              </a:rPr>
              <a:t>harmonizes</a:t>
            </a:r>
            <a:r>
              <a:rPr lang="nl-NL" sz="1400" dirty="0">
                <a:solidFill>
                  <a:schemeClr val="tx1">
                    <a:lumMod val="100000"/>
                  </a:schemeClr>
                </a:solidFill>
              </a:rPr>
              <a:t> </a:t>
            </a:r>
            <a:r>
              <a:rPr lang="nl-NL" sz="1400" dirty="0" err="1">
                <a:solidFill>
                  <a:schemeClr val="tx1">
                    <a:lumMod val="100000"/>
                  </a:schemeClr>
                </a:solidFill>
              </a:rPr>
              <a:t>existing</a:t>
            </a:r>
            <a:r>
              <a:rPr lang="nl-NL" sz="1400" dirty="0">
                <a:solidFill>
                  <a:schemeClr val="tx1">
                    <a:lumMod val="100000"/>
                  </a:schemeClr>
                </a:solidFill>
              </a:rPr>
              <a:t> </a:t>
            </a:r>
            <a:r>
              <a:rPr lang="nl-NL" sz="1400" dirty="0" err="1">
                <a:solidFill>
                  <a:schemeClr val="tx1">
                    <a:lumMod val="100000"/>
                  </a:schemeClr>
                </a:solidFill>
              </a:rPr>
              <a:t>IoT</a:t>
            </a:r>
            <a:r>
              <a:rPr lang="nl-NL" sz="1400" dirty="0">
                <a:solidFill>
                  <a:schemeClr val="tx1">
                    <a:lumMod val="100000"/>
                  </a:schemeClr>
                </a:solidFill>
              </a:rPr>
              <a:t> </a:t>
            </a:r>
            <a:r>
              <a:rPr lang="nl-NL" sz="1400" dirty="0" err="1">
                <a:solidFill>
                  <a:schemeClr val="tx1">
                    <a:lumMod val="100000"/>
                  </a:schemeClr>
                </a:solidFill>
              </a:rPr>
              <a:t>reference</a:t>
            </a:r>
            <a:r>
              <a:rPr lang="nl-NL" sz="1400" dirty="0">
                <a:solidFill>
                  <a:schemeClr val="tx1">
                    <a:lumMod val="100000"/>
                  </a:schemeClr>
                </a:solidFill>
              </a:rPr>
              <a:t> </a:t>
            </a:r>
            <a:r>
              <a:rPr lang="nl-NL" sz="1400" dirty="0" err="1">
                <a:solidFill>
                  <a:schemeClr val="tx1">
                    <a:lumMod val="100000"/>
                  </a:schemeClr>
                </a:solidFill>
              </a:rPr>
              <a:t>architectures</a:t>
            </a:r>
            <a:r>
              <a:rPr lang="nl-NL" sz="1400" dirty="0">
                <a:solidFill>
                  <a:schemeClr val="tx1">
                    <a:lumMod val="100000"/>
                  </a:schemeClr>
                </a:solidFill>
              </a:rPr>
              <a:t> </a:t>
            </a:r>
            <a:r>
              <a:rPr lang="nl-NL" sz="1400" dirty="0" err="1">
                <a:solidFill>
                  <a:schemeClr val="tx1">
                    <a:lumMod val="100000"/>
                  </a:schemeClr>
                </a:solidFill>
              </a:rPr>
              <a:t>with</a:t>
            </a:r>
            <a:r>
              <a:rPr lang="nl-NL" sz="1400" dirty="0">
                <a:solidFill>
                  <a:schemeClr val="tx1">
                    <a:lumMod val="100000"/>
                  </a:schemeClr>
                </a:solidFill>
              </a:rPr>
              <a:t> Energy </a:t>
            </a:r>
            <a:r>
              <a:rPr lang="nl-NL" sz="1400" dirty="0" err="1">
                <a:solidFill>
                  <a:schemeClr val="tx1">
                    <a:lumMod val="100000"/>
                  </a:schemeClr>
                </a:solidFill>
              </a:rPr>
              <a:t>architectures</a:t>
            </a:r>
            <a:r>
              <a:rPr lang="nl-NL" sz="1400" dirty="0">
                <a:solidFill>
                  <a:schemeClr val="tx1">
                    <a:lumMod val="100000"/>
                  </a:schemeClr>
                </a:solidFill>
              </a:rPr>
              <a:t>, </a:t>
            </a:r>
            <a:r>
              <a:rPr lang="nl-NL" sz="1400" dirty="0" err="1">
                <a:solidFill>
                  <a:schemeClr val="tx1">
                    <a:lumMod val="100000"/>
                  </a:schemeClr>
                </a:solidFill>
              </a:rPr>
              <a:t>while</a:t>
            </a:r>
            <a:r>
              <a:rPr lang="nl-NL" sz="1400" dirty="0">
                <a:solidFill>
                  <a:schemeClr val="tx1">
                    <a:lumMod val="100000"/>
                  </a:schemeClr>
                </a:solidFill>
              </a:rPr>
              <a:t> </a:t>
            </a:r>
            <a:r>
              <a:rPr lang="nl-NL" sz="1400" dirty="0" err="1">
                <a:solidFill>
                  <a:schemeClr val="tx1">
                    <a:lumMod val="100000"/>
                  </a:schemeClr>
                </a:solidFill>
              </a:rPr>
              <a:t>also</a:t>
            </a:r>
            <a:r>
              <a:rPr lang="nl-NL" sz="1400" dirty="0">
                <a:solidFill>
                  <a:schemeClr val="tx1">
                    <a:lumMod val="100000"/>
                  </a:schemeClr>
                </a:solidFill>
              </a:rPr>
              <a:t> </a:t>
            </a:r>
            <a:r>
              <a:rPr lang="nl-NL" sz="1400" dirty="0" err="1">
                <a:solidFill>
                  <a:schemeClr val="tx1">
                    <a:lumMod val="100000"/>
                  </a:schemeClr>
                </a:solidFill>
              </a:rPr>
              <a:t>incorporating</a:t>
            </a:r>
            <a:r>
              <a:rPr lang="nl-NL" sz="1400" dirty="0">
                <a:solidFill>
                  <a:schemeClr val="tx1">
                    <a:lumMod val="100000"/>
                  </a:schemeClr>
                </a:solidFill>
              </a:rPr>
              <a:t> </a:t>
            </a:r>
            <a:r>
              <a:rPr lang="nl-NL" sz="1400" dirty="0" err="1">
                <a:solidFill>
                  <a:schemeClr val="tx1">
                    <a:lumMod val="100000"/>
                  </a:schemeClr>
                </a:solidFill>
              </a:rPr>
              <a:t>semantic</a:t>
            </a:r>
            <a:r>
              <a:rPr lang="nl-NL" sz="1400" dirty="0">
                <a:solidFill>
                  <a:schemeClr val="tx1">
                    <a:lumMod val="100000"/>
                  </a:schemeClr>
                </a:solidFill>
              </a:rPr>
              <a:t> </a:t>
            </a:r>
            <a:r>
              <a:rPr lang="nl-NL" sz="1400" dirty="0" err="1">
                <a:solidFill>
                  <a:schemeClr val="tx1">
                    <a:lumMod val="100000"/>
                  </a:schemeClr>
                </a:solidFill>
              </a:rPr>
              <a:t>components</a:t>
            </a:r>
            <a:r>
              <a:rPr lang="nl-NL" sz="1400" dirty="0">
                <a:solidFill>
                  <a:schemeClr val="tx1">
                    <a:lumMod val="100000"/>
                  </a:schemeClr>
                </a:solidFill>
              </a:rPr>
              <a:t> </a:t>
            </a:r>
            <a:r>
              <a:rPr lang="nl-NL" sz="1400" dirty="0" err="1">
                <a:solidFill>
                  <a:schemeClr val="tx1">
                    <a:lumMod val="100000"/>
                  </a:schemeClr>
                </a:solidFill>
              </a:rPr>
              <a:t>to</a:t>
            </a:r>
            <a:r>
              <a:rPr lang="nl-NL" sz="1400" dirty="0">
                <a:solidFill>
                  <a:schemeClr val="tx1">
                    <a:lumMod val="100000"/>
                  </a:schemeClr>
                </a:solidFill>
              </a:rPr>
              <a:t> </a:t>
            </a:r>
            <a:r>
              <a:rPr lang="nl-NL" sz="1400" dirty="0" err="1">
                <a:solidFill>
                  <a:schemeClr val="tx1">
                    <a:lumMod val="100000"/>
                  </a:schemeClr>
                </a:solidFill>
              </a:rPr>
              <a:t>allow</a:t>
            </a:r>
            <a:r>
              <a:rPr lang="nl-NL" sz="1400" dirty="0">
                <a:solidFill>
                  <a:schemeClr val="tx1">
                    <a:lumMod val="100000"/>
                  </a:schemeClr>
                </a:solidFill>
              </a:rPr>
              <a:t> full </a:t>
            </a:r>
            <a:r>
              <a:rPr lang="nl-NL" sz="1400" dirty="0" err="1">
                <a:solidFill>
                  <a:schemeClr val="tx1">
                    <a:lumMod val="100000"/>
                  </a:schemeClr>
                </a:solidFill>
              </a:rPr>
              <a:t>exploitation</a:t>
            </a:r>
            <a:r>
              <a:rPr lang="nl-NL" sz="1400" dirty="0">
                <a:solidFill>
                  <a:schemeClr val="tx1">
                    <a:lumMod val="100000"/>
                  </a:schemeClr>
                </a:solidFill>
              </a:rPr>
              <a:t> of </a:t>
            </a:r>
            <a:r>
              <a:rPr lang="nl-NL" sz="1400" dirty="0" err="1">
                <a:solidFill>
                  <a:schemeClr val="tx1">
                    <a:lumMod val="100000"/>
                  </a:schemeClr>
                </a:solidFill>
              </a:rPr>
              <a:t>the</a:t>
            </a:r>
            <a:r>
              <a:rPr lang="nl-NL" sz="1400" dirty="0">
                <a:solidFill>
                  <a:schemeClr val="tx1">
                    <a:lumMod val="100000"/>
                  </a:schemeClr>
                </a:solidFill>
              </a:rPr>
              <a:t> </a:t>
            </a:r>
            <a:r>
              <a:rPr lang="nl-NL" sz="1400" dirty="0" err="1">
                <a:solidFill>
                  <a:schemeClr val="tx1">
                    <a:lumMod val="100000"/>
                  </a:schemeClr>
                </a:solidFill>
              </a:rPr>
              <a:t>reasoning</a:t>
            </a:r>
            <a:r>
              <a:rPr lang="nl-NL" sz="1400" dirty="0">
                <a:solidFill>
                  <a:schemeClr val="tx1">
                    <a:lumMod val="100000"/>
                  </a:schemeClr>
                </a:solidFill>
              </a:rPr>
              <a:t> </a:t>
            </a:r>
            <a:r>
              <a:rPr lang="nl-NL" sz="1400" dirty="0" err="1">
                <a:solidFill>
                  <a:schemeClr val="tx1">
                    <a:lumMod val="100000"/>
                  </a:schemeClr>
                </a:solidFill>
              </a:rPr>
              <a:t>capabilities</a:t>
            </a:r>
            <a:r>
              <a:rPr lang="nl-NL" sz="1400" dirty="0">
                <a:solidFill>
                  <a:schemeClr val="tx1">
                    <a:lumMod val="100000"/>
                  </a:schemeClr>
                </a:solidFill>
              </a:rPr>
              <a:t> </a:t>
            </a:r>
            <a:r>
              <a:rPr lang="nl-NL" sz="1400" dirty="0" err="1">
                <a:solidFill>
                  <a:schemeClr val="tx1">
                    <a:lumMod val="100000"/>
                  </a:schemeClr>
                </a:solidFill>
              </a:rPr>
              <a:t>associated</a:t>
            </a:r>
            <a:r>
              <a:rPr lang="nl-NL" sz="1400" dirty="0">
                <a:solidFill>
                  <a:schemeClr val="tx1">
                    <a:lumMod val="100000"/>
                  </a:schemeClr>
                </a:solidFill>
              </a:rPr>
              <a:t> </a:t>
            </a:r>
            <a:r>
              <a:rPr lang="nl-NL" sz="1400" dirty="0" err="1">
                <a:solidFill>
                  <a:schemeClr val="tx1">
                    <a:lumMod val="100000"/>
                  </a:schemeClr>
                </a:solidFill>
              </a:rPr>
              <a:t>with</a:t>
            </a:r>
            <a:r>
              <a:rPr lang="nl-NL" sz="1400" dirty="0">
                <a:solidFill>
                  <a:schemeClr val="tx1">
                    <a:lumMod val="100000"/>
                  </a:schemeClr>
                </a:solidFill>
              </a:rPr>
              <a:t> </a:t>
            </a:r>
            <a:r>
              <a:rPr lang="nl-NL" sz="1400" dirty="0" err="1">
                <a:solidFill>
                  <a:schemeClr val="tx1">
                    <a:lumMod val="100000"/>
                  </a:schemeClr>
                </a:solidFill>
              </a:rPr>
              <a:t>the</a:t>
            </a:r>
            <a:r>
              <a:rPr lang="nl-NL" sz="1400" dirty="0">
                <a:solidFill>
                  <a:schemeClr val="tx1">
                    <a:lumMod val="100000"/>
                  </a:schemeClr>
                </a:solidFill>
              </a:rPr>
              <a:t> </a:t>
            </a:r>
            <a:r>
              <a:rPr lang="nl-NL" sz="1400" dirty="0" err="1">
                <a:solidFill>
                  <a:schemeClr val="tx1">
                    <a:lumMod val="100000"/>
                  </a:schemeClr>
                </a:solidFill>
              </a:rPr>
              <a:t>ontologies</a:t>
            </a:r>
            <a:endParaRPr lang="nl-NL" sz="1400" dirty="0">
              <a:solidFill>
                <a:schemeClr val="tx1">
                  <a:lumMod val="100000"/>
                </a:schemeClr>
              </a:solidFill>
            </a:endParaRPr>
          </a:p>
          <a:p>
            <a:pPr marL="324000" lvl="1" indent="-216000">
              <a:lnSpc>
                <a:spcPct val="100000"/>
              </a:lnSpc>
              <a:spcBef>
                <a:spcPts val="1200"/>
              </a:spcBef>
              <a:buClr>
                <a:schemeClr val="tx2">
                  <a:lumMod val="100000"/>
                </a:schemeClr>
              </a:buClr>
              <a:buSzPct val="100000"/>
              <a:buFont typeface="Trebuchet MS" panose="020B0603020202020204" pitchFamily="34" charset="0"/>
              <a:buChar char="•"/>
            </a:pPr>
            <a:r>
              <a:rPr lang="nl-NL" sz="1600" dirty="0">
                <a:solidFill>
                  <a:schemeClr val="tx1">
                    <a:lumMod val="100000"/>
                  </a:schemeClr>
                </a:solidFill>
              </a:rPr>
              <a:t>New </a:t>
            </a:r>
            <a:r>
              <a:rPr lang="nl-NL" sz="1600" dirty="0" err="1">
                <a:solidFill>
                  <a:schemeClr val="tx1">
                    <a:lumMod val="100000"/>
                  </a:schemeClr>
                </a:solidFill>
              </a:rPr>
              <a:t>added-value</a:t>
            </a:r>
            <a:r>
              <a:rPr lang="nl-NL" sz="1600" dirty="0">
                <a:solidFill>
                  <a:schemeClr val="tx1">
                    <a:lumMod val="100000"/>
                  </a:schemeClr>
                </a:solidFill>
              </a:rPr>
              <a:t> services </a:t>
            </a:r>
            <a:r>
              <a:rPr lang="nl-NL" sz="1600" dirty="0" err="1">
                <a:solidFill>
                  <a:schemeClr val="tx1">
                    <a:lumMod val="100000"/>
                  </a:schemeClr>
                </a:solidFill>
              </a:rPr>
              <a:t>for</a:t>
            </a:r>
            <a:r>
              <a:rPr lang="nl-NL" sz="1600" dirty="0">
                <a:solidFill>
                  <a:schemeClr val="tx1">
                    <a:lumMod val="100000"/>
                  </a:schemeClr>
                </a:solidFill>
              </a:rPr>
              <a:t> </a:t>
            </a:r>
            <a:r>
              <a:rPr lang="nl-NL" sz="1600" dirty="0" err="1">
                <a:solidFill>
                  <a:schemeClr val="tx1">
                    <a:lumMod val="100000"/>
                  </a:schemeClr>
                </a:solidFill>
              </a:rPr>
              <a:t>the</a:t>
            </a:r>
            <a:r>
              <a:rPr lang="nl-NL" sz="1600" dirty="0">
                <a:solidFill>
                  <a:schemeClr val="tx1">
                    <a:lumMod val="100000"/>
                  </a:schemeClr>
                </a:solidFill>
              </a:rPr>
              <a:t> users </a:t>
            </a:r>
            <a:r>
              <a:rPr lang="nl-NL" sz="1600" dirty="0" err="1">
                <a:solidFill>
                  <a:schemeClr val="tx1">
                    <a:lumMod val="100000"/>
                  </a:schemeClr>
                </a:solidFill>
              </a:rPr>
              <a:t>arising</a:t>
            </a:r>
            <a:r>
              <a:rPr lang="nl-NL" sz="1600" dirty="0">
                <a:solidFill>
                  <a:schemeClr val="tx1">
                    <a:lumMod val="100000"/>
                  </a:schemeClr>
                </a:solidFill>
              </a:rPr>
              <a:t> </a:t>
            </a:r>
            <a:r>
              <a:rPr lang="nl-NL" sz="1600" dirty="0" err="1">
                <a:solidFill>
                  <a:schemeClr val="tx1">
                    <a:lumMod val="100000"/>
                  </a:schemeClr>
                </a:solidFill>
              </a:rPr>
              <a:t>from</a:t>
            </a:r>
            <a:r>
              <a:rPr lang="nl-NL" sz="1600" dirty="0">
                <a:solidFill>
                  <a:schemeClr val="tx1">
                    <a:lumMod val="100000"/>
                  </a:schemeClr>
                </a:solidFill>
              </a:rPr>
              <a:t> data </a:t>
            </a:r>
            <a:r>
              <a:rPr lang="nl-NL" sz="1600" dirty="0" err="1">
                <a:solidFill>
                  <a:schemeClr val="tx1">
                    <a:lumMod val="100000"/>
                  </a:schemeClr>
                </a:solidFill>
              </a:rPr>
              <a:t>integration</a:t>
            </a:r>
            <a:r>
              <a:rPr lang="nl-NL" sz="1600" dirty="0">
                <a:solidFill>
                  <a:schemeClr val="tx1">
                    <a:lumMod val="100000"/>
                  </a:schemeClr>
                </a:solidFill>
              </a:rPr>
              <a:t> (</a:t>
            </a:r>
            <a:r>
              <a:rPr lang="nl-NL" sz="1600" dirty="0" err="1">
                <a:solidFill>
                  <a:schemeClr val="tx1">
                    <a:lumMod val="100000"/>
                  </a:schemeClr>
                </a:solidFill>
              </a:rPr>
              <a:t>using</a:t>
            </a:r>
            <a:r>
              <a:rPr lang="nl-NL" sz="1600" dirty="0">
                <a:solidFill>
                  <a:schemeClr val="tx1">
                    <a:lumMod val="100000"/>
                  </a:schemeClr>
                </a:solidFill>
              </a:rPr>
              <a:t> </a:t>
            </a:r>
            <a:r>
              <a:rPr lang="en-US" sz="1600" dirty="0">
                <a:solidFill>
                  <a:schemeClr val="tx1">
                    <a:lumMod val="100000"/>
                  </a:schemeClr>
                </a:solidFill>
              </a:rPr>
              <a:t>the SAREF framework of ontologies</a:t>
            </a:r>
            <a:r>
              <a:rPr lang="nl-NL" sz="1600" dirty="0">
                <a:solidFill>
                  <a:schemeClr val="tx1">
                    <a:lumMod val="100000"/>
                  </a:schemeClr>
                </a:solidFill>
              </a:rPr>
              <a:t>), but </a:t>
            </a:r>
            <a:r>
              <a:rPr lang="nl-NL" sz="1600" dirty="0" err="1">
                <a:solidFill>
                  <a:schemeClr val="tx1">
                    <a:lumMod val="100000"/>
                  </a:schemeClr>
                </a:solidFill>
              </a:rPr>
              <a:t>what</a:t>
            </a:r>
            <a:r>
              <a:rPr lang="nl-NL" sz="1600" dirty="0">
                <a:solidFill>
                  <a:schemeClr val="tx1">
                    <a:lumMod val="100000"/>
                  </a:schemeClr>
                </a:solidFill>
              </a:rPr>
              <a:t> are </a:t>
            </a:r>
            <a:r>
              <a:rPr lang="nl-NL" sz="1600" dirty="0" err="1">
                <a:solidFill>
                  <a:schemeClr val="tx1">
                    <a:lumMod val="100000"/>
                  </a:schemeClr>
                </a:solidFill>
              </a:rPr>
              <a:t>the</a:t>
            </a:r>
            <a:r>
              <a:rPr lang="nl-NL" sz="1600" dirty="0">
                <a:solidFill>
                  <a:schemeClr val="tx1">
                    <a:lumMod val="100000"/>
                  </a:schemeClr>
                </a:solidFill>
              </a:rPr>
              <a:t> business </a:t>
            </a:r>
            <a:r>
              <a:rPr lang="nl-NL" sz="1600" dirty="0" err="1">
                <a:solidFill>
                  <a:schemeClr val="tx1">
                    <a:lumMod val="100000"/>
                  </a:schemeClr>
                </a:solidFill>
              </a:rPr>
              <a:t>models</a:t>
            </a:r>
            <a:r>
              <a:rPr lang="nl-NL" sz="1600" dirty="0">
                <a:solidFill>
                  <a:schemeClr val="tx1">
                    <a:lumMod val="100000"/>
                  </a:schemeClr>
                </a:solidFill>
              </a:rPr>
              <a:t>? Marketplace </a:t>
            </a:r>
            <a:r>
              <a:rPr lang="nl-NL" sz="1600" dirty="0" err="1">
                <a:solidFill>
                  <a:schemeClr val="tx1">
                    <a:lumMod val="100000"/>
                  </a:schemeClr>
                </a:solidFill>
              </a:rPr>
              <a:t>for</a:t>
            </a:r>
            <a:r>
              <a:rPr lang="nl-NL" sz="1600" dirty="0">
                <a:solidFill>
                  <a:schemeClr val="tx1">
                    <a:lumMod val="100000"/>
                  </a:schemeClr>
                </a:solidFill>
              </a:rPr>
              <a:t> new services in EU </a:t>
            </a:r>
            <a:r>
              <a:rPr lang="en-US" sz="1600" dirty="0">
                <a:solidFill>
                  <a:schemeClr val="tx1">
                    <a:lumMod val="100000"/>
                  </a:schemeClr>
                </a:solidFill>
              </a:rPr>
              <a:t>to create </a:t>
            </a:r>
            <a:r>
              <a:rPr lang="en-US" sz="1600" dirty="0"/>
              <a:t>opportunities for SMEs and start-ups</a:t>
            </a:r>
            <a:r>
              <a:rPr lang="nl-NL" sz="1600" dirty="0">
                <a:solidFill>
                  <a:schemeClr val="tx1">
                    <a:lumMod val="100000"/>
                  </a:schemeClr>
                </a:solidFill>
              </a:rPr>
              <a:t>: </a:t>
            </a:r>
            <a:r>
              <a:rPr lang="nl-NL" sz="1600" dirty="0" err="1">
                <a:solidFill>
                  <a:schemeClr val="tx1">
                    <a:lumMod val="100000"/>
                  </a:schemeClr>
                </a:solidFill>
              </a:rPr>
              <a:t>what</a:t>
            </a:r>
            <a:r>
              <a:rPr lang="nl-NL" sz="1600" dirty="0">
                <a:solidFill>
                  <a:schemeClr val="tx1">
                    <a:lumMod val="100000"/>
                  </a:schemeClr>
                </a:solidFill>
              </a:rPr>
              <a:t> is </a:t>
            </a:r>
            <a:r>
              <a:rPr lang="nl-NL" sz="1600" dirty="0" err="1">
                <a:solidFill>
                  <a:schemeClr val="tx1">
                    <a:lumMod val="100000"/>
                  </a:schemeClr>
                </a:solidFill>
              </a:rPr>
              <a:t>it</a:t>
            </a:r>
            <a:r>
              <a:rPr lang="nl-NL" sz="1600" dirty="0">
                <a:solidFill>
                  <a:schemeClr val="tx1">
                    <a:lumMod val="100000"/>
                  </a:schemeClr>
                </a:solidFill>
              </a:rPr>
              <a:t> in </a:t>
            </a:r>
            <a:r>
              <a:rPr lang="nl-NL" sz="1600" dirty="0" err="1">
                <a:solidFill>
                  <a:schemeClr val="tx1">
                    <a:lumMod val="100000"/>
                  </a:schemeClr>
                </a:solidFill>
              </a:rPr>
              <a:t>practice</a:t>
            </a:r>
            <a:r>
              <a:rPr lang="nl-NL" sz="1600" dirty="0">
                <a:solidFill>
                  <a:schemeClr val="tx1">
                    <a:lumMod val="100000"/>
                  </a:schemeClr>
                </a:solidFill>
              </a:rPr>
              <a:t> </a:t>
            </a:r>
            <a:r>
              <a:rPr lang="nl-NL" sz="1600" dirty="0" err="1">
                <a:solidFill>
                  <a:schemeClr val="tx1">
                    <a:lumMod val="100000"/>
                  </a:schemeClr>
                </a:solidFill>
              </a:rPr>
              <a:t>and</a:t>
            </a:r>
            <a:r>
              <a:rPr lang="nl-NL" sz="1600" dirty="0">
                <a:solidFill>
                  <a:schemeClr val="tx1">
                    <a:lumMod val="100000"/>
                  </a:schemeClr>
                </a:solidFill>
              </a:rPr>
              <a:t> </a:t>
            </a:r>
            <a:r>
              <a:rPr lang="nl-NL" sz="1600" dirty="0" err="1">
                <a:solidFill>
                  <a:schemeClr val="tx1">
                    <a:lumMod val="100000"/>
                  </a:schemeClr>
                </a:solidFill>
              </a:rPr>
              <a:t>how</a:t>
            </a:r>
            <a:r>
              <a:rPr lang="nl-NL" sz="1600" dirty="0">
                <a:solidFill>
                  <a:schemeClr val="tx1">
                    <a:lumMod val="100000"/>
                  </a:schemeClr>
                </a:solidFill>
              </a:rPr>
              <a:t> does </a:t>
            </a:r>
            <a:r>
              <a:rPr lang="nl-NL" sz="1600" dirty="0" err="1">
                <a:solidFill>
                  <a:schemeClr val="tx1">
                    <a:lumMod val="100000"/>
                  </a:schemeClr>
                </a:solidFill>
              </a:rPr>
              <a:t>it</a:t>
            </a:r>
            <a:r>
              <a:rPr lang="nl-NL" sz="1600" dirty="0">
                <a:solidFill>
                  <a:schemeClr val="tx1">
                    <a:lumMod val="100000"/>
                  </a:schemeClr>
                </a:solidFill>
              </a:rPr>
              <a:t> look like? </a:t>
            </a:r>
          </a:p>
          <a:p>
            <a:pPr marL="324000" lvl="1" indent="-216000">
              <a:lnSpc>
                <a:spcPct val="100000"/>
              </a:lnSpc>
              <a:spcBef>
                <a:spcPts val="1200"/>
              </a:spcBef>
              <a:buClr>
                <a:schemeClr val="tx2">
                  <a:lumMod val="100000"/>
                </a:schemeClr>
              </a:buClr>
              <a:buSzPct val="100000"/>
              <a:buFont typeface="Trebuchet MS" panose="020B0603020202020204" pitchFamily="34" charset="0"/>
              <a:buChar char="•"/>
            </a:pPr>
            <a:r>
              <a:rPr lang="en-US" sz="1600" dirty="0">
                <a:solidFill>
                  <a:schemeClr val="tx1">
                    <a:lumMod val="100000"/>
                  </a:schemeClr>
                </a:solidFill>
              </a:rPr>
              <a:t>Security and privacy by design. Where to best address these concerns? At the level of the ontology? At the level of the underlying communication platforms? At both levels?</a:t>
            </a:r>
            <a:endParaRPr lang="nl-NL" sz="1600" dirty="0">
              <a:solidFill>
                <a:schemeClr val="tx1">
                  <a:lumMod val="100000"/>
                </a:schemeClr>
              </a:solidFill>
            </a:endParaRPr>
          </a:p>
        </p:txBody>
      </p:sp>
      <p:sp>
        <p:nvSpPr>
          <p:cNvPr id="4" name="Slide Number Placeholder 3">
            <a:extLst>
              <a:ext uri="{FF2B5EF4-FFF2-40B4-BE49-F238E27FC236}">
                <a16:creationId xmlns:a16="http://schemas.microsoft.com/office/drawing/2014/main" id="{07B273AD-8601-43DB-AD0B-AF5460EDD427}"/>
              </a:ext>
            </a:extLst>
          </p:cNvPr>
          <p:cNvSpPr>
            <a:spLocks noGrp="1"/>
          </p:cNvSpPr>
          <p:nvPr>
            <p:ph type="sldNum" sz="quarter" idx="4"/>
          </p:nvPr>
        </p:nvSpPr>
        <p:spPr/>
        <p:txBody>
          <a:bodyPr/>
          <a:lstStyle/>
          <a:p>
            <a:fld id="{EBC262BB-4310-134F-8D24-58475080D942}" type="slidenum">
              <a:rPr lang="en-US" smtClean="0"/>
              <a:pPr/>
              <a:t>52</a:t>
            </a:fld>
            <a:endParaRPr lang="en-US" dirty="0"/>
          </a:p>
        </p:txBody>
      </p:sp>
      <p:pic>
        <p:nvPicPr>
          <p:cNvPr id="7" name="Picture 1" descr="image002">
            <a:extLst>
              <a:ext uri="{FF2B5EF4-FFF2-40B4-BE49-F238E27FC236}">
                <a16:creationId xmlns:a16="http://schemas.microsoft.com/office/drawing/2014/main" id="{EEC7BB6E-FA6B-4F53-A7D0-C89F3D3B3434}"/>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8521744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652D591-41B3-4B01-8620-AEC22E39297C}"/>
              </a:ext>
            </a:extLst>
          </p:cNvPr>
          <p:cNvSpPr>
            <a:spLocks noGrp="1"/>
          </p:cNvSpPr>
          <p:nvPr>
            <p:ph type="body" sz="quarter" idx="10"/>
          </p:nvPr>
        </p:nvSpPr>
        <p:spPr>
          <a:xfrm>
            <a:off x="986457" y="324563"/>
            <a:ext cx="9289200" cy="523220"/>
          </a:xfrm>
        </p:spPr>
        <p:txBody>
          <a:bodyPr>
            <a:spAutoFit/>
          </a:bodyPr>
          <a:lstStyle/>
          <a:p>
            <a:r>
              <a:rPr lang="nl-NL" dirty="0"/>
              <a:t>Questions and challenges: just to mention a few…(II)</a:t>
            </a:r>
          </a:p>
        </p:txBody>
      </p:sp>
      <p:sp>
        <p:nvSpPr>
          <p:cNvPr id="3" name="Text Placeholder 2">
            <a:extLst>
              <a:ext uri="{FF2B5EF4-FFF2-40B4-BE49-F238E27FC236}">
                <a16:creationId xmlns:a16="http://schemas.microsoft.com/office/drawing/2014/main" id="{607B5DE4-0B72-4020-A9A9-47355718224D}"/>
              </a:ext>
            </a:extLst>
          </p:cNvPr>
          <p:cNvSpPr>
            <a:spLocks noGrp="1"/>
          </p:cNvSpPr>
          <p:nvPr>
            <p:ph type="body" sz="quarter" idx="11"/>
          </p:nvPr>
        </p:nvSpPr>
        <p:spPr>
          <a:xfrm>
            <a:off x="1032357" y="1822346"/>
            <a:ext cx="8944504" cy="3416320"/>
          </a:xfrm>
        </p:spPr>
        <p:txBody>
          <a:bodyPr wrap="square">
            <a:spAutoFit/>
          </a:bodyPr>
          <a:lstStyle/>
          <a:p>
            <a:pPr marL="0" indent="0">
              <a:spcBef>
                <a:spcPts val="1200"/>
              </a:spcBef>
              <a:buNone/>
            </a:pPr>
            <a:r>
              <a:rPr lang="nl-NL" sz="1600" dirty="0" err="1"/>
              <a:t>Ontologies</a:t>
            </a:r>
            <a:r>
              <a:rPr lang="nl-NL" sz="1600" dirty="0"/>
              <a:t> are </a:t>
            </a:r>
            <a:r>
              <a:rPr lang="nl-NL" sz="1600" dirty="0" err="1"/>
              <a:t>perceived</a:t>
            </a:r>
            <a:r>
              <a:rPr lang="nl-NL" sz="1600" dirty="0"/>
              <a:t> </a:t>
            </a:r>
            <a:r>
              <a:rPr lang="nl-NL" sz="1600" dirty="0" err="1"/>
              <a:t>by</a:t>
            </a:r>
            <a:r>
              <a:rPr lang="nl-NL" sz="1600" dirty="0"/>
              <a:t> stakeholders as a </a:t>
            </a:r>
            <a:r>
              <a:rPr lang="nl-NL" sz="1600" dirty="0" err="1"/>
              <a:t>useful</a:t>
            </a:r>
            <a:r>
              <a:rPr lang="nl-NL" sz="1600" dirty="0"/>
              <a:t> tool </a:t>
            </a:r>
            <a:r>
              <a:rPr lang="nl-NL" sz="1600" dirty="0" err="1"/>
              <a:t>for</a:t>
            </a:r>
            <a:r>
              <a:rPr lang="nl-NL" sz="1600" dirty="0"/>
              <a:t> </a:t>
            </a:r>
            <a:r>
              <a:rPr lang="nl-NL" sz="1600" dirty="0" err="1"/>
              <a:t>interoperability</a:t>
            </a:r>
            <a:r>
              <a:rPr lang="nl-NL" sz="1600" dirty="0"/>
              <a:t>, but </a:t>
            </a:r>
            <a:r>
              <a:rPr lang="nl-NL" sz="1600" dirty="0" err="1"/>
              <a:t>still</a:t>
            </a:r>
            <a:r>
              <a:rPr lang="nl-NL" sz="1600" dirty="0"/>
              <a:t> stakeholders do </a:t>
            </a:r>
            <a:r>
              <a:rPr lang="nl-NL" sz="1600" dirty="0" err="1"/>
              <a:t>not</a:t>
            </a:r>
            <a:r>
              <a:rPr lang="nl-NL" sz="1600" dirty="0"/>
              <a:t> </a:t>
            </a:r>
            <a:r>
              <a:rPr lang="nl-NL" sz="1600" dirty="0" err="1"/>
              <a:t>understand</a:t>
            </a:r>
            <a:r>
              <a:rPr lang="nl-NL" sz="1600" dirty="0"/>
              <a:t> </a:t>
            </a:r>
            <a:r>
              <a:rPr lang="nl-NL" sz="1600" dirty="0" err="1"/>
              <a:t>them</a:t>
            </a:r>
            <a:r>
              <a:rPr lang="nl-NL" sz="1600" dirty="0"/>
              <a:t> in </a:t>
            </a:r>
            <a:r>
              <a:rPr lang="nl-NL" sz="1600" dirty="0" err="1"/>
              <a:t>practice</a:t>
            </a:r>
            <a:r>
              <a:rPr lang="nl-NL" sz="1600" dirty="0"/>
              <a:t> </a:t>
            </a:r>
          </a:p>
          <a:p>
            <a:pPr>
              <a:spcBef>
                <a:spcPts val="1200"/>
              </a:spcBef>
            </a:pPr>
            <a:r>
              <a:rPr lang="nl-NL" sz="1600" dirty="0"/>
              <a:t>How </a:t>
            </a:r>
            <a:r>
              <a:rPr lang="nl-NL" sz="1600" dirty="0" err="1"/>
              <a:t>to</a:t>
            </a:r>
            <a:r>
              <a:rPr lang="nl-NL" sz="1600" dirty="0"/>
              <a:t> </a:t>
            </a:r>
            <a:r>
              <a:rPr lang="nl-NL" sz="1600" dirty="0" err="1"/>
              <a:t>use</a:t>
            </a:r>
            <a:r>
              <a:rPr lang="nl-NL" sz="1600" dirty="0"/>
              <a:t> </a:t>
            </a:r>
            <a:r>
              <a:rPr lang="en-US" sz="1600" dirty="0">
                <a:solidFill>
                  <a:schemeClr val="tx1">
                    <a:lumMod val="100000"/>
                  </a:schemeClr>
                </a:solidFill>
              </a:rPr>
              <a:t>(the SAREF framework of) ontologies and related standards (e.g., RDF, OWL, SPARQL etc.) </a:t>
            </a:r>
            <a:r>
              <a:rPr lang="nl-NL" sz="1600" dirty="0" err="1"/>
              <a:t>with</a:t>
            </a:r>
            <a:r>
              <a:rPr lang="nl-NL" sz="1600" dirty="0"/>
              <a:t> </a:t>
            </a:r>
            <a:r>
              <a:rPr lang="nl-NL" sz="1600" dirty="0" err="1"/>
              <a:t>their</a:t>
            </a:r>
            <a:r>
              <a:rPr lang="nl-NL" sz="1600" dirty="0"/>
              <a:t> </a:t>
            </a:r>
            <a:r>
              <a:rPr lang="nl-NL" sz="1600" dirty="0" err="1"/>
              <a:t>existing</a:t>
            </a:r>
            <a:r>
              <a:rPr lang="nl-NL" sz="1600" dirty="0"/>
              <a:t> platforms? </a:t>
            </a:r>
            <a:r>
              <a:rPr lang="en-US" sz="1600" dirty="0"/>
              <a:t>Is </a:t>
            </a:r>
            <a:r>
              <a:rPr lang="en-US" sz="1600" dirty="0">
                <a:solidFill>
                  <a:schemeClr val="tx1">
                    <a:lumMod val="100000"/>
                  </a:schemeClr>
                </a:solidFill>
              </a:rPr>
              <a:t>SAREF </a:t>
            </a:r>
            <a:r>
              <a:rPr lang="en-US" sz="1600" dirty="0"/>
              <a:t>to be used at the device level? And/or on a gateway? Can it be used also at the service level? </a:t>
            </a:r>
            <a:endParaRPr lang="nl-NL" sz="1600" dirty="0"/>
          </a:p>
          <a:p>
            <a:pPr>
              <a:spcBef>
                <a:spcPts val="1200"/>
              </a:spcBef>
            </a:pPr>
            <a:r>
              <a:rPr lang="nl-NL" sz="1600" dirty="0"/>
              <a:t>How </a:t>
            </a:r>
            <a:r>
              <a:rPr lang="nl-NL" sz="1600" dirty="0" err="1"/>
              <a:t>to</a:t>
            </a:r>
            <a:r>
              <a:rPr lang="nl-NL" sz="1600" dirty="0"/>
              <a:t> </a:t>
            </a:r>
            <a:r>
              <a:rPr lang="nl-NL" sz="1600" dirty="0" err="1"/>
              <a:t>avoid</a:t>
            </a:r>
            <a:r>
              <a:rPr lang="nl-NL" sz="1600" dirty="0"/>
              <a:t> </a:t>
            </a:r>
            <a:r>
              <a:rPr lang="nl-NL" sz="1600" dirty="0" err="1"/>
              <a:t>to</a:t>
            </a:r>
            <a:r>
              <a:rPr lang="nl-NL" sz="1600" dirty="0"/>
              <a:t> </a:t>
            </a:r>
            <a:r>
              <a:rPr lang="nl-NL" sz="1600" dirty="0" err="1"/>
              <a:t>create</a:t>
            </a:r>
            <a:r>
              <a:rPr lang="nl-NL" sz="1600" dirty="0"/>
              <a:t> a new (Interconnect) platform </a:t>
            </a:r>
            <a:r>
              <a:rPr lang="nl-NL" sz="1600" dirty="0" err="1"/>
              <a:t>yet</a:t>
            </a:r>
            <a:r>
              <a:rPr lang="nl-NL" sz="1600" dirty="0"/>
              <a:t> on top of </a:t>
            </a:r>
            <a:r>
              <a:rPr lang="nl-NL" sz="1600" dirty="0" err="1"/>
              <a:t>the</a:t>
            </a:r>
            <a:r>
              <a:rPr lang="nl-NL" sz="1600" dirty="0"/>
              <a:t> </a:t>
            </a:r>
            <a:r>
              <a:rPr lang="nl-NL" sz="1600" dirty="0" err="1"/>
              <a:t>existing</a:t>
            </a:r>
            <a:r>
              <a:rPr lang="nl-NL" sz="1600" dirty="0"/>
              <a:t> </a:t>
            </a:r>
            <a:r>
              <a:rPr lang="nl-NL" sz="1600" dirty="0" err="1"/>
              <a:t>ones</a:t>
            </a:r>
            <a:r>
              <a:rPr lang="nl-NL" sz="1600" dirty="0"/>
              <a:t>, but </a:t>
            </a:r>
            <a:r>
              <a:rPr lang="nl-NL" sz="1600" dirty="0" err="1"/>
              <a:t>rather</a:t>
            </a:r>
            <a:r>
              <a:rPr lang="nl-NL" sz="1600" dirty="0"/>
              <a:t> </a:t>
            </a:r>
            <a:r>
              <a:rPr lang="nl-NL" sz="1600" dirty="0" err="1"/>
              <a:t>connect</a:t>
            </a:r>
            <a:r>
              <a:rPr lang="nl-NL" sz="1600" dirty="0"/>
              <a:t> </a:t>
            </a:r>
            <a:r>
              <a:rPr lang="nl-NL" sz="1600" dirty="0" err="1"/>
              <a:t>the</a:t>
            </a:r>
            <a:r>
              <a:rPr lang="nl-NL" sz="1600" dirty="0"/>
              <a:t> </a:t>
            </a:r>
            <a:r>
              <a:rPr lang="nl-NL" sz="1600" dirty="0" err="1"/>
              <a:t>existing</a:t>
            </a:r>
            <a:r>
              <a:rPr lang="nl-NL" sz="1600" dirty="0"/>
              <a:t> platforms in a </a:t>
            </a:r>
            <a:r>
              <a:rPr lang="nl-NL" sz="1600" dirty="0" err="1"/>
              <a:t>distributed</a:t>
            </a:r>
            <a:r>
              <a:rPr lang="nl-NL" sz="1600" dirty="0"/>
              <a:t> fashion? </a:t>
            </a:r>
          </a:p>
          <a:p>
            <a:pPr>
              <a:spcBef>
                <a:spcPts val="1200"/>
              </a:spcBef>
            </a:pPr>
            <a:r>
              <a:rPr lang="nl-NL" sz="1600" dirty="0"/>
              <a:t>How </a:t>
            </a:r>
            <a:r>
              <a:rPr lang="nl-NL" sz="1600" dirty="0" err="1"/>
              <a:t>to</a:t>
            </a:r>
            <a:r>
              <a:rPr lang="nl-NL" sz="1600" dirty="0"/>
              <a:t> </a:t>
            </a:r>
            <a:r>
              <a:rPr lang="nl-NL" sz="1600" dirty="0" err="1"/>
              <a:t>avoid</a:t>
            </a:r>
            <a:r>
              <a:rPr lang="nl-NL" sz="1600" dirty="0"/>
              <a:t> </a:t>
            </a:r>
            <a:r>
              <a:rPr lang="nl-NL" sz="1600" dirty="0" err="1"/>
              <a:t>that</a:t>
            </a:r>
            <a:r>
              <a:rPr lang="nl-NL" sz="1600" dirty="0"/>
              <a:t> stakeholders have </a:t>
            </a:r>
            <a:r>
              <a:rPr lang="nl-NL" sz="1600" dirty="0" err="1"/>
              <a:t>to</a:t>
            </a:r>
            <a:r>
              <a:rPr lang="nl-NL" sz="1600" dirty="0"/>
              <a:t> change </a:t>
            </a:r>
            <a:r>
              <a:rPr lang="nl-NL" sz="1600" dirty="0" err="1"/>
              <a:t>their</a:t>
            </a:r>
            <a:r>
              <a:rPr lang="nl-NL" sz="1600" dirty="0"/>
              <a:t> </a:t>
            </a:r>
            <a:r>
              <a:rPr lang="nl-NL" sz="1600" dirty="0" err="1"/>
              <a:t>solutions</a:t>
            </a:r>
            <a:r>
              <a:rPr lang="nl-NL" sz="1600" dirty="0"/>
              <a:t> (</a:t>
            </a:r>
            <a:r>
              <a:rPr lang="nl-NL" sz="1600" dirty="0" err="1"/>
              <a:t>often</a:t>
            </a:r>
            <a:r>
              <a:rPr lang="nl-NL" sz="1600" dirty="0"/>
              <a:t> </a:t>
            </a:r>
            <a:r>
              <a:rPr lang="nl-NL" sz="1600" dirty="0" err="1"/>
              <a:t>not</a:t>
            </a:r>
            <a:r>
              <a:rPr lang="nl-NL" sz="1600" dirty="0"/>
              <a:t> even </a:t>
            </a:r>
            <a:r>
              <a:rPr lang="nl-NL" sz="1600" dirty="0" err="1"/>
              <a:t>feasible</a:t>
            </a:r>
            <a:r>
              <a:rPr lang="nl-NL" sz="1600" dirty="0"/>
              <a:t>), but </a:t>
            </a:r>
            <a:r>
              <a:rPr lang="nl-NL" sz="1600" dirty="0" err="1"/>
              <a:t>rather</a:t>
            </a:r>
            <a:r>
              <a:rPr lang="nl-NL" sz="1600" dirty="0"/>
              <a:t> </a:t>
            </a:r>
            <a:r>
              <a:rPr lang="nl-NL" sz="1600" dirty="0" err="1"/>
              <a:t>minimally</a:t>
            </a:r>
            <a:r>
              <a:rPr lang="nl-NL" sz="1600" dirty="0"/>
              <a:t> </a:t>
            </a:r>
            <a:r>
              <a:rPr lang="nl-NL" sz="1600" dirty="0" err="1"/>
              <a:t>adapt</a:t>
            </a:r>
            <a:r>
              <a:rPr lang="nl-NL" sz="1600" dirty="0"/>
              <a:t>, </a:t>
            </a:r>
            <a:r>
              <a:rPr lang="nl-NL" sz="1600" dirty="0" err="1"/>
              <a:t>for</a:t>
            </a:r>
            <a:r>
              <a:rPr lang="nl-NL" sz="1600" dirty="0"/>
              <a:t> </a:t>
            </a:r>
            <a:r>
              <a:rPr lang="nl-NL" sz="1600" dirty="0" err="1"/>
              <a:t>example</a:t>
            </a:r>
            <a:r>
              <a:rPr lang="nl-NL" sz="1600" dirty="0"/>
              <a:t> </a:t>
            </a:r>
            <a:r>
              <a:rPr lang="nl-NL" sz="1600" dirty="0" err="1"/>
              <a:t>by</a:t>
            </a:r>
            <a:r>
              <a:rPr lang="nl-NL" sz="1600" dirty="0"/>
              <a:t> </a:t>
            </a:r>
            <a:r>
              <a:rPr lang="nl-NL" sz="1600" dirty="0" err="1"/>
              <a:t>adding</a:t>
            </a:r>
            <a:r>
              <a:rPr lang="nl-NL" sz="1600" dirty="0"/>
              <a:t> “smart </a:t>
            </a:r>
            <a:r>
              <a:rPr lang="nl-NL" sz="1600" dirty="0" err="1"/>
              <a:t>connectors</a:t>
            </a:r>
            <a:r>
              <a:rPr lang="nl-NL" sz="1600" dirty="0"/>
              <a:t>” </a:t>
            </a:r>
            <a:r>
              <a:rPr lang="nl-NL" sz="1600" dirty="0" err="1"/>
              <a:t>to</a:t>
            </a:r>
            <a:r>
              <a:rPr lang="nl-NL" sz="1600" dirty="0"/>
              <a:t> access </a:t>
            </a:r>
            <a:r>
              <a:rPr lang="nl-NL" sz="1600" dirty="0" err="1"/>
              <a:t>the</a:t>
            </a:r>
            <a:r>
              <a:rPr lang="nl-NL" sz="1600" dirty="0"/>
              <a:t> </a:t>
            </a:r>
            <a:r>
              <a:rPr lang="nl-NL" sz="1600" dirty="0" err="1"/>
              <a:t>semantic</a:t>
            </a:r>
            <a:r>
              <a:rPr lang="nl-NL" sz="1600" dirty="0"/>
              <a:t> </a:t>
            </a:r>
            <a:r>
              <a:rPr lang="nl-NL" sz="1600" dirty="0" err="1"/>
              <a:t>interoperability</a:t>
            </a:r>
            <a:r>
              <a:rPr lang="nl-NL" sz="1600" dirty="0"/>
              <a:t> </a:t>
            </a:r>
            <a:r>
              <a:rPr lang="nl-NL" sz="1600" dirty="0" err="1"/>
              <a:t>layer</a:t>
            </a:r>
            <a:r>
              <a:rPr lang="nl-NL" sz="1600" dirty="0"/>
              <a:t> </a:t>
            </a:r>
            <a:r>
              <a:rPr lang="nl-NL" sz="1600" dirty="0" err="1"/>
              <a:t>and</a:t>
            </a:r>
            <a:r>
              <a:rPr lang="nl-NL" sz="1600" dirty="0"/>
              <a:t> benefit </a:t>
            </a:r>
            <a:r>
              <a:rPr lang="nl-NL" sz="1600" dirty="0" err="1"/>
              <a:t>from</a:t>
            </a:r>
            <a:r>
              <a:rPr lang="nl-NL" sz="1600" dirty="0"/>
              <a:t> </a:t>
            </a:r>
            <a:r>
              <a:rPr lang="nl-NL" sz="1600" dirty="0" err="1"/>
              <a:t>the</a:t>
            </a:r>
            <a:r>
              <a:rPr lang="nl-NL" sz="1600" dirty="0"/>
              <a:t> </a:t>
            </a:r>
            <a:r>
              <a:rPr lang="nl-NL" sz="1600" dirty="0" err="1"/>
              <a:t>ontologies</a:t>
            </a:r>
            <a:r>
              <a:rPr lang="nl-NL" sz="1600" dirty="0"/>
              <a:t>? How these smart </a:t>
            </a:r>
            <a:r>
              <a:rPr lang="nl-NL" sz="1600" dirty="0" err="1"/>
              <a:t>connectors</a:t>
            </a:r>
            <a:r>
              <a:rPr lang="nl-NL" sz="1600" dirty="0"/>
              <a:t> </a:t>
            </a:r>
            <a:r>
              <a:rPr lang="nl-NL" sz="1600" dirty="0" err="1"/>
              <a:t>would</a:t>
            </a:r>
            <a:r>
              <a:rPr lang="nl-NL" sz="1600" dirty="0"/>
              <a:t> look like? </a:t>
            </a:r>
            <a:endParaRPr lang="en-US" sz="1600" dirty="0"/>
          </a:p>
          <a:p>
            <a:pPr marL="108000" lvl="1" indent="0">
              <a:lnSpc>
                <a:spcPct val="100000"/>
              </a:lnSpc>
              <a:spcBef>
                <a:spcPts val="1200"/>
              </a:spcBef>
              <a:buClr>
                <a:schemeClr val="tx2">
                  <a:lumMod val="100000"/>
                </a:schemeClr>
              </a:buClr>
              <a:buSzPct val="100000"/>
              <a:buNone/>
            </a:pPr>
            <a:endParaRPr lang="nl-NL" sz="1600" dirty="0">
              <a:solidFill>
                <a:schemeClr val="tx1">
                  <a:lumMod val="100000"/>
                </a:schemeClr>
              </a:solidFill>
            </a:endParaRPr>
          </a:p>
        </p:txBody>
      </p:sp>
      <p:sp>
        <p:nvSpPr>
          <p:cNvPr id="4" name="Slide Number Placeholder 3">
            <a:extLst>
              <a:ext uri="{FF2B5EF4-FFF2-40B4-BE49-F238E27FC236}">
                <a16:creationId xmlns:a16="http://schemas.microsoft.com/office/drawing/2014/main" id="{07B273AD-8601-43DB-AD0B-AF5460EDD427}"/>
              </a:ext>
            </a:extLst>
          </p:cNvPr>
          <p:cNvSpPr>
            <a:spLocks noGrp="1"/>
          </p:cNvSpPr>
          <p:nvPr>
            <p:ph type="sldNum" sz="quarter" idx="4"/>
          </p:nvPr>
        </p:nvSpPr>
        <p:spPr/>
        <p:txBody>
          <a:bodyPr/>
          <a:lstStyle/>
          <a:p>
            <a:fld id="{EBC262BB-4310-134F-8D24-58475080D942}" type="slidenum">
              <a:rPr lang="en-US" smtClean="0"/>
              <a:pPr/>
              <a:t>53</a:t>
            </a:fld>
            <a:endParaRPr lang="en-US" dirty="0"/>
          </a:p>
        </p:txBody>
      </p:sp>
      <p:pic>
        <p:nvPicPr>
          <p:cNvPr id="7" name="Picture 1" descr="image002">
            <a:extLst>
              <a:ext uri="{FF2B5EF4-FFF2-40B4-BE49-F238E27FC236}">
                <a16:creationId xmlns:a16="http://schemas.microsoft.com/office/drawing/2014/main" id="{EEC7BB6E-FA6B-4F53-A7D0-C89F3D3B3434}"/>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508134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652D591-41B3-4B01-8620-AEC22E39297C}"/>
              </a:ext>
            </a:extLst>
          </p:cNvPr>
          <p:cNvSpPr>
            <a:spLocks noGrp="1"/>
          </p:cNvSpPr>
          <p:nvPr>
            <p:ph type="body" sz="quarter" idx="10"/>
          </p:nvPr>
        </p:nvSpPr>
        <p:spPr>
          <a:xfrm>
            <a:off x="986457" y="324563"/>
            <a:ext cx="9289200" cy="523220"/>
          </a:xfrm>
        </p:spPr>
        <p:txBody>
          <a:bodyPr>
            <a:spAutoFit/>
          </a:bodyPr>
          <a:lstStyle/>
          <a:p>
            <a:r>
              <a:rPr lang="nl-NL" dirty="0"/>
              <a:t>Questions and challenges: just to mention a few…(III)</a:t>
            </a:r>
          </a:p>
        </p:txBody>
      </p:sp>
      <p:sp>
        <p:nvSpPr>
          <p:cNvPr id="3" name="Text Placeholder 2">
            <a:extLst>
              <a:ext uri="{FF2B5EF4-FFF2-40B4-BE49-F238E27FC236}">
                <a16:creationId xmlns:a16="http://schemas.microsoft.com/office/drawing/2014/main" id="{607B5DE4-0B72-4020-A9A9-47355718224D}"/>
              </a:ext>
            </a:extLst>
          </p:cNvPr>
          <p:cNvSpPr>
            <a:spLocks noGrp="1"/>
          </p:cNvSpPr>
          <p:nvPr>
            <p:ph type="body" sz="quarter" idx="11"/>
          </p:nvPr>
        </p:nvSpPr>
        <p:spPr>
          <a:xfrm>
            <a:off x="1032357" y="1822346"/>
            <a:ext cx="8944504" cy="3791807"/>
          </a:xfrm>
        </p:spPr>
        <p:txBody>
          <a:bodyPr wrap="square">
            <a:spAutoFit/>
          </a:bodyPr>
          <a:lstStyle/>
          <a:p>
            <a:pPr>
              <a:spcBef>
                <a:spcPts val="1200"/>
              </a:spcBef>
            </a:pPr>
            <a:r>
              <a:rPr lang="en-US" sz="1600" dirty="0"/>
              <a:t>Aim of Interconnect is to develop a new, improved version of SAREF4ENER (and contributions to other extensions, if needed), involving more stakeholders in the energy/ building ecosystem compared to the first version </a:t>
            </a:r>
          </a:p>
          <a:p>
            <a:pPr lvl="1">
              <a:spcBef>
                <a:spcPts val="600"/>
              </a:spcBef>
            </a:pPr>
            <a:r>
              <a:rPr lang="en-US" sz="1400" dirty="0"/>
              <a:t>Consensus and agreement among many more stakeholders is therefore needed (challenging), but this effort will result into a better ontology and a broader adoption</a:t>
            </a:r>
          </a:p>
          <a:p>
            <a:pPr lvl="1">
              <a:spcBef>
                <a:spcPts val="600"/>
              </a:spcBef>
            </a:pPr>
            <a:r>
              <a:rPr lang="en-US" sz="1400" dirty="0"/>
              <a:t> From a technical point of view, what level of detail to reach in these extensions? Would a modular version of SAREF4ENER help to better address different concerns from different stakeholders? </a:t>
            </a:r>
          </a:p>
          <a:p>
            <a:pPr>
              <a:spcBef>
                <a:spcPts val="1200"/>
              </a:spcBef>
            </a:pPr>
            <a:r>
              <a:rPr lang="en-US" sz="1600" dirty="0"/>
              <a:t>SAREF is about sensors and actuators. Ontologies are traditionally beneficial to ask queries, especially complex ones that could not be answered without an ontology. They are definitely useful for discovering and reasoning about sensor’s data, but what about actuators that also involve control of devices (not only querying). How to implement control with SAREF and ontologies in general? </a:t>
            </a:r>
          </a:p>
          <a:p>
            <a:pPr>
              <a:spcBef>
                <a:spcPts val="1200"/>
              </a:spcBef>
            </a:pPr>
            <a:r>
              <a:rPr lang="en-US" sz="1600" dirty="0">
                <a:hlinkClick r:id="rId2"/>
              </a:rPr>
              <a:t>Smart Readiness Indicator (SRI)</a:t>
            </a:r>
            <a:r>
              <a:rPr lang="en-US" sz="1600" dirty="0"/>
              <a:t> for Buildings, Interoperability and SAREF: can they be used together? Can SAREF be used to assess the interoperability aspect of the SRI? If so, how? If not, what is missing and what is the way forward? </a:t>
            </a:r>
          </a:p>
        </p:txBody>
      </p:sp>
      <p:sp>
        <p:nvSpPr>
          <p:cNvPr id="4" name="Slide Number Placeholder 3">
            <a:extLst>
              <a:ext uri="{FF2B5EF4-FFF2-40B4-BE49-F238E27FC236}">
                <a16:creationId xmlns:a16="http://schemas.microsoft.com/office/drawing/2014/main" id="{07B273AD-8601-43DB-AD0B-AF5460EDD427}"/>
              </a:ext>
            </a:extLst>
          </p:cNvPr>
          <p:cNvSpPr>
            <a:spLocks noGrp="1"/>
          </p:cNvSpPr>
          <p:nvPr>
            <p:ph type="sldNum" sz="quarter" idx="4"/>
          </p:nvPr>
        </p:nvSpPr>
        <p:spPr/>
        <p:txBody>
          <a:bodyPr/>
          <a:lstStyle/>
          <a:p>
            <a:fld id="{EBC262BB-4310-134F-8D24-58475080D942}" type="slidenum">
              <a:rPr lang="en-US" smtClean="0"/>
              <a:pPr/>
              <a:t>54</a:t>
            </a:fld>
            <a:endParaRPr lang="en-US" dirty="0"/>
          </a:p>
        </p:txBody>
      </p:sp>
      <p:pic>
        <p:nvPicPr>
          <p:cNvPr id="7" name="Picture 1" descr="image002">
            <a:extLst>
              <a:ext uri="{FF2B5EF4-FFF2-40B4-BE49-F238E27FC236}">
                <a16:creationId xmlns:a16="http://schemas.microsoft.com/office/drawing/2014/main" id="{EEC7BB6E-FA6B-4F53-A7D0-C89F3D3B3434}"/>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9337554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Takeaway</a:t>
            </a:r>
          </a:p>
        </p:txBody>
      </p:sp>
      <p:sp>
        <p:nvSpPr>
          <p:cNvPr id="3" name="Slide Number Placeholder 2"/>
          <p:cNvSpPr>
            <a:spLocks noGrp="1"/>
          </p:cNvSpPr>
          <p:nvPr>
            <p:ph type="sldNum" sz="quarter" idx="4"/>
          </p:nvPr>
        </p:nvSpPr>
        <p:spPr>
          <a:prstGeom prst="rect">
            <a:avLst/>
          </a:prstGeom>
        </p:spPr>
        <p:txBody>
          <a:bodyPr/>
          <a:lstStyle/>
          <a:p>
            <a:fld id="{EBC262BB-4310-134F-8D24-58475080D942}" type="slidenum">
              <a:rPr lang="en-US" smtClean="0"/>
              <a:pPr/>
              <a:t>55</a:t>
            </a:fld>
            <a:endParaRPr lang="en-US" dirty="0"/>
          </a:p>
        </p:txBody>
      </p:sp>
    </p:spTree>
    <p:extLst>
      <p:ext uri="{BB962C8B-B14F-4D97-AF65-F5344CB8AC3E}">
        <p14:creationId xmlns:p14="http://schemas.microsoft.com/office/powerpoint/2010/main" val="182164006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994200" y="470836"/>
            <a:ext cx="9289200" cy="826313"/>
          </a:xfrm>
        </p:spPr>
        <p:txBody>
          <a:bodyPr/>
          <a:lstStyle/>
          <a:p>
            <a:r>
              <a:rPr lang="en-US" dirty="0"/>
              <a:t>Multiple paths to the destination: the SAREF journey</a:t>
            </a:r>
          </a:p>
        </p:txBody>
      </p:sp>
      <p:sp>
        <p:nvSpPr>
          <p:cNvPr id="6" name="Text Placeholder 5"/>
          <p:cNvSpPr>
            <a:spLocks noGrp="1"/>
          </p:cNvSpPr>
          <p:nvPr>
            <p:ph type="body" sz="quarter" idx="11"/>
          </p:nvPr>
        </p:nvSpPr>
        <p:spPr>
          <a:xfrm>
            <a:off x="994200" y="1686147"/>
            <a:ext cx="5134864" cy="2332946"/>
          </a:xfrm>
        </p:spPr>
        <p:txBody>
          <a:bodyPr>
            <a:spAutoFit/>
          </a:bodyPr>
          <a:lstStyle/>
          <a:p>
            <a:pPr marL="0" indent="0">
              <a:spcBef>
                <a:spcPts val="0"/>
              </a:spcBef>
              <a:buClrTx/>
              <a:buSzPct val="100000"/>
              <a:buFont typeface="Trebuchet MS" panose="020B0603020202020204" pitchFamily="34" charset="0"/>
              <a:buChar char="​"/>
            </a:pPr>
            <a:r>
              <a:rPr lang="en-US" sz="1600" b="1" dirty="0">
                <a:solidFill>
                  <a:schemeClr val="tx1">
                    <a:lumMod val="100000"/>
                  </a:schemeClr>
                </a:solidFill>
                <a:sym typeface="Wingdings" panose="05000000000000000000" pitchFamily="2" charset="2"/>
              </a:rPr>
              <a:t>Key takeaway</a:t>
            </a:r>
          </a:p>
          <a:p>
            <a:pPr marL="324000" lvl="1" indent="-216000">
              <a:spcBef>
                <a:spcPts val="0"/>
              </a:spcBef>
              <a:buClr>
                <a:schemeClr val="tx2">
                  <a:lumMod val="100000"/>
                </a:schemeClr>
              </a:buClr>
              <a:buSzPct val="100000"/>
              <a:buFont typeface="Trebuchet MS" panose="020B0603020202020204" pitchFamily="34" charset="0"/>
              <a:buChar char="•"/>
            </a:pPr>
            <a:r>
              <a:rPr lang="en-US" sz="1600" dirty="0">
                <a:solidFill>
                  <a:schemeClr val="tx1">
                    <a:lumMod val="100000"/>
                  </a:schemeClr>
                </a:solidFill>
                <a:sym typeface="Wingdings" panose="05000000000000000000" pitchFamily="2" charset="2"/>
              </a:rPr>
              <a:t>Vision of the goal to achieve in the long term (</a:t>
            </a:r>
            <a:r>
              <a:rPr lang="en-US" sz="1600" b="1" dirty="0">
                <a:solidFill>
                  <a:schemeClr val="tx1">
                    <a:lumMod val="100000"/>
                  </a:schemeClr>
                </a:solidFill>
                <a:sym typeface="Wingdings" panose="05000000000000000000" pitchFamily="2" charset="2"/>
              </a:rPr>
              <a:t>final destination</a:t>
            </a:r>
            <a:r>
              <a:rPr lang="en-US" sz="1600" dirty="0">
                <a:solidFill>
                  <a:schemeClr val="tx1">
                    <a:lumMod val="100000"/>
                  </a:schemeClr>
                </a:solidFill>
                <a:sym typeface="Wingdings" panose="05000000000000000000" pitchFamily="2" charset="2"/>
              </a:rPr>
              <a:t>) is essential</a:t>
            </a:r>
          </a:p>
          <a:p>
            <a:pPr marL="324000" lvl="1" indent="-216000">
              <a:spcBef>
                <a:spcPts val="0"/>
              </a:spcBef>
              <a:buClr>
                <a:schemeClr val="tx2">
                  <a:lumMod val="100000"/>
                </a:schemeClr>
              </a:buClr>
              <a:buSzPct val="100000"/>
              <a:buFont typeface="Trebuchet MS" panose="020B0603020202020204" pitchFamily="34" charset="0"/>
              <a:buChar char="•"/>
            </a:pPr>
            <a:r>
              <a:rPr lang="en-US" sz="1600" dirty="0">
                <a:solidFill>
                  <a:schemeClr val="tx1">
                    <a:lumMod val="100000"/>
                  </a:schemeClr>
                </a:solidFill>
                <a:sym typeface="Wingdings" panose="05000000000000000000" pitchFamily="2" charset="2"/>
              </a:rPr>
              <a:t>Keep the </a:t>
            </a:r>
            <a:r>
              <a:rPr lang="en-US" sz="1600" b="1" dirty="0">
                <a:solidFill>
                  <a:schemeClr val="tx1">
                    <a:lumMod val="100000"/>
                  </a:schemeClr>
                </a:solidFill>
                <a:sym typeface="Wingdings" panose="05000000000000000000" pitchFamily="2" charset="2"/>
              </a:rPr>
              <a:t>vision</a:t>
            </a:r>
            <a:r>
              <a:rPr lang="en-US" sz="1600" dirty="0">
                <a:solidFill>
                  <a:schemeClr val="tx1">
                    <a:lumMod val="100000"/>
                  </a:schemeClr>
                </a:solidFill>
                <a:sym typeface="Wingdings" panose="05000000000000000000" pitchFamily="2" charset="2"/>
              </a:rPr>
              <a:t> in mind, it will take time and so much in the environment will change (e.g., some people may leave and other will join) but the final destination will still be the guiding reference</a:t>
            </a:r>
          </a:p>
        </p:txBody>
      </p:sp>
      <p:sp>
        <p:nvSpPr>
          <p:cNvPr id="3" name="Slide Number Placeholder 2"/>
          <p:cNvSpPr>
            <a:spLocks noGrp="1"/>
          </p:cNvSpPr>
          <p:nvPr>
            <p:ph type="sldNum" sz="quarter" idx="4"/>
          </p:nvPr>
        </p:nvSpPr>
        <p:spPr>
          <a:prstGeom prst="rect">
            <a:avLst/>
          </a:prstGeom>
        </p:spPr>
        <p:txBody>
          <a:bodyPr/>
          <a:lstStyle/>
          <a:p>
            <a:fld id="{EBC262BB-4310-134F-8D24-58475080D942}" type="slidenum">
              <a:rPr lang="en-US" smtClean="0"/>
              <a:pPr/>
              <a:t>56</a:t>
            </a:fld>
            <a:endParaRPr lang="en-US" dirty="0"/>
          </a:p>
        </p:txBody>
      </p:sp>
      <p:sp>
        <p:nvSpPr>
          <p:cNvPr id="17" name="TextBox 16">
            <a:extLst>
              <a:ext uri="{FF2B5EF4-FFF2-40B4-BE49-F238E27FC236}">
                <a16:creationId xmlns:a16="http://schemas.microsoft.com/office/drawing/2014/main" id="{710CF08E-BA87-4222-A1DF-CE2D9F1849BC}"/>
              </a:ext>
            </a:extLst>
          </p:cNvPr>
          <p:cNvSpPr txBox="1"/>
          <p:nvPr/>
        </p:nvSpPr>
        <p:spPr>
          <a:xfrm>
            <a:off x="5638800" y="2919247"/>
            <a:ext cx="914400" cy="914400"/>
          </a:xfrm>
          <a:prstGeom prst="rect">
            <a:avLst/>
          </a:prstGeom>
        </p:spPr>
        <p:txBody>
          <a:bodyPr wrap="square" rtlCol="0">
            <a:noAutofit/>
          </a:bodyPr>
          <a:lstStyle/>
          <a:p>
            <a:pPr marL="0" indent="0">
              <a:lnSpc>
                <a:spcPct val="100000"/>
              </a:lnSpc>
              <a:spcBef>
                <a:spcPts val="2200"/>
              </a:spcBef>
              <a:buClr>
                <a:schemeClr val="accent3"/>
              </a:buClr>
              <a:buSzPct val="150000"/>
              <a:buFontTx/>
              <a:buNone/>
            </a:pPr>
            <a:endParaRPr lang="nl-NL" sz="2000" b="0" spc="0" dirty="0" err="1"/>
          </a:p>
        </p:txBody>
      </p:sp>
      <p:grpSp>
        <p:nvGrpSpPr>
          <p:cNvPr id="19" name="Group 18">
            <a:extLst>
              <a:ext uri="{FF2B5EF4-FFF2-40B4-BE49-F238E27FC236}">
                <a16:creationId xmlns:a16="http://schemas.microsoft.com/office/drawing/2014/main" id="{9037DDE5-3AD3-4D2C-BC77-C23D7AD3C898}"/>
              </a:ext>
            </a:extLst>
          </p:cNvPr>
          <p:cNvGrpSpPr/>
          <p:nvPr/>
        </p:nvGrpSpPr>
        <p:grpSpPr>
          <a:xfrm>
            <a:off x="6379779" y="1686147"/>
            <a:ext cx="4926385" cy="2489514"/>
            <a:chOff x="7406530" y="1744055"/>
            <a:chExt cx="4042520" cy="2123902"/>
          </a:xfrm>
        </p:grpSpPr>
        <p:grpSp>
          <p:nvGrpSpPr>
            <p:cNvPr id="15" name="Group 14">
              <a:extLst>
                <a:ext uri="{FF2B5EF4-FFF2-40B4-BE49-F238E27FC236}">
                  <a16:creationId xmlns:a16="http://schemas.microsoft.com/office/drawing/2014/main" id="{604A00A5-84AA-4FE7-8A21-E7AD3EAA985A}"/>
                </a:ext>
              </a:extLst>
            </p:cNvPr>
            <p:cNvGrpSpPr/>
            <p:nvPr/>
          </p:nvGrpSpPr>
          <p:grpSpPr>
            <a:xfrm>
              <a:off x="7406530" y="1744055"/>
              <a:ext cx="4042520" cy="2123902"/>
              <a:chOff x="7400180" y="1451955"/>
              <a:chExt cx="4042520" cy="2123902"/>
            </a:xfrm>
          </p:grpSpPr>
          <p:grpSp>
            <p:nvGrpSpPr>
              <p:cNvPr id="13" name="Group 12">
                <a:extLst>
                  <a:ext uri="{FF2B5EF4-FFF2-40B4-BE49-F238E27FC236}">
                    <a16:creationId xmlns:a16="http://schemas.microsoft.com/office/drawing/2014/main" id="{D9C77F48-2FBF-48FB-97C9-F64A6D73B5BB}"/>
                  </a:ext>
                </a:extLst>
              </p:cNvPr>
              <p:cNvGrpSpPr/>
              <p:nvPr/>
            </p:nvGrpSpPr>
            <p:grpSpPr>
              <a:xfrm>
                <a:off x="7400180" y="1451955"/>
                <a:ext cx="4042520" cy="2123902"/>
                <a:chOff x="7520830" y="1471993"/>
                <a:chExt cx="4042520" cy="2123902"/>
              </a:xfrm>
            </p:grpSpPr>
            <p:pic>
              <p:nvPicPr>
                <p:cNvPr id="4" name="Picture 3">
                  <a:extLst>
                    <a:ext uri="{FF2B5EF4-FFF2-40B4-BE49-F238E27FC236}">
                      <a16:creationId xmlns:a16="http://schemas.microsoft.com/office/drawing/2014/main" id="{EE81DED8-42E5-482C-84F4-7C2C1797A2E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20830" y="1471993"/>
                  <a:ext cx="4042520" cy="2123902"/>
                </a:xfrm>
                <a:prstGeom prst="rect">
                  <a:avLst/>
                </a:prstGeom>
              </p:spPr>
            </p:pic>
            <p:sp>
              <p:nvSpPr>
                <p:cNvPr id="10" name="Rectangle 9">
                  <a:extLst>
                    <a:ext uri="{FF2B5EF4-FFF2-40B4-BE49-F238E27FC236}">
                      <a16:creationId xmlns:a16="http://schemas.microsoft.com/office/drawing/2014/main" id="{0621538F-0F2C-4997-9A2E-F168C7707F1C}"/>
                    </a:ext>
                  </a:extLst>
                </p:cNvPr>
                <p:cNvSpPr/>
                <p:nvPr/>
              </p:nvSpPr>
              <p:spPr>
                <a:xfrm>
                  <a:off x="7835900" y="1884743"/>
                  <a:ext cx="622300" cy="24885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1" name="Rectangle 10">
                  <a:extLst>
                    <a:ext uri="{FF2B5EF4-FFF2-40B4-BE49-F238E27FC236}">
                      <a16:creationId xmlns:a16="http://schemas.microsoft.com/office/drawing/2014/main" id="{C3818AA3-725A-46B0-B2D0-3E335EAA050C}"/>
                    </a:ext>
                  </a:extLst>
                </p:cNvPr>
                <p:cNvSpPr/>
                <p:nvPr/>
              </p:nvSpPr>
              <p:spPr>
                <a:xfrm>
                  <a:off x="7740650" y="2765719"/>
                  <a:ext cx="622300" cy="24885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2" name="Oval 11">
                  <a:extLst>
                    <a:ext uri="{FF2B5EF4-FFF2-40B4-BE49-F238E27FC236}">
                      <a16:creationId xmlns:a16="http://schemas.microsoft.com/office/drawing/2014/main" id="{58BF2AEC-5A2E-4D24-A583-CAC83F9DECCB}"/>
                    </a:ext>
                  </a:extLst>
                </p:cNvPr>
                <p:cNvSpPr/>
                <p:nvPr/>
              </p:nvSpPr>
              <p:spPr>
                <a:xfrm>
                  <a:off x="7645400" y="2209196"/>
                  <a:ext cx="482600" cy="468226"/>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pSp>
          <p:sp>
            <p:nvSpPr>
              <p:cNvPr id="14" name="TextBox 13">
                <a:extLst>
                  <a:ext uri="{FF2B5EF4-FFF2-40B4-BE49-F238E27FC236}">
                    <a16:creationId xmlns:a16="http://schemas.microsoft.com/office/drawing/2014/main" id="{0D2661D8-87D2-4A51-9934-EBFB0DE48D7D}"/>
                  </a:ext>
                </a:extLst>
              </p:cNvPr>
              <p:cNvSpPr txBox="1"/>
              <p:nvPr/>
            </p:nvSpPr>
            <p:spPr>
              <a:xfrm>
                <a:off x="7520830" y="2262093"/>
                <a:ext cx="482600" cy="503626"/>
              </a:xfrm>
              <a:prstGeom prst="rect">
                <a:avLst/>
              </a:prstGeom>
            </p:spPr>
            <p:txBody>
              <a:bodyPr wrap="none" rtlCol="0">
                <a:noAutofit/>
              </a:bodyPr>
              <a:lstStyle/>
              <a:p>
                <a:pPr marL="0" indent="0">
                  <a:lnSpc>
                    <a:spcPct val="100000"/>
                  </a:lnSpc>
                  <a:spcBef>
                    <a:spcPts val="2200"/>
                  </a:spcBef>
                  <a:buClr>
                    <a:schemeClr val="accent3"/>
                  </a:buClr>
                  <a:buSzPct val="150000"/>
                  <a:buFontTx/>
                  <a:buNone/>
                </a:pPr>
                <a:r>
                  <a:rPr lang="nl-NL" sz="1200" b="0" spc="0" dirty="0"/>
                  <a:t>Start</a:t>
                </a:r>
              </a:p>
            </p:txBody>
          </p:sp>
        </p:grpSp>
        <p:sp>
          <p:nvSpPr>
            <p:cNvPr id="16" name="Oval 15">
              <a:extLst>
                <a:ext uri="{FF2B5EF4-FFF2-40B4-BE49-F238E27FC236}">
                  <a16:creationId xmlns:a16="http://schemas.microsoft.com/office/drawing/2014/main" id="{0310D0A5-95E9-4B32-884E-6059EE1F3F0E}"/>
                </a:ext>
              </a:extLst>
            </p:cNvPr>
            <p:cNvSpPr/>
            <p:nvPr/>
          </p:nvSpPr>
          <p:spPr>
            <a:xfrm>
              <a:off x="8523573" y="3037781"/>
              <a:ext cx="360000" cy="360000"/>
            </a:xfrm>
            <a:prstGeom prst="ellipse">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8" name="TextBox 17">
              <a:extLst>
                <a:ext uri="{FF2B5EF4-FFF2-40B4-BE49-F238E27FC236}">
                  <a16:creationId xmlns:a16="http://schemas.microsoft.com/office/drawing/2014/main" id="{B5ABAAF7-68D9-464D-84CA-263BFABEBC30}"/>
                </a:ext>
              </a:extLst>
            </p:cNvPr>
            <p:cNvSpPr txBox="1"/>
            <p:nvPr/>
          </p:nvSpPr>
          <p:spPr>
            <a:xfrm>
              <a:off x="8003381" y="3193238"/>
              <a:ext cx="681037" cy="597896"/>
            </a:xfrm>
            <a:prstGeom prst="rect">
              <a:avLst/>
            </a:prstGeom>
          </p:spPr>
          <p:txBody>
            <a:bodyPr wrap="square" rtlCol="0">
              <a:noAutofit/>
            </a:bodyPr>
            <a:lstStyle/>
            <a:p>
              <a:pPr marL="0" indent="0" algn="ctr">
                <a:lnSpc>
                  <a:spcPct val="100000"/>
                </a:lnSpc>
                <a:spcBef>
                  <a:spcPts val="2200"/>
                </a:spcBef>
                <a:buClr>
                  <a:schemeClr val="accent3"/>
                </a:buClr>
                <a:buSzPct val="150000"/>
                <a:buFontTx/>
                <a:buNone/>
              </a:pPr>
              <a:r>
                <a:rPr lang="nl-NL" sz="1200" b="0" spc="0" dirty="0"/>
                <a:t>Short term goal</a:t>
              </a:r>
            </a:p>
          </p:txBody>
        </p:sp>
      </p:grpSp>
      <p:sp>
        <p:nvSpPr>
          <p:cNvPr id="20" name="Text Placeholder 5">
            <a:extLst>
              <a:ext uri="{FF2B5EF4-FFF2-40B4-BE49-F238E27FC236}">
                <a16:creationId xmlns:a16="http://schemas.microsoft.com/office/drawing/2014/main" id="{0F7A190F-8A66-4243-AE4D-452AA8103EA1}"/>
              </a:ext>
            </a:extLst>
          </p:cNvPr>
          <p:cNvSpPr txBox="1">
            <a:spLocks/>
          </p:cNvSpPr>
          <p:nvPr/>
        </p:nvSpPr>
        <p:spPr>
          <a:xfrm>
            <a:off x="994200" y="4274486"/>
            <a:ext cx="10311964" cy="1865126"/>
          </a:xfrm>
          <a:prstGeom prst="rect">
            <a:avLst/>
          </a:prstGeom>
        </p:spPr>
        <p:txBody>
          <a:bodyPr>
            <a:spAutoFit/>
          </a:bodyPr>
          <a:lstStyle>
            <a:lvl1pPr marL="342900" marR="0" indent="-342900" algn="l" defTabSz="914400" rtl="0" eaLnBrk="1" fontAlgn="auto" latinLnBrk="0" hangingPunct="1">
              <a:lnSpc>
                <a:spcPct val="100000"/>
              </a:lnSpc>
              <a:spcBef>
                <a:spcPts val="2200"/>
              </a:spcBef>
              <a:spcAft>
                <a:spcPts val="0"/>
              </a:spcAft>
              <a:buClr>
                <a:srgbClr val="EDAE00"/>
              </a:buClr>
              <a:buSzTx/>
              <a:buFont typeface="Arial" charset="0"/>
              <a:buChar char="•"/>
              <a:tabLst/>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24000" lvl="1" indent="-216000">
              <a:spcBef>
                <a:spcPts val="0"/>
              </a:spcBef>
              <a:spcAft>
                <a:spcPct val="0"/>
              </a:spcAft>
              <a:buClr>
                <a:schemeClr val="tx2">
                  <a:lumMod val="100000"/>
                </a:schemeClr>
              </a:buClr>
              <a:buSzPct val="100000"/>
              <a:buFont typeface="Trebuchet MS" panose="020B0603020202020204" pitchFamily="34" charset="0"/>
              <a:buChar char="•"/>
            </a:pPr>
            <a:r>
              <a:rPr lang="en-US" sz="1600" dirty="0">
                <a:solidFill>
                  <a:schemeClr val="tx1">
                    <a:lumMod val="100000"/>
                  </a:schemeClr>
                </a:solidFill>
                <a:sym typeface="Wingdings" panose="05000000000000000000" pitchFamily="2" charset="2"/>
              </a:rPr>
              <a:t>It is OK </a:t>
            </a:r>
            <a:r>
              <a:rPr lang="en-US" sz="1600" b="1" dirty="0">
                <a:solidFill>
                  <a:schemeClr val="tx1">
                    <a:lumMod val="100000"/>
                  </a:schemeClr>
                </a:solidFill>
                <a:sym typeface="Wingdings" panose="05000000000000000000" pitchFamily="2" charset="2"/>
              </a:rPr>
              <a:t>not</a:t>
            </a:r>
            <a:r>
              <a:rPr lang="en-US" sz="1600" dirty="0">
                <a:solidFill>
                  <a:schemeClr val="tx1">
                    <a:lumMod val="100000"/>
                  </a:schemeClr>
                </a:solidFill>
                <a:sym typeface="Wingdings" panose="05000000000000000000" pitchFamily="2" charset="2"/>
              </a:rPr>
              <a:t> to have a path planned into details to reach the final destination, as it </a:t>
            </a:r>
            <a:r>
              <a:rPr lang="en-US" sz="1600" b="1" dirty="0">
                <a:solidFill>
                  <a:schemeClr val="tx1">
                    <a:lumMod val="100000"/>
                  </a:schemeClr>
                </a:solidFill>
                <a:sym typeface="Wingdings" panose="05000000000000000000" pitchFamily="2" charset="2"/>
              </a:rPr>
              <a:t>does not really matter which path one takes</a:t>
            </a:r>
            <a:r>
              <a:rPr lang="en-US" sz="1600" dirty="0">
                <a:solidFill>
                  <a:schemeClr val="tx1">
                    <a:lumMod val="100000"/>
                  </a:schemeClr>
                </a:solidFill>
                <a:sym typeface="Wingdings" panose="05000000000000000000" pitchFamily="2" charset="2"/>
              </a:rPr>
              <a:t>. What is important is a clear step towards the (next) short term goal(s), as it will bring one step forward to the final goal</a:t>
            </a:r>
          </a:p>
          <a:p>
            <a:pPr marL="324000" lvl="1" indent="-216000">
              <a:spcBef>
                <a:spcPts val="0"/>
              </a:spcBef>
              <a:spcAft>
                <a:spcPct val="0"/>
              </a:spcAft>
              <a:buClr>
                <a:schemeClr val="tx2">
                  <a:lumMod val="100000"/>
                </a:schemeClr>
              </a:buClr>
              <a:buSzPct val="100000"/>
              <a:buFont typeface="Trebuchet MS" panose="020B0603020202020204" pitchFamily="34" charset="0"/>
              <a:buChar char="•"/>
            </a:pPr>
            <a:r>
              <a:rPr lang="en-US" sz="1600" b="1" dirty="0">
                <a:solidFill>
                  <a:schemeClr val="tx1">
                    <a:lumMod val="100000"/>
                  </a:schemeClr>
                </a:solidFill>
                <a:sym typeface="Wingdings" panose="05000000000000000000" pitchFamily="2" charset="2"/>
              </a:rPr>
              <a:t>Patience, perseverance and confidence</a:t>
            </a:r>
            <a:r>
              <a:rPr lang="en-US" sz="1600" dirty="0">
                <a:solidFill>
                  <a:schemeClr val="tx1">
                    <a:lumMod val="100000"/>
                  </a:schemeClr>
                </a:solidFill>
                <a:sym typeface="Wingdings" panose="05000000000000000000" pitchFamily="2" charset="2"/>
              </a:rPr>
              <a:t>: set short terms goals, step by step, will get there!</a:t>
            </a:r>
          </a:p>
          <a:p>
            <a:pPr marL="324000" lvl="1" indent="-216000">
              <a:spcBef>
                <a:spcPts val="0"/>
              </a:spcBef>
              <a:spcAft>
                <a:spcPct val="0"/>
              </a:spcAft>
              <a:buClr>
                <a:schemeClr val="tx2">
                  <a:lumMod val="100000"/>
                </a:schemeClr>
              </a:buClr>
              <a:buSzPct val="100000"/>
              <a:buFont typeface="Trebuchet MS" panose="020B0603020202020204" pitchFamily="34" charset="0"/>
              <a:buChar char="•"/>
            </a:pPr>
            <a:r>
              <a:rPr lang="en-US" sz="1600" b="1" dirty="0">
                <a:solidFill>
                  <a:schemeClr val="tx1">
                    <a:lumMod val="100000"/>
                  </a:schemeClr>
                </a:solidFill>
                <a:sym typeface="Wingdings" panose="05000000000000000000" pitchFamily="2" charset="2"/>
              </a:rPr>
              <a:t>Collaborating</a:t>
            </a:r>
            <a:r>
              <a:rPr lang="en-US" sz="1600" dirty="0">
                <a:solidFill>
                  <a:schemeClr val="tx1">
                    <a:lumMod val="100000"/>
                  </a:schemeClr>
                </a:solidFill>
                <a:sym typeface="Wingdings" panose="05000000000000000000" pitchFamily="2" charset="2"/>
              </a:rPr>
              <a:t> with </a:t>
            </a:r>
            <a:r>
              <a:rPr lang="en-US" sz="1600" b="1" dirty="0">
                <a:solidFill>
                  <a:schemeClr val="tx1">
                    <a:lumMod val="100000"/>
                  </a:schemeClr>
                </a:solidFill>
                <a:sym typeface="Wingdings" panose="05000000000000000000" pitchFamily="2" charset="2"/>
              </a:rPr>
              <a:t>people</a:t>
            </a:r>
            <a:r>
              <a:rPr lang="en-US" sz="1600" dirty="0">
                <a:solidFill>
                  <a:schemeClr val="tx1">
                    <a:lumMod val="100000"/>
                  </a:schemeClr>
                </a:solidFill>
                <a:sym typeface="Wingdings" panose="05000000000000000000" pitchFamily="2" charset="2"/>
              </a:rPr>
              <a:t> is awesome! Magic things happen when one shares the journey with others</a:t>
            </a:r>
            <a:endParaRPr lang="en-US" sz="1600" dirty="0">
              <a:solidFill>
                <a:schemeClr val="tx1">
                  <a:lumMod val="100000"/>
                </a:schemeClr>
              </a:solidFill>
            </a:endParaRPr>
          </a:p>
        </p:txBody>
      </p:sp>
      <p:pic>
        <p:nvPicPr>
          <p:cNvPr id="22" name="Picture 1" descr="image002">
            <a:extLst>
              <a:ext uri="{FF2B5EF4-FFF2-40B4-BE49-F238E27FC236}">
                <a16:creationId xmlns:a16="http://schemas.microsoft.com/office/drawing/2014/main" id="{FEBD6742-0AF8-401C-970C-11098AD50F31}"/>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5849915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759754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Backup slides SAREF extensions</a:t>
            </a:r>
          </a:p>
        </p:txBody>
      </p:sp>
      <p:sp>
        <p:nvSpPr>
          <p:cNvPr id="3" name="Slide Number Placeholder 2"/>
          <p:cNvSpPr>
            <a:spLocks noGrp="1"/>
          </p:cNvSpPr>
          <p:nvPr>
            <p:ph type="sldNum" sz="quarter" idx="4"/>
          </p:nvPr>
        </p:nvSpPr>
        <p:spPr>
          <a:prstGeom prst="rect">
            <a:avLst/>
          </a:prstGeom>
        </p:spPr>
        <p:txBody>
          <a:bodyPr/>
          <a:lstStyle/>
          <a:p>
            <a:fld id="{EBC262BB-4310-134F-8D24-58475080D942}" type="slidenum">
              <a:rPr lang="en-US" smtClean="0"/>
              <a:pPr/>
              <a:t>58</a:t>
            </a:fld>
            <a:endParaRPr lang="en-US" dirty="0"/>
          </a:p>
        </p:txBody>
      </p:sp>
    </p:spTree>
    <p:extLst>
      <p:ext uri="{BB962C8B-B14F-4D97-AF65-F5344CB8AC3E}">
        <p14:creationId xmlns:p14="http://schemas.microsoft.com/office/powerpoint/2010/main" val="393479488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B71C370-D5AD-4285-B597-DF811FF69E0D}"/>
              </a:ext>
            </a:extLst>
          </p:cNvPr>
          <p:cNvSpPr>
            <a:spLocks noGrp="1"/>
          </p:cNvSpPr>
          <p:nvPr>
            <p:ph type="body" sz="quarter" idx="10"/>
          </p:nvPr>
        </p:nvSpPr>
        <p:spPr>
          <a:xfrm>
            <a:off x="986457" y="362663"/>
            <a:ext cx="9289200" cy="826313"/>
          </a:xfrm>
        </p:spPr>
        <p:txBody>
          <a:bodyPr/>
          <a:lstStyle/>
          <a:p>
            <a:r>
              <a:rPr lang="en-US" dirty="0"/>
              <a:t>SAREF overview</a:t>
            </a:r>
          </a:p>
        </p:txBody>
      </p:sp>
      <p:sp>
        <p:nvSpPr>
          <p:cNvPr id="4" name="Slide Number Placeholder 3">
            <a:extLst>
              <a:ext uri="{FF2B5EF4-FFF2-40B4-BE49-F238E27FC236}">
                <a16:creationId xmlns:a16="http://schemas.microsoft.com/office/drawing/2014/main" id="{0BC0E82D-E994-409C-ADF9-120374BDE6FD}"/>
              </a:ext>
            </a:extLst>
          </p:cNvPr>
          <p:cNvSpPr>
            <a:spLocks noGrp="1"/>
          </p:cNvSpPr>
          <p:nvPr>
            <p:ph type="sldNum" sz="quarter" idx="4"/>
          </p:nvPr>
        </p:nvSpPr>
        <p:spPr>
          <a:xfrm>
            <a:off x="-3" y="6132547"/>
            <a:ext cx="985767" cy="725453"/>
          </a:xfrm>
        </p:spPr>
        <p:txBody>
          <a:bodyPr/>
          <a:lstStyle/>
          <a:p>
            <a:fld id="{EBC262BB-4310-134F-8D24-58475080D942}" type="slidenum">
              <a:rPr lang="en-US" smtClean="0"/>
              <a:pPr/>
              <a:t>59</a:t>
            </a:fld>
            <a:endParaRPr lang="en-US"/>
          </a:p>
        </p:txBody>
      </p:sp>
      <p:pic>
        <p:nvPicPr>
          <p:cNvPr id="5" name="Picture 4">
            <a:extLst>
              <a:ext uri="{FF2B5EF4-FFF2-40B4-BE49-F238E27FC236}">
                <a16:creationId xmlns:a16="http://schemas.microsoft.com/office/drawing/2014/main" id="{A2617F31-8467-4815-BFD1-E29230D27B9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7835" y="1477181"/>
            <a:ext cx="10076329" cy="4676973"/>
          </a:xfrm>
          <a:prstGeom prst="rect">
            <a:avLst/>
          </a:prstGeom>
        </p:spPr>
      </p:pic>
      <p:sp>
        <p:nvSpPr>
          <p:cNvPr id="10" name="ee4pFootnotes">
            <a:extLst>
              <a:ext uri="{FF2B5EF4-FFF2-40B4-BE49-F238E27FC236}">
                <a16:creationId xmlns:a16="http://schemas.microsoft.com/office/drawing/2014/main" id="{7E077C56-6C4F-4D7E-BCD9-26F3B4424786}"/>
              </a:ext>
            </a:extLst>
          </p:cNvPr>
          <p:cNvSpPr>
            <a:spLocks noChangeArrowheads="1"/>
          </p:cNvSpPr>
          <p:nvPr/>
        </p:nvSpPr>
        <p:spPr bwMode="auto">
          <a:xfrm>
            <a:off x="2467992" y="6421441"/>
            <a:ext cx="7641096"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cs typeface="Arial" pitchFamily="34" charset="0"/>
              </a:rPr>
              <a:t>Source: ETSI TS 103 264 V3.1.1</a:t>
            </a:r>
          </a:p>
        </p:txBody>
      </p:sp>
      <p:sp>
        <p:nvSpPr>
          <p:cNvPr id="11" name="Rectangle 10">
            <a:extLst>
              <a:ext uri="{FF2B5EF4-FFF2-40B4-BE49-F238E27FC236}">
                <a16:creationId xmlns:a16="http://schemas.microsoft.com/office/drawing/2014/main" id="{4C0490AA-7912-40B0-9B96-319A8122CE01}"/>
              </a:ext>
            </a:extLst>
          </p:cNvPr>
          <p:cNvSpPr/>
          <p:nvPr/>
        </p:nvSpPr>
        <p:spPr>
          <a:xfrm>
            <a:off x="5879288" y="4997163"/>
            <a:ext cx="4229800" cy="993279"/>
          </a:xfrm>
          <a:prstGeom prst="rect">
            <a:avLst/>
          </a:prstGeom>
        </p:spPr>
        <p:txBody>
          <a:bodyPr wrap="square">
            <a:noAutofit/>
          </a:bodyPr>
          <a:lstStyle/>
          <a:p>
            <a:pPr algn="ctr">
              <a:spcBef>
                <a:spcPts val="600"/>
              </a:spcBef>
            </a:pPr>
            <a:r>
              <a:rPr lang="en-US" dirty="0"/>
              <a:t>Smart Applications REFerence ontology (SAREF)</a:t>
            </a:r>
          </a:p>
          <a:p>
            <a:pPr algn="ctr">
              <a:spcBef>
                <a:spcPts val="600"/>
              </a:spcBef>
            </a:pPr>
            <a:r>
              <a:rPr lang="en-US" dirty="0">
                <a:hlinkClick r:id="rId4"/>
              </a:rPr>
              <a:t>https://saref.etsi.org/</a:t>
            </a:r>
            <a:endParaRPr lang="en-US" dirty="0"/>
          </a:p>
        </p:txBody>
      </p:sp>
      <p:pic>
        <p:nvPicPr>
          <p:cNvPr id="12" name="Picture 1" descr="image002">
            <a:extLst>
              <a:ext uri="{FF2B5EF4-FFF2-40B4-BE49-F238E27FC236}">
                <a16:creationId xmlns:a16="http://schemas.microsoft.com/office/drawing/2014/main" id="{07510467-2EA0-4F2B-9303-E203A654C2AA}"/>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3">
            <a:extLst>
              <a:ext uri="{FF2B5EF4-FFF2-40B4-BE49-F238E27FC236}">
                <a16:creationId xmlns:a16="http://schemas.microsoft.com/office/drawing/2014/main" id="{6457AF83-A474-4424-B1E3-4016BE457C26}"/>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5050" t="25548" r="5027" b="22927"/>
          <a:stretch/>
        </p:blipFill>
        <p:spPr>
          <a:xfrm>
            <a:off x="7981248" y="313232"/>
            <a:ext cx="1270327" cy="406262"/>
          </a:xfrm>
          <a:prstGeom prst="rect">
            <a:avLst/>
          </a:prstGeom>
        </p:spPr>
      </p:pic>
    </p:spTree>
    <p:extLst>
      <p:ext uri="{BB962C8B-B14F-4D97-AF65-F5344CB8AC3E}">
        <p14:creationId xmlns:p14="http://schemas.microsoft.com/office/powerpoint/2010/main" val="8378667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5FD30CB-183D-44CE-8555-A30333FD43A4}"/>
              </a:ext>
            </a:extLst>
          </p:cNvPr>
          <p:cNvSpPr>
            <a:spLocks noGrp="1"/>
          </p:cNvSpPr>
          <p:nvPr>
            <p:ph type="body" sz="quarter" idx="11"/>
          </p:nvPr>
        </p:nvSpPr>
        <p:spPr/>
        <p:txBody>
          <a:bodyPr/>
          <a:lstStyle/>
          <a:p>
            <a:r>
              <a:rPr lang="en-US" dirty="0"/>
              <a:t>About TNO (II)</a:t>
            </a:r>
          </a:p>
        </p:txBody>
      </p:sp>
      <p:sp>
        <p:nvSpPr>
          <p:cNvPr id="4" name="Slide Number Placeholder 3">
            <a:extLst>
              <a:ext uri="{FF2B5EF4-FFF2-40B4-BE49-F238E27FC236}">
                <a16:creationId xmlns:a16="http://schemas.microsoft.com/office/drawing/2014/main" id="{0D9C590F-DB8E-40B8-A5C2-94B1C6D903BB}"/>
              </a:ext>
            </a:extLst>
          </p:cNvPr>
          <p:cNvSpPr>
            <a:spLocks noGrp="1"/>
          </p:cNvSpPr>
          <p:nvPr>
            <p:ph type="sldNum" sz="quarter" idx="4"/>
          </p:nvPr>
        </p:nvSpPr>
        <p:spPr/>
        <p:txBody>
          <a:bodyPr/>
          <a:lstStyle/>
          <a:p>
            <a:fld id="{EBC262BB-4310-134F-8D24-58475080D942}" type="slidenum">
              <a:rPr lang="en-US" smtClean="0"/>
              <a:pPr/>
              <a:t>6</a:t>
            </a:fld>
            <a:endParaRPr lang="en-US" dirty="0"/>
          </a:p>
        </p:txBody>
      </p:sp>
      <p:sp>
        <p:nvSpPr>
          <p:cNvPr id="8" name="Text Placeholder 2">
            <a:extLst>
              <a:ext uri="{FF2B5EF4-FFF2-40B4-BE49-F238E27FC236}">
                <a16:creationId xmlns:a16="http://schemas.microsoft.com/office/drawing/2014/main" id="{70D40F4B-D3E4-4EDC-9626-C64976F80FA6}"/>
              </a:ext>
            </a:extLst>
          </p:cNvPr>
          <p:cNvSpPr txBox="1">
            <a:spLocks/>
          </p:cNvSpPr>
          <p:nvPr/>
        </p:nvSpPr>
        <p:spPr>
          <a:xfrm>
            <a:off x="985765" y="1884743"/>
            <a:ext cx="3629368" cy="4228943"/>
          </a:xfrm>
          <a:prstGeom prst="rect">
            <a:avLst/>
          </a:prstGeom>
        </p:spPr>
        <p:txBody>
          <a:bodyPr lIns="91440" tIns="45720" rIns="0" bIns="0"/>
          <a:lstStyle>
            <a:lvl1pPr marL="0" indent="0" algn="l" defTabSz="914400" rtl="0" eaLnBrk="1" latinLnBrk="0" hangingPunct="1">
              <a:lnSpc>
                <a:spcPct val="100000"/>
              </a:lnSpc>
              <a:spcBef>
                <a:spcPts val="0"/>
              </a:spcBef>
              <a:buFontTx/>
              <a:buNone/>
              <a:defRPr sz="2800" b="1" kern="1200" baseline="0">
                <a:solidFill>
                  <a:srgbClr val="EDAE00"/>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buClr>
                <a:srgbClr val="EDAE00"/>
              </a:buClr>
            </a:pPr>
            <a:r>
              <a:rPr lang="en-US" sz="1800" b="0" dirty="0">
                <a:solidFill>
                  <a:schemeClr val="tx1"/>
                </a:solidFill>
              </a:rPr>
              <a:t>Organized in 9 Units</a:t>
            </a:r>
          </a:p>
          <a:p>
            <a:pPr marL="342900" indent="-342900">
              <a:spcBef>
                <a:spcPts val="600"/>
              </a:spcBef>
              <a:buClr>
                <a:srgbClr val="EDAE00"/>
              </a:buClr>
              <a:buFont typeface="Arial" charset="0"/>
              <a:buChar char="•"/>
            </a:pPr>
            <a:r>
              <a:rPr lang="en-US" sz="1600" b="0" dirty="0">
                <a:solidFill>
                  <a:schemeClr val="tx1"/>
                </a:solidFill>
              </a:rPr>
              <a:t>Buildings, Infrastructure &amp; Maritime</a:t>
            </a:r>
          </a:p>
          <a:p>
            <a:pPr marL="342900" indent="-342900">
              <a:spcBef>
                <a:spcPts val="600"/>
              </a:spcBef>
              <a:buClr>
                <a:srgbClr val="EDAE00"/>
              </a:buClr>
              <a:buFont typeface="Arial" charset="0"/>
              <a:buChar char="•"/>
            </a:pPr>
            <a:r>
              <a:rPr lang="en-US" sz="1600" b="0" dirty="0">
                <a:solidFill>
                  <a:schemeClr val="tx1"/>
                </a:solidFill>
              </a:rPr>
              <a:t>Circular Economy</a:t>
            </a:r>
            <a:br>
              <a:rPr lang="en-US" sz="1600" b="0" dirty="0">
                <a:solidFill>
                  <a:schemeClr val="tx1"/>
                </a:solidFill>
              </a:rPr>
            </a:br>
            <a:r>
              <a:rPr lang="en-US" sz="1600" b="0" dirty="0">
                <a:solidFill>
                  <a:schemeClr val="tx1"/>
                </a:solidFill>
              </a:rPr>
              <a:t>&amp; Environment</a:t>
            </a:r>
          </a:p>
          <a:p>
            <a:pPr marL="342900" indent="-342900">
              <a:spcBef>
                <a:spcPts val="600"/>
              </a:spcBef>
              <a:buClr>
                <a:srgbClr val="EDAE00"/>
              </a:buClr>
              <a:buFont typeface="Arial" charset="0"/>
              <a:buChar char="•"/>
            </a:pPr>
            <a:r>
              <a:rPr lang="en-US" sz="1600" b="0" dirty="0">
                <a:solidFill>
                  <a:schemeClr val="tx1"/>
                </a:solidFill>
              </a:rPr>
              <a:t>Defense, Safety &amp; Security</a:t>
            </a:r>
          </a:p>
          <a:p>
            <a:pPr marL="342900" indent="-342900">
              <a:spcBef>
                <a:spcPts val="600"/>
              </a:spcBef>
              <a:buClr>
                <a:srgbClr val="EDAE00"/>
              </a:buClr>
              <a:buFont typeface="Arial" charset="0"/>
              <a:buChar char="•"/>
            </a:pPr>
            <a:r>
              <a:rPr lang="en-US" sz="1600" b="0" dirty="0">
                <a:solidFill>
                  <a:schemeClr val="tx1"/>
                </a:solidFill>
              </a:rPr>
              <a:t>Energy Transition</a:t>
            </a:r>
          </a:p>
          <a:p>
            <a:pPr marL="342900" indent="-342900">
              <a:spcBef>
                <a:spcPts val="600"/>
              </a:spcBef>
              <a:buClr>
                <a:srgbClr val="EDAE00"/>
              </a:buClr>
              <a:buFont typeface="Arial" charset="0"/>
              <a:buChar char="•"/>
            </a:pPr>
            <a:r>
              <a:rPr lang="en-US" sz="1600" b="0" dirty="0">
                <a:solidFill>
                  <a:schemeClr val="tx1"/>
                </a:solidFill>
              </a:rPr>
              <a:t>Healthy Living</a:t>
            </a:r>
          </a:p>
          <a:p>
            <a:pPr marL="342900" indent="-342900">
              <a:spcBef>
                <a:spcPts val="600"/>
              </a:spcBef>
              <a:buClr>
                <a:srgbClr val="EDAE00"/>
              </a:buClr>
              <a:buFont typeface="Arial" charset="0"/>
              <a:buChar char="•"/>
            </a:pPr>
            <a:r>
              <a:rPr lang="en-US" sz="1600" b="0" dirty="0">
                <a:solidFill>
                  <a:schemeClr val="tx1"/>
                </a:solidFill>
              </a:rPr>
              <a:t>Industry</a:t>
            </a:r>
          </a:p>
          <a:p>
            <a:pPr marL="342900" indent="-342900">
              <a:spcBef>
                <a:spcPts val="600"/>
              </a:spcBef>
              <a:buClr>
                <a:srgbClr val="EDAE00"/>
              </a:buClr>
              <a:buFont typeface="Arial" charset="0"/>
              <a:buChar char="•"/>
            </a:pPr>
            <a:r>
              <a:rPr lang="en-US" sz="1600" dirty="0">
                <a:solidFill>
                  <a:schemeClr val="tx1"/>
                </a:solidFill>
              </a:rPr>
              <a:t>Information &amp; Communication Technology</a:t>
            </a:r>
          </a:p>
          <a:p>
            <a:pPr marL="342900" indent="-342900">
              <a:spcBef>
                <a:spcPts val="600"/>
              </a:spcBef>
              <a:buClr>
                <a:srgbClr val="EDAE00"/>
              </a:buClr>
              <a:buFont typeface="Arial" charset="0"/>
              <a:buChar char="•"/>
            </a:pPr>
            <a:r>
              <a:rPr lang="en-US" sz="1600" b="0" dirty="0">
                <a:solidFill>
                  <a:schemeClr val="tx1"/>
                </a:solidFill>
              </a:rPr>
              <a:t>Strategic Analysis</a:t>
            </a:r>
            <a:br>
              <a:rPr lang="en-US" sz="1600" b="0" dirty="0">
                <a:solidFill>
                  <a:schemeClr val="tx1"/>
                </a:solidFill>
              </a:rPr>
            </a:br>
            <a:r>
              <a:rPr lang="en-US" sz="1600" b="0" dirty="0">
                <a:solidFill>
                  <a:schemeClr val="tx1"/>
                </a:solidFill>
              </a:rPr>
              <a:t>&amp; Policy</a:t>
            </a:r>
          </a:p>
          <a:p>
            <a:pPr marL="342900" indent="-342900">
              <a:spcBef>
                <a:spcPts val="600"/>
              </a:spcBef>
              <a:buClr>
                <a:srgbClr val="EDAE00"/>
              </a:buClr>
              <a:buFont typeface="Arial" charset="0"/>
              <a:buChar char="•"/>
            </a:pPr>
            <a:r>
              <a:rPr lang="en-US" sz="1600" b="0" dirty="0">
                <a:solidFill>
                  <a:schemeClr val="tx1"/>
                </a:solidFill>
              </a:rPr>
              <a:t>Traffic &amp; Transport</a:t>
            </a:r>
          </a:p>
        </p:txBody>
      </p:sp>
      <p:pic>
        <p:nvPicPr>
          <p:cNvPr id="11" name="Picture 1" descr="image002">
            <a:extLst>
              <a:ext uri="{FF2B5EF4-FFF2-40B4-BE49-F238E27FC236}">
                <a16:creationId xmlns:a16="http://schemas.microsoft.com/office/drawing/2014/main" id="{2ABB324A-AE2A-4D47-9D7F-AC777666729C}"/>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4" name="Group 23"/>
          <p:cNvGrpSpPr/>
          <p:nvPr/>
        </p:nvGrpSpPr>
        <p:grpSpPr>
          <a:xfrm>
            <a:off x="6383330" y="1276399"/>
            <a:ext cx="4878750" cy="4794715"/>
            <a:chOff x="4295774" y="1470025"/>
            <a:chExt cx="4976811" cy="4891089"/>
          </a:xfrm>
        </p:grpSpPr>
        <p:sp>
          <p:nvSpPr>
            <p:cNvPr id="63" name="Freeform 6"/>
            <p:cNvSpPr>
              <a:spLocks/>
            </p:cNvSpPr>
            <p:nvPr/>
          </p:nvSpPr>
          <p:spPr bwMode="auto">
            <a:xfrm>
              <a:off x="6784972" y="1470025"/>
              <a:ext cx="1558925" cy="2420938"/>
            </a:xfrm>
            <a:custGeom>
              <a:avLst/>
              <a:gdLst>
                <a:gd name="T0" fmla="*/ 0 w 10943"/>
                <a:gd name="T1" fmla="*/ 17025 h 17025"/>
                <a:gd name="T2" fmla="*/ 10943 w 10943"/>
                <a:gd name="T3" fmla="*/ 3983 h 17025"/>
                <a:gd name="T4" fmla="*/ 0 w 10943"/>
                <a:gd name="T5" fmla="*/ 0 h 17025"/>
                <a:gd name="T6" fmla="*/ 0 w 10943"/>
                <a:gd name="T7" fmla="*/ 17025 h 17025"/>
              </a:gdLst>
              <a:ahLst/>
              <a:cxnLst>
                <a:cxn ang="0">
                  <a:pos x="T0" y="T1"/>
                </a:cxn>
                <a:cxn ang="0">
                  <a:pos x="T2" y="T3"/>
                </a:cxn>
                <a:cxn ang="0">
                  <a:pos x="T4" y="T5"/>
                </a:cxn>
                <a:cxn ang="0">
                  <a:pos x="T6" y="T7"/>
                </a:cxn>
              </a:cxnLst>
              <a:rect l="0" t="0" r="r" b="b"/>
              <a:pathLst>
                <a:path w="10943" h="17025">
                  <a:moveTo>
                    <a:pt x="0" y="17025"/>
                  </a:moveTo>
                  <a:lnTo>
                    <a:pt x="10943" y="3983"/>
                  </a:lnTo>
                  <a:cubicBezTo>
                    <a:pt x="7877" y="1410"/>
                    <a:pt x="4002" y="0"/>
                    <a:pt x="0" y="0"/>
                  </a:cubicBezTo>
                  <a:lnTo>
                    <a:pt x="0" y="17025"/>
                  </a:lnTo>
                  <a:close/>
                </a:path>
              </a:pathLst>
            </a:custGeom>
            <a:solidFill>
              <a:srgbClr val="AAC8DB"/>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7"/>
            <p:cNvSpPr>
              <a:spLocks/>
            </p:cNvSpPr>
            <p:nvPr/>
          </p:nvSpPr>
          <p:spPr bwMode="auto">
            <a:xfrm>
              <a:off x="6784972" y="2036763"/>
              <a:ext cx="2389187" cy="1854200"/>
            </a:xfrm>
            <a:custGeom>
              <a:avLst/>
              <a:gdLst>
                <a:gd name="T0" fmla="*/ 0 w 8383"/>
                <a:gd name="T1" fmla="*/ 6521 h 6521"/>
                <a:gd name="T2" fmla="*/ 8383 w 8383"/>
                <a:gd name="T3" fmla="*/ 5042 h 6521"/>
                <a:gd name="T4" fmla="*/ 5471 w 8383"/>
                <a:gd name="T5" fmla="*/ 0 h 6521"/>
                <a:gd name="T6" fmla="*/ 0 w 8383"/>
                <a:gd name="T7" fmla="*/ 6521 h 6521"/>
              </a:gdLst>
              <a:ahLst/>
              <a:cxnLst>
                <a:cxn ang="0">
                  <a:pos x="T0" y="T1"/>
                </a:cxn>
                <a:cxn ang="0">
                  <a:pos x="T2" y="T3"/>
                </a:cxn>
                <a:cxn ang="0">
                  <a:pos x="T4" y="T5"/>
                </a:cxn>
                <a:cxn ang="0">
                  <a:pos x="T6" y="T7"/>
                </a:cxn>
              </a:cxnLst>
              <a:rect l="0" t="0" r="r" b="b"/>
              <a:pathLst>
                <a:path w="8383" h="6521">
                  <a:moveTo>
                    <a:pt x="0" y="6521"/>
                  </a:moveTo>
                  <a:lnTo>
                    <a:pt x="8383" y="5042"/>
                  </a:lnTo>
                  <a:cubicBezTo>
                    <a:pt x="8035" y="3072"/>
                    <a:pt x="7004" y="1286"/>
                    <a:pt x="5471" y="0"/>
                  </a:cubicBezTo>
                  <a:lnTo>
                    <a:pt x="0" y="6521"/>
                  </a:lnTo>
                  <a:close/>
                </a:path>
              </a:pathLst>
            </a:custGeom>
            <a:solidFill>
              <a:srgbClr val="F49099"/>
            </a:solidFill>
            <a:ln w="0" cap="flat"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en-US" dirty="0"/>
            </a:p>
          </p:txBody>
        </p:sp>
        <p:sp>
          <p:nvSpPr>
            <p:cNvPr id="65" name="Freeform 8"/>
            <p:cNvSpPr>
              <a:spLocks/>
            </p:cNvSpPr>
            <p:nvPr/>
          </p:nvSpPr>
          <p:spPr bwMode="auto">
            <a:xfrm>
              <a:off x="6784972" y="3470276"/>
              <a:ext cx="2487613" cy="1631951"/>
            </a:xfrm>
            <a:custGeom>
              <a:avLst/>
              <a:gdLst>
                <a:gd name="T0" fmla="*/ 0 w 8730"/>
                <a:gd name="T1" fmla="*/ 1479 h 5735"/>
                <a:gd name="T2" fmla="*/ 7372 w 8730"/>
                <a:gd name="T3" fmla="*/ 5735 h 5735"/>
                <a:gd name="T4" fmla="*/ 8383 w 8730"/>
                <a:gd name="T5" fmla="*/ 0 h 5735"/>
                <a:gd name="T6" fmla="*/ 0 w 8730"/>
                <a:gd name="T7" fmla="*/ 1479 h 5735"/>
              </a:gdLst>
              <a:ahLst/>
              <a:cxnLst>
                <a:cxn ang="0">
                  <a:pos x="T0" y="T1"/>
                </a:cxn>
                <a:cxn ang="0">
                  <a:pos x="T2" y="T3"/>
                </a:cxn>
                <a:cxn ang="0">
                  <a:pos x="T4" y="T5"/>
                </a:cxn>
                <a:cxn ang="0">
                  <a:pos x="T6" y="T7"/>
                </a:cxn>
              </a:cxnLst>
              <a:rect l="0" t="0" r="r" b="b"/>
              <a:pathLst>
                <a:path w="8730" h="5735">
                  <a:moveTo>
                    <a:pt x="0" y="1479"/>
                  </a:moveTo>
                  <a:lnTo>
                    <a:pt x="7372" y="5735"/>
                  </a:lnTo>
                  <a:cubicBezTo>
                    <a:pt x="8372" y="4002"/>
                    <a:pt x="8730" y="1971"/>
                    <a:pt x="8383" y="0"/>
                  </a:cubicBezTo>
                  <a:lnTo>
                    <a:pt x="0" y="1479"/>
                  </a:lnTo>
                  <a:close/>
                </a:path>
              </a:pathLst>
            </a:custGeom>
            <a:solidFill>
              <a:srgbClr val="FFCD92"/>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9"/>
            <p:cNvSpPr>
              <a:spLocks/>
            </p:cNvSpPr>
            <p:nvPr/>
          </p:nvSpPr>
          <p:spPr bwMode="auto">
            <a:xfrm>
              <a:off x="6784972" y="3890963"/>
              <a:ext cx="2101850" cy="2274889"/>
            </a:xfrm>
            <a:custGeom>
              <a:avLst/>
              <a:gdLst>
                <a:gd name="T0" fmla="*/ 0 w 7372"/>
                <a:gd name="T1" fmla="*/ 0 h 7999"/>
                <a:gd name="T2" fmla="*/ 2911 w 7372"/>
                <a:gd name="T3" fmla="*/ 7999 h 7999"/>
                <a:gd name="T4" fmla="*/ 7372 w 7372"/>
                <a:gd name="T5" fmla="*/ 4256 h 7999"/>
                <a:gd name="T6" fmla="*/ 0 w 7372"/>
                <a:gd name="T7" fmla="*/ 0 h 7999"/>
              </a:gdLst>
              <a:ahLst/>
              <a:cxnLst>
                <a:cxn ang="0">
                  <a:pos x="T0" y="T1"/>
                </a:cxn>
                <a:cxn ang="0">
                  <a:pos x="T2" y="T3"/>
                </a:cxn>
                <a:cxn ang="0">
                  <a:pos x="T4" y="T5"/>
                </a:cxn>
                <a:cxn ang="0">
                  <a:pos x="T6" y="T7"/>
                </a:cxn>
              </a:cxnLst>
              <a:rect l="0" t="0" r="r" b="b"/>
              <a:pathLst>
                <a:path w="7372" h="7999">
                  <a:moveTo>
                    <a:pt x="0" y="0"/>
                  </a:moveTo>
                  <a:lnTo>
                    <a:pt x="2911" y="7999"/>
                  </a:lnTo>
                  <a:cubicBezTo>
                    <a:pt x="4792" y="7314"/>
                    <a:pt x="6371" y="5989"/>
                    <a:pt x="7372" y="4256"/>
                  </a:cubicBezTo>
                  <a:lnTo>
                    <a:pt x="0" y="0"/>
                  </a:lnTo>
                  <a:close/>
                </a:path>
              </a:pathLst>
            </a:custGeom>
            <a:solidFill>
              <a:srgbClr val="FFEA99"/>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10"/>
            <p:cNvSpPr>
              <a:spLocks/>
            </p:cNvSpPr>
            <p:nvPr/>
          </p:nvSpPr>
          <p:spPr bwMode="auto">
            <a:xfrm>
              <a:off x="5954710" y="3890963"/>
              <a:ext cx="1660525" cy="2470151"/>
            </a:xfrm>
            <a:custGeom>
              <a:avLst/>
              <a:gdLst>
                <a:gd name="T0" fmla="*/ 2912 w 5823"/>
                <a:gd name="T1" fmla="*/ 0 h 8683"/>
                <a:gd name="T2" fmla="*/ 0 w 5823"/>
                <a:gd name="T3" fmla="*/ 7999 h 8683"/>
                <a:gd name="T4" fmla="*/ 5823 w 5823"/>
                <a:gd name="T5" fmla="*/ 7999 h 8683"/>
                <a:gd name="T6" fmla="*/ 2912 w 5823"/>
                <a:gd name="T7" fmla="*/ 0 h 8683"/>
              </a:gdLst>
              <a:ahLst/>
              <a:cxnLst>
                <a:cxn ang="0">
                  <a:pos x="T0" y="T1"/>
                </a:cxn>
                <a:cxn ang="0">
                  <a:pos x="T2" y="T3"/>
                </a:cxn>
                <a:cxn ang="0">
                  <a:pos x="T4" y="T5"/>
                </a:cxn>
                <a:cxn ang="0">
                  <a:pos x="T6" y="T7"/>
                </a:cxn>
              </a:cxnLst>
              <a:rect l="0" t="0" r="r" b="b"/>
              <a:pathLst>
                <a:path w="5823" h="8683">
                  <a:moveTo>
                    <a:pt x="2912" y="0"/>
                  </a:moveTo>
                  <a:lnTo>
                    <a:pt x="0" y="7999"/>
                  </a:lnTo>
                  <a:cubicBezTo>
                    <a:pt x="1881" y="8683"/>
                    <a:pt x="3942" y="8683"/>
                    <a:pt x="5823" y="7999"/>
                  </a:cubicBezTo>
                  <a:lnTo>
                    <a:pt x="2912" y="0"/>
                  </a:lnTo>
                  <a:close/>
                </a:path>
              </a:pathLst>
            </a:custGeom>
            <a:solidFill>
              <a:srgbClr val="A2C5DF"/>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11"/>
            <p:cNvSpPr>
              <a:spLocks/>
            </p:cNvSpPr>
            <p:nvPr/>
          </p:nvSpPr>
          <p:spPr bwMode="auto">
            <a:xfrm>
              <a:off x="4683122" y="3890963"/>
              <a:ext cx="2101850" cy="2274889"/>
            </a:xfrm>
            <a:custGeom>
              <a:avLst/>
              <a:gdLst>
                <a:gd name="T0" fmla="*/ 7372 w 7372"/>
                <a:gd name="T1" fmla="*/ 0 h 7999"/>
                <a:gd name="T2" fmla="*/ 0 w 7372"/>
                <a:gd name="T3" fmla="*/ 4256 h 7999"/>
                <a:gd name="T4" fmla="*/ 4460 w 7372"/>
                <a:gd name="T5" fmla="*/ 7999 h 7999"/>
                <a:gd name="T6" fmla="*/ 7372 w 7372"/>
                <a:gd name="T7" fmla="*/ 0 h 7999"/>
              </a:gdLst>
              <a:ahLst/>
              <a:cxnLst>
                <a:cxn ang="0">
                  <a:pos x="T0" y="T1"/>
                </a:cxn>
                <a:cxn ang="0">
                  <a:pos x="T2" y="T3"/>
                </a:cxn>
                <a:cxn ang="0">
                  <a:pos x="T4" y="T5"/>
                </a:cxn>
                <a:cxn ang="0">
                  <a:pos x="T6" y="T7"/>
                </a:cxn>
              </a:cxnLst>
              <a:rect l="0" t="0" r="r" b="b"/>
              <a:pathLst>
                <a:path w="7372" h="7999">
                  <a:moveTo>
                    <a:pt x="7372" y="0"/>
                  </a:moveTo>
                  <a:lnTo>
                    <a:pt x="0" y="4256"/>
                  </a:lnTo>
                  <a:cubicBezTo>
                    <a:pt x="1000" y="5989"/>
                    <a:pt x="2580" y="7314"/>
                    <a:pt x="4460" y="7999"/>
                  </a:cubicBezTo>
                  <a:lnTo>
                    <a:pt x="7372" y="0"/>
                  </a:lnTo>
                  <a:close/>
                </a:path>
              </a:pathLst>
            </a:custGeom>
            <a:solidFill>
              <a:srgbClr val="DEE4AA"/>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12"/>
            <p:cNvSpPr>
              <a:spLocks/>
            </p:cNvSpPr>
            <p:nvPr/>
          </p:nvSpPr>
          <p:spPr bwMode="auto">
            <a:xfrm>
              <a:off x="4295774" y="3470276"/>
              <a:ext cx="2489199" cy="1631951"/>
            </a:xfrm>
            <a:custGeom>
              <a:avLst/>
              <a:gdLst>
                <a:gd name="T0" fmla="*/ 17462 w 17462"/>
                <a:gd name="T1" fmla="*/ 2957 h 11469"/>
                <a:gd name="T2" fmla="*/ 695 w 17462"/>
                <a:gd name="T3" fmla="*/ 0 h 11469"/>
                <a:gd name="T4" fmla="*/ 2718 w 17462"/>
                <a:gd name="T5" fmla="*/ 11469 h 11469"/>
                <a:gd name="T6" fmla="*/ 17462 w 17462"/>
                <a:gd name="T7" fmla="*/ 2957 h 11469"/>
              </a:gdLst>
              <a:ahLst/>
              <a:cxnLst>
                <a:cxn ang="0">
                  <a:pos x="T0" y="T1"/>
                </a:cxn>
                <a:cxn ang="0">
                  <a:pos x="T2" y="T3"/>
                </a:cxn>
                <a:cxn ang="0">
                  <a:pos x="T4" y="T5"/>
                </a:cxn>
                <a:cxn ang="0">
                  <a:pos x="T6" y="T7"/>
                </a:cxn>
              </a:cxnLst>
              <a:rect l="0" t="0" r="r" b="b"/>
              <a:pathLst>
                <a:path w="17462" h="11469">
                  <a:moveTo>
                    <a:pt x="17462" y="2957"/>
                  </a:moveTo>
                  <a:lnTo>
                    <a:pt x="695" y="0"/>
                  </a:lnTo>
                  <a:cubicBezTo>
                    <a:pt x="0" y="3942"/>
                    <a:pt x="716" y="8003"/>
                    <a:pt x="2718" y="11469"/>
                  </a:cubicBezTo>
                  <a:lnTo>
                    <a:pt x="17462" y="2957"/>
                  </a:lnTo>
                  <a:close/>
                </a:path>
              </a:pathLst>
            </a:custGeom>
            <a:solidFill>
              <a:srgbClr val="C5D08C"/>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13"/>
            <p:cNvSpPr>
              <a:spLocks/>
            </p:cNvSpPr>
            <p:nvPr/>
          </p:nvSpPr>
          <p:spPr bwMode="auto">
            <a:xfrm>
              <a:off x="4394199" y="2036763"/>
              <a:ext cx="2390775" cy="1854200"/>
            </a:xfrm>
            <a:custGeom>
              <a:avLst/>
              <a:gdLst>
                <a:gd name="T0" fmla="*/ 16767 w 16767"/>
                <a:gd name="T1" fmla="*/ 13042 h 13042"/>
                <a:gd name="T2" fmla="*/ 5823 w 16767"/>
                <a:gd name="T3" fmla="*/ 0 h 13042"/>
                <a:gd name="T4" fmla="*/ 0 w 16767"/>
                <a:gd name="T5" fmla="*/ 10085 h 13042"/>
                <a:gd name="T6" fmla="*/ 16767 w 16767"/>
                <a:gd name="T7" fmla="*/ 13042 h 13042"/>
              </a:gdLst>
              <a:ahLst/>
              <a:cxnLst>
                <a:cxn ang="0">
                  <a:pos x="T0" y="T1"/>
                </a:cxn>
                <a:cxn ang="0">
                  <a:pos x="T2" y="T3"/>
                </a:cxn>
                <a:cxn ang="0">
                  <a:pos x="T4" y="T5"/>
                </a:cxn>
                <a:cxn ang="0">
                  <a:pos x="T6" y="T7"/>
                </a:cxn>
              </a:cxnLst>
              <a:rect l="0" t="0" r="r" b="b"/>
              <a:pathLst>
                <a:path w="16767" h="13042">
                  <a:moveTo>
                    <a:pt x="16767" y="13042"/>
                  </a:moveTo>
                  <a:lnTo>
                    <a:pt x="5823" y="0"/>
                  </a:lnTo>
                  <a:cubicBezTo>
                    <a:pt x="2757" y="2573"/>
                    <a:pt x="695" y="6144"/>
                    <a:pt x="0" y="10085"/>
                  </a:cubicBezTo>
                  <a:lnTo>
                    <a:pt x="16767" y="13042"/>
                  </a:lnTo>
                  <a:close/>
                </a:path>
              </a:pathLst>
            </a:custGeom>
            <a:solidFill>
              <a:srgbClr val="EFA8CA"/>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1" name="Freeform 14"/>
            <p:cNvSpPr>
              <a:spLocks/>
            </p:cNvSpPr>
            <p:nvPr/>
          </p:nvSpPr>
          <p:spPr bwMode="auto">
            <a:xfrm>
              <a:off x="5224463" y="1470025"/>
              <a:ext cx="1560513" cy="2420938"/>
            </a:xfrm>
            <a:custGeom>
              <a:avLst/>
              <a:gdLst>
                <a:gd name="T0" fmla="*/ 10944 w 10944"/>
                <a:gd name="T1" fmla="*/ 17025 h 17025"/>
                <a:gd name="T2" fmla="*/ 10944 w 10944"/>
                <a:gd name="T3" fmla="*/ 0 h 17025"/>
                <a:gd name="T4" fmla="*/ 0 w 10944"/>
                <a:gd name="T5" fmla="*/ 3983 h 17025"/>
                <a:gd name="T6" fmla="*/ 10944 w 10944"/>
                <a:gd name="T7" fmla="*/ 17025 h 17025"/>
              </a:gdLst>
              <a:ahLst/>
              <a:cxnLst>
                <a:cxn ang="0">
                  <a:pos x="T0" y="T1"/>
                </a:cxn>
                <a:cxn ang="0">
                  <a:pos x="T2" y="T3"/>
                </a:cxn>
                <a:cxn ang="0">
                  <a:pos x="T4" y="T5"/>
                </a:cxn>
                <a:cxn ang="0">
                  <a:pos x="T6" y="T7"/>
                </a:cxn>
              </a:cxnLst>
              <a:rect l="0" t="0" r="r" b="b"/>
              <a:pathLst>
                <a:path w="10944" h="17025">
                  <a:moveTo>
                    <a:pt x="10944" y="17025"/>
                  </a:moveTo>
                  <a:lnTo>
                    <a:pt x="10944" y="0"/>
                  </a:lnTo>
                  <a:cubicBezTo>
                    <a:pt x="6941" y="0"/>
                    <a:pt x="3067" y="1410"/>
                    <a:pt x="0" y="3983"/>
                  </a:cubicBezTo>
                  <a:lnTo>
                    <a:pt x="10944" y="17025"/>
                  </a:lnTo>
                  <a:close/>
                </a:path>
              </a:pathLst>
            </a:custGeom>
            <a:solidFill>
              <a:srgbClr val="E77DAF"/>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25" name="TextBox 24"/>
          <p:cNvSpPr txBox="1"/>
          <p:nvPr/>
        </p:nvSpPr>
        <p:spPr>
          <a:xfrm rot="1148051">
            <a:off x="8933718" y="1558905"/>
            <a:ext cx="1120705" cy="374956"/>
          </a:xfrm>
          <a:prstGeom prst="rect">
            <a:avLst/>
          </a:prstGeom>
        </p:spPr>
        <p:txBody>
          <a:bodyPr wrap="square" rtlCol="0">
            <a:noAutofit/>
          </a:bodyPr>
          <a:lstStyle/>
          <a:p>
            <a:pPr marL="0" indent="0" algn="ctr">
              <a:lnSpc>
                <a:spcPct val="100000"/>
              </a:lnSpc>
              <a:spcBef>
                <a:spcPts val="2200"/>
              </a:spcBef>
              <a:buClr>
                <a:schemeClr val="accent3"/>
              </a:buClr>
              <a:buSzPct val="150000"/>
              <a:buFontTx/>
              <a:buNone/>
            </a:pPr>
            <a:r>
              <a:rPr lang="en-US" sz="1200" b="0" spc="0" dirty="0"/>
              <a:t>Buildings, infrastruc-ture and maritime</a:t>
            </a:r>
          </a:p>
        </p:txBody>
      </p:sp>
      <p:sp>
        <p:nvSpPr>
          <p:cNvPr id="26" name="TextBox 25"/>
          <p:cNvSpPr txBox="1"/>
          <p:nvPr/>
        </p:nvSpPr>
        <p:spPr>
          <a:xfrm rot="3614904">
            <a:off x="9898365" y="2470476"/>
            <a:ext cx="1258856" cy="374956"/>
          </a:xfrm>
          <a:prstGeom prst="rect">
            <a:avLst/>
          </a:prstGeom>
        </p:spPr>
        <p:txBody>
          <a:bodyPr wrap="square" rtlCol="0">
            <a:noAutofit/>
          </a:bodyPr>
          <a:lstStyle/>
          <a:p>
            <a:pPr marL="0" indent="0" algn="ctr">
              <a:lnSpc>
                <a:spcPct val="100000"/>
              </a:lnSpc>
              <a:spcBef>
                <a:spcPts val="2200"/>
              </a:spcBef>
              <a:buClr>
                <a:schemeClr val="accent3"/>
              </a:buClr>
              <a:buSzPct val="150000"/>
              <a:buFontTx/>
              <a:buNone/>
            </a:pPr>
            <a:r>
              <a:rPr lang="en-US" sz="1200" b="0" spc="0" dirty="0"/>
              <a:t>Circular economy and environment</a:t>
            </a:r>
          </a:p>
        </p:txBody>
      </p:sp>
      <p:sp>
        <p:nvSpPr>
          <p:cNvPr id="27" name="TextBox 26"/>
          <p:cNvSpPr txBox="1"/>
          <p:nvPr/>
        </p:nvSpPr>
        <p:spPr>
          <a:xfrm rot="6468645">
            <a:off x="10165147" y="3849656"/>
            <a:ext cx="1258856" cy="374956"/>
          </a:xfrm>
          <a:prstGeom prst="rect">
            <a:avLst/>
          </a:prstGeom>
          <a:ln>
            <a:noFill/>
          </a:ln>
        </p:spPr>
        <p:txBody>
          <a:bodyPr wrap="square" rtlCol="0">
            <a:noAutofit/>
          </a:bodyPr>
          <a:lstStyle/>
          <a:p>
            <a:pPr marL="0" indent="0" algn="ctr">
              <a:lnSpc>
                <a:spcPct val="100000"/>
              </a:lnSpc>
              <a:spcBef>
                <a:spcPts val="2200"/>
              </a:spcBef>
              <a:buClr>
                <a:schemeClr val="accent3"/>
              </a:buClr>
              <a:buSzPct val="150000"/>
              <a:buFontTx/>
              <a:buNone/>
            </a:pPr>
            <a:r>
              <a:rPr lang="en-US" sz="1200" b="0" spc="0" dirty="0"/>
              <a:t>Defense, safety and security</a:t>
            </a:r>
          </a:p>
        </p:txBody>
      </p:sp>
      <p:sp>
        <p:nvSpPr>
          <p:cNvPr id="28" name="TextBox 27"/>
          <p:cNvSpPr txBox="1"/>
          <p:nvPr/>
        </p:nvSpPr>
        <p:spPr>
          <a:xfrm rot="19326173">
            <a:off x="9365110" y="4785330"/>
            <a:ext cx="1258855" cy="628224"/>
          </a:xfrm>
          <a:prstGeom prst="rect">
            <a:avLst/>
          </a:prstGeom>
        </p:spPr>
        <p:txBody>
          <a:bodyPr wrap="square" rtlCol="0" anchor="b">
            <a:noAutofit/>
          </a:bodyPr>
          <a:lstStyle/>
          <a:p>
            <a:pPr marL="0" indent="0" algn="ctr">
              <a:lnSpc>
                <a:spcPct val="100000"/>
              </a:lnSpc>
              <a:spcBef>
                <a:spcPts val="2200"/>
              </a:spcBef>
              <a:buClr>
                <a:schemeClr val="accent3"/>
              </a:buClr>
              <a:buSzPct val="150000"/>
              <a:buFontTx/>
              <a:buNone/>
            </a:pPr>
            <a:r>
              <a:rPr lang="en-US" sz="1200" b="0" spc="0" dirty="0"/>
              <a:t>Energy transition</a:t>
            </a:r>
          </a:p>
        </p:txBody>
      </p:sp>
      <p:sp>
        <p:nvSpPr>
          <p:cNvPr id="29" name="TextBox 28"/>
          <p:cNvSpPr txBox="1"/>
          <p:nvPr/>
        </p:nvSpPr>
        <p:spPr>
          <a:xfrm>
            <a:off x="8184240" y="5315158"/>
            <a:ext cx="1258855" cy="519194"/>
          </a:xfrm>
          <a:prstGeom prst="rect">
            <a:avLst/>
          </a:prstGeom>
        </p:spPr>
        <p:txBody>
          <a:bodyPr wrap="square" rtlCol="0" anchor="b">
            <a:noAutofit/>
          </a:bodyPr>
          <a:lstStyle/>
          <a:p>
            <a:pPr marL="0" indent="0" algn="ctr">
              <a:lnSpc>
                <a:spcPct val="100000"/>
              </a:lnSpc>
              <a:spcBef>
                <a:spcPts val="2200"/>
              </a:spcBef>
              <a:buClr>
                <a:schemeClr val="accent3"/>
              </a:buClr>
              <a:buSzPct val="150000"/>
              <a:buFontTx/>
              <a:buNone/>
            </a:pPr>
            <a:r>
              <a:rPr lang="en-US" sz="1200" b="0" spc="0" dirty="0"/>
              <a:t>Healthy living</a:t>
            </a:r>
          </a:p>
        </p:txBody>
      </p:sp>
      <p:sp>
        <p:nvSpPr>
          <p:cNvPr id="30" name="TextBox 29"/>
          <p:cNvSpPr txBox="1"/>
          <p:nvPr/>
        </p:nvSpPr>
        <p:spPr>
          <a:xfrm rot="2461602" flipH="1">
            <a:off x="6978316" y="4794805"/>
            <a:ext cx="1258855" cy="534824"/>
          </a:xfrm>
          <a:prstGeom prst="rect">
            <a:avLst/>
          </a:prstGeom>
        </p:spPr>
        <p:txBody>
          <a:bodyPr wrap="square" rtlCol="0" anchor="b">
            <a:noAutofit/>
          </a:bodyPr>
          <a:lstStyle/>
          <a:p>
            <a:pPr marL="0" indent="0" algn="ctr">
              <a:lnSpc>
                <a:spcPct val="100000"/>
              </a:lnSpc>
              <a:spcBef>
                <a:spcPts val="2200"/>
              </a:spcBef>
              <a:buClr>
                <a:schemeClr val="accent3"/>
              </a:buClr>
              <a:buSzPct val="150000"/>
              <a:buFontTx/>
              <a:buNone/>
            </a:pPr>
            <a:r>
              <a:rPr lang="en-US" sz="1200" b="0" spc="0" dirty="0"/>
              <a:t>Industry</a:t>
            </a:r>
          </a:p>
        </p:txBody>
      </p:sp>
      <p:sp>
        <p:nvSpPr>
          <p:cNvPr id="31" name="TextBox 30"/>
          <p:cNvSpPr txBox="1"/>
          <p:nvPr/>
        </p:nvSpPr>
        <p:spPr>
          <a:xfrm rot="15795146" flipH="1">
            <a:off x="6244263" y="3676207"/>
            <a:ext cx="1440672" cy="628224"/>
          </a:xfrm>
          <a:prstGeom prst="rect">
            <a:avLst/>
          </a:prstGeom>
        </p:spPr>
        <p:txBody>
          <a:bodyPr wrap="square" rtlCol="0">
            <a:noAutofit/>
          </a:bodyPr>
          <a:lstStyle/>
          <a:p>
            <a:pPr marL="0" indent="0" algn="ctr">
              <a:lnSpc>
                <a:spcPct val="100000"/>
              </a:lnSpc>
              <a:spcBef>
                <a:spcPts val="2200"/>
              </a:spcBef>
              <a:buClr>
                <a:schemeClr val="accent3"/>
              </a:buClr>
              <a:buSzPct val="150000"/>
              <a:buFontTx/>
              <a:buNone/>
            </a:pPr>
            <a:r>
              <a:rPr lang="en-US" sz="1200" b="0" spc="0" dirty="0"/>
              <a:t>Information and communication technology</a:t>
            </a:r>
          </a:p>
        </p:txBody>
      </p:sp>
      <p:sp>
        <p:nvSpPr>
          <p:cNvPr id="32" name="TextBox 31"/>
          <p:cNvSpPr txBox="1"/>
          <p:nvPr/>
        </p:nvSpPr>
        <p:spPr>
          <a:xfrm rot="18011832" flipH="1">
            <a:off x="6448993" y="2411861"/>
            <a:ext cx="1258856" cy="374956"/>
          </a:xfrm>
          <a:prstGeom prst="rect">
            <a:avLst/>
          </a:prstGeom>
        </p:spPr>
        <p:txBody>
          <a:bodyPr wrap="square" rtlCol="0">
            <a:noAutofit/>
          </a:bodyPr>
          <a:lstStyle/>
          <a:p>
            <a:pPr marL="0" indent="0" algn="ctr">
              <a:lnSpc>
                <a:spcPct val="100000"/>
              </a:lnSpc>
              <a:spcBef>
                <a:spcPts val="2200"/>
              </a:spcBef>
              <a:buClr>
                <a:schemeClr val="accent3"/>
              </a:buClr>
              <a:buSzPct val="150000"/>
              <a:buFontTx/>
              <a:buNone/>
            </a:pPr>
            <a:r>
              <a:rPr lang="en-US" sz="1200" b="0" spc="0" dirty="0"/>
              <a:t>Strategy analysis and policy</a:t>
            </a:r>
          </a:p>
        </p:txBody>
      </p:sp>
      <p:sp>
        <p:nvSpPr>
          <p:cNvPr id="33" name="TextBox 32"/>
          <p:cNvSpPr txBox="1"/>
          <p:nvPr/>
        </p:nvSpPr>
        <p:spPr>
          <a:xfrm rot="20451949" flipH="1">
            <a:off x="7553135" y="1558906"/>
            <a:ext cx="1120705" cy="374956"/>
          </a:xfrm>
          <a:prstGeom prst="rect">
            <a:avLst/>
          </a:prstGeom>
        </p:spPr>
        <p:txBody>
          <a:bodyPr wrap="square" rtlCol="0">
            <a:noAutofit/>
          </a:bodyPr>
          <a:lstStyle/>
          <a:p>
            <a:pPr marL="0" indent="0" algn="ctr">
              <a:lnSpc>
                <a:spcPct val="100000"/>
              </a:lnSpc>
              <a:spcBef>
                <a:spcPts val="2200"/>
              </a:spcBef>
              <a:buClr>
                <a:schemeClr val="accent3"/>
              </a:buClr>
              <a:buSzPct val="150000"/>
              <a:buFontTx/>
              <a:buNone/>
            </a:pPr>
            <a:r>
              <a:rPr lang="en-US" sz="1200" b="0" spc="0" dirty="0"/>
              <a:t>Traffic and transport</a:t>
            </a:r>
          </a:p>
        </p:txBody>
      </p:sp>
      <p:sp>
        <p:nvSpPr>
          <p:cNvPr id="34" name="Oval 33"/>
          <p:cNvSpPr/>
          <p:nvPr/>
        </p:nvSpPr>
        <p:spPr>
          <a:xfrm>
            <a:off x="7783863" y="2615391"/>
            <a:ext cx="2145191" cy="2129325"/>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Oval 34"/>
          <p:cNvSpPr/>
          <p:nvPr/>
        </p:nvSpPr>
        <p:spPr>
          <a:xfrm>
            <a:off x="8202118" y="2387004"/>
            <a:ext cx="571535" cy="57153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Oval 35"/>
          <p:cNvSpPr/>
          <p:nvPr/>
        </p:nvSpPr>
        <p:spPr>
          <a:xfrm>
            <a:off x="8935816" y="2385750"/>
            <a:ext cx="571535" cy="57153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Oval 36"/>
          <p:cNvSpPr/>
          <p:nvPr/>
        </p:nvSpPr>
        <p:spPr>
          <a:xfrm>
            <a:off x="9498667" y="2856400"/>
            <a:ext cx="571535" cy="57153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Oval 37"/>
          <p:cNvSpPr/>
          <p:nvPr/>
        </p:nvSpPr>
        <p:spPr>
          <a:xfrm>
            <a:off x="9627308" y="3578733"/>
            <a:ext cx="571535" cy="57153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Oval 38"/>
          <p:cNvSpPr/>
          <p:nvPr/>
        </p:nvSpPr>
        <p:spPr>
          <a:xfrm>
            <a:off x="9261547" y="4214762"/>
            <a:ext cx="571535" cy="57153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Oval 39"/>
          <p:cNvSpPr/>
          <p:nvPr/>
        </p:nvSpPr>
        <p:spPr>
          <a:xfrm>
            <a:off x="8572525" y="4466880"/>
            <a:ext cx="571535" cy="57153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Oval 40"/>
          <p:cNvSpPr/>
          <p:nvPr/>
        </p:nvSpPr>
        <p:spPr>
          <a:xfrm>
            <a:off x="7882646" y="4217120"/>
            <a:ext cx="571535" cy="57153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Oval 41"/>
          <p:cNvSpPr/>
          <p:nvPr/>
        </p:nvSpPr>
        <p:spPr>
          <a:xfrm>
            <a:off x="7514711" y="3582347"/>
            <a:ext cx="571535" cy="57153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Oval 42"/>
          <p:cNvSpPr/>
          <p:nvPr/>
        </p:nvSpPr>
        <p:spPr>
          <a:xfrm>
            <a:off x="7640879" y="2859578"/>
            <a:ext cx="571535" cy="57153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4" name="Picture 1" descr="image002">
            <a:extLst>
              <a:ext uri="{FF2B5EF4-FFF2-40B4-BE49-F238E27FC236}">
                <a16:creationId xmlns:a16="http://schemas.microsoft.com/office/drawing/2014/main" id="{2ABB324A-AE2A-4D47-9D7F-AC777666729C}"/>
              </a:ext>
            </a:extLst>
          </p:cNvPr>
          <p:cNvPicPr>
            <a:picLocks noChangeAspect="1" noChangeArrowheads="1"/>
          </p:cNvPicPr>
          <p:nvPr/>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1003" t="22056" r="1883" b="18155"/>
          <a:stretch/>
        </p:blipFill>
        <p:spPr bwMode="auto">
          <a:xfrm>
            <a:off x="8127282" y="3544086"/>
            <a:ext cx="1458355" cy="27193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45" name="Picture 4" descr="infrastructure Icon 2083127"/>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050479" y="2500414"/>
            <a:ext cx="342207" cy="342207"/>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18" descr="strategy Icon 2290576"/>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755543" y="2974242"/>
            <a:ext cx="342207" cy="342207"/>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16" descr="touch Icon 1825680"/>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15879" r="15879"/>
          <a:stretch/>
        </p:blipFill>
        <p:spPr bwMode="auto">
          <a:xfrm>
            <a:off x="7683714" y="3697011"/>
            <a:ext cx="233530" cy="342207"/>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14" descr="Wheel Icon 2660677"/>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997310" y="4331784"/>
            <a:ext cx="342207" cy="342207"/>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2" descr="GPS Icon 1452342"/>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8316782" y="2501667"/>
            <a:ext cx="342207" cy="342207"/>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6" descr="Infinity Icon 1849039"/>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t="17609" b="24391"/>
          <a:stretch/>
        </p:blipFill>
        <p:spPr bwMode="auto">
          <a:xfrm>
            <a:off x="9562794" y="3013615"/>
            <a:ext cx="443283" cy="257104"/>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12" descr="Health Icon 1632166"/>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l="7651" t="10434" r="7651" b="10434"/>
          <a:stretch/>
        </p:blipFill>
        <p:spPr bwMode="auto">
          <a:xfrm>
            <a:off x="8675153" y="4581544"/>
            <a:ext cx="366277" cy="342207"/>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10" descr="Energy Icon 813565"/>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9376211" y="4329426"/>
            <a:ext cx="342207" cy="342207"/>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8" descr="defense Icon 1381708"/>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9741972" y="3693397"/>
            <a:ext cx="342207" cy="342207"/>
          </a:xfrm>
          <a:prstGeom prst="rect">
            <a:avLst/>
          </a:prstGeom>
          <a:noFill/>
          <a:extLst>
            <a:ext uri="{909E8E84-426E-40DD-AFC4-6F175D3DCCD1}">
              <a14:hiddenFill xmlns:a14="http://schemas.microsoft.com/office/drawing/2010/main">
                <a:solidFill>
                  <a:srgbClr val="FFFFFF"/>
                </a:solidFill>
              </a14:hiddenFill>
            </a:ext>
          </a:extLst>
        </p:spPr>
      </p:pic>
      <p:sp>
        <p:nvSpPr>
          <p:cNvPr id="54" name="Oval 53"/>
          <p:cNvSpPr/>
          <p:nvPr/>
        </p:nvSpPr>
        <p:spPr>
          <a:xfrm rot="753516">
            <a:off x="9540823" y="1281412"/>
            <a:ext cx="311066" cy="311066"/>
          </a:xfrm>
          <a:prstGeom prst="ellipse">
            <a:avLst/>
          </a:prstGeom>
          <a:solidFill>
            <a:srgbClr val="3954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a:t>
            </a:r>
          </a:p>
        </p:txBody>
      </p:sp>
      <p:sp>
        <p:nvSpPr>
          <p:cNvPr id="55" name="Oval 54"/>
          <p:cNvSpPr/>
          <p:nvPr/>
        </p:nvSpPr>
        <p:spPr>
          <a:xfrm rot="20772939">
            <a:off x="10720059" y="2277085"/>
            <a:ext cx="311066" cy="311066"/>
          </a:xfrm>
          <a:prstGeom prst="ellipse">
            <a:avLst/>
          </a:prstGeom>
          <a:solidFill>
            <a:srgbClr val="900E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a:t>
            </a:r>
          </a:p>
        </p:txBody>
      </p:sp>
      <p:sp>
        <p:nvSpPr>
          <p:cNvPr id="56" name="Oval 55"/>
          <p:cNvSpPr/>
          <p:nvPr/>
        </p:nvSpPr>
        <p:spPr>
          <a:xfrm rot="558869">
            <a:off x="11008345" y="3987654"/>
            <a:ext cx="311066" cy="311066"/>
          </a:xfrm>
          <a:prstGeom prst="ellipse">
            <a:avLst/>
          </a:prstGeom>
          <a:solidFill>
            <a:srgbClr val="AF4F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a:t>
            </a:r>
          </a:p>
        </p:txBody>
      </p:sp>
      <p:sp>
        <p:nvSpPr>
          <p:cNvPr id="57" name="Oval 56"/>
          <p:cNvSpPr/>
          <p:nvPr/>
        </p:nvSpPr>
        <p:spPr>
          <a:xfrm rot="20203558">
            <a:off x="10189994" y="5309507"/>
            <a:ext cx="311066" cy="311066"/>
          </a:xfrm>
          <a:prstGeom prst="ellipse">
            <a:avLst/>
          </a:prstGeom>
          <a:solidFill>
            <a:srgbClr val="CCA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a:t>
            </a:r>
          </a:p>
        </p:txBody>
      </p:sp>
      <p:sp>
        <p:nvSpPr>
          <p:cNvPr id="58" name="Oval 57"/>
          <p:cNvSpPr/>
          <p:nvPr/>
        </p:nvSpPr>
        <p:spPr>
          <a:xfrm>
            <a:off x="8667171" y="5877858"/>
            <a:ext cx="311066" cy="311066"/>
          </a:xfrm>
          <a:prstGeom prst="ellipse">
            <a:avLst/>
          </a:prstGeom>
          <a:solidFill>
            <a:srgbClr val="3E73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a:t>
            </a:r>
          </a:p>
        </p:txBody>
      </p:sp>
      <p:sp>
        <p:nvSpPr>
          <p:cNvPr id="59" name="Oval 58"/>
          <p:cNvSpPr/>
          <p:nvPr/>
        </p:nvSpPr>
        <p:spPr>
          <a:xfrm rot="20203558">
            <a:off x="7095709" y="5286667"/>
            <a:ext cx="311066" cy="311066"/>
          </a:xfrm>
          <a:prstGeom prst="ellipse">
            <a:avLst/>
          </a:prstGeom>
          <a:solidFill>
            <a:srgbClr val="6672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a:t>
            </a:r>
          </a:p>
        </p:txBody>
      </p:sp>
      <p:sp>
        <p:nvSpPr>
          <p:cNvPr id="60" name="Oval 59"/>
          <p:cNvSpPr/>
          <p:nvPr/>
        </p:nvSpPr>
        <p:spPr>
          <a:xfrm rot="21192054">
            <a:off x="6337443" y="3946142"/>
            <a:ext cx="311066" cy="311066"/>
          </a:xfrm>
          <a:prstGeom prst="ellipse">
            <a:avLst/>
          </a:prstGeom>
          <a:solidFill>
            <a:srgbClr val="49511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a:t>
            </a:r>
          </a:p>
        </p:txBody>
      </p:sp>
      <p:sp>
        <p:nvSpPr>
          <p:cNvPr id="61" name="Oval 60"/>
          <p:cNvSpPr/>
          <p:nvPr/>
        </p:nvSpPr>
        <p:spPr>
          <a:xfrm rot="20772939">
            <a:off x="6580531" y="2334097"/>
            <a:ext cx="311066" cy="311066"/>
          </a:xfrm>
          <a:prstGeom prst="ellipse">
            <a:avLst/>
          </a:prstGeom>
          <a:solidFill>
            <a:srgbClr val="9B2A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a:t>
            </a:r>
          </a:p>
        </p:txBody>
      </p:sp>
      <p:sp>
        <p:nvSpPr>
          <p:cNvPr id="62" name="Oval 61"/>
          <p:cNvSpPr/>
          <p:nvPr/>
        </p:nvSpPr>
        <p:spPr>
          <a:xfrm rot="20519185">
            <a:off x="7816216" y="1284992"/>
            <a:ext cx="311066" cy="311066"/>
          </a:xfrm>
          <a:prstGeom prst="ellipse">
            <a:avLst/>
          </a:prstGeom>
          <a:solidFill>
            <a:srgbClr val="7921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a:t>
            </a:r>
          </a:p>
        </p:txBody>
      </p:sp>
      <p:graphicFrame>
        <p:nvGraphicFramePr>
          <p:cNvPr id="72" name="Object 7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17" imgW="270" imgH="270" progId="TCLayout.ActiveDocument.1">
                  <p:embed/>
                </p:oleObj>
              </mc:Choice>
              <mc:Fallback>
                <p:oleObj name="think-cell Slide" r:id="rId17" imgW="270" imgH="270" progId="TCLayout.ActiveDocument.1">
                  <p:embed/>
                  <p:pic>
                    <p:nvPicPr>
                      <p:cNvPr id="72" name="Object 71" hidden="1"/>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73" name="Rectangle 72" hidden="1"/>
          <p:cNvSpPr/>
          <p:nvPr>
            <p:custDataLst>
              <p:tags r:id="rId3"/>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600" dirty="0">
              <a:solidFill>
                <a:srgbClr val="FFFFFF"/>
              </a:solidFill>
              <a:latin typeface="Trebuchet MS" panose="020B0603020202020204" pitchFamily="34" charset="0"/>
              <a:sym typeface="Trebuchet MS" panose="020B0603020202020204" pitchFamily="34" charset="0"/>
            </a:endParaRPr>
          </a:p>
        </p:txBody>
      </p:sp>
    </p:spTree>
    <p:extLst>
      <p:ext uri="{BB962C8B-B14F-4D97-AF65-F5344CB8AC3E}">
        <p14:creationId xmlns:p14="http://schemas.microsoft.com/office/powerpoint/2010/main" val="286408359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SAREF4BLDG</a:t>
            </a:r>
          </a:p>
        </p:txBody>
      </p:sp>
      <p:sp>
        <p:nvSpPr>
          <p:cNvPr id="3" name="Slide Number Placeholder 2"/>
          <p:cNvSpPr>
            <a:spLocks noGrp="1"/>
          </p:cNvSpPr>
          <p:nvPr>
            <p:ph type="sldNum" sz="quarter" idx="4"/>
          </p:nvPr>
        </p:nvSpPr>
        <p:spPr>
          <a:prstGeom prst="rect">
            <a:avLst/>
          </a:prstGeom>
        </p:spPr>
        <p:txBody>
          <a:bodyPr/>
          <a:lstStyle/>
          <a:p>
            <a:fld id="{EBC262BB-4310-134F-8D24-58475080D942}" type="slidenum">
              <a:rPr lang="en-US" smtClean="0"/>
              <a:pPr/>
              <a:t>60</a:t>
            </a:fld>
            <a:endParaRPr lang="en-US" dirty="0"/>
          </a:p>
        </p:txBody>
      </p:sp>
    </p:spTree>
    <p:extLst>
      <p:ext uri="{BB962C8B-B14F-4D97-AF65-F5344CB8AC3E}">
        <p14:creationId xmlns:p14="http://schemas.microsoft.com/office/powerpoint/2010/main" val="240635198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B71C370-D5AD-4285-B597-DF811FF69E0D}"/>
              </a:ext>
            </a:extLst>
          </p:cNvPr>
          <p:cNvSpPr>
            <a:spLocks noGrp="1"/>
          </p:cNvSpPr>
          <p:nvPr>
            <p:ph type="body" sz="quarter" idx="11"/>
          </p:nvPr>
        </p:nvSpPr>
        <p:spPr/>
        <p:txBody>
          <a:bodyPr/>
          <a:lstStyle/>
          <a:p>
            <a:r>
              <a:rPr lang="en-US" dirty="0"/>
              <a:t>SAREF4BLDG - General information</a:t>
            </a:r>
          </a:p>
        </p:txBody>
      </p:sp>
      <p:sp>
        <p:nvSpPr>
          <p:cNvPr id="4" name="Slide Number Placeholder 3">
            <a:extLst>
              <a:ext uri="{FF2B5EF4-FFF2-40B4-BE49-F238E27FC236}">
                <a16:creationId xmlns:a16="http://schemas.microsoft.com/office/drawing/2014/main" id="{0BC0E82D-E994-409C-ADF9-120374BDE6FD}"/>
              </a:ext>
            </a:extLst>
          </p:cNvPr>
          <p:cNvSpPr>
            <a:spLocks noGrp="1"/>
          </p:cNvSpPr>
          <p:nvPr>
            <p:ph type="sldNum" sz="quarter" idx="4"/>
          </p:nvPr>
        </p:nvSpPr>
        <p:spPr/>
        <p:txBody>
          <a:bodyPr/>
          <a:lstStyle/>
          <a:p>
            <a:fld id="{EBC262BB-4310-134F-8D24-58475080D942}" type="slidenum">
              <a:rPr lang="en-US" smtClean="0"/>
              <a:pPr/>
              <a:t>61</a:t>
            </a:fld>
            <a:endParaRPr lang="en-US" dirty="0"/>
          </a:p>
        </p:txBody>
      </p:sp>
      <p:sp>
        <p:nvSpPr>
          <p:cNvPr id="13" name="Text Placeholder 2">
            <a:extLst>
              <a:ext uri="{FF2B5EF4-FFF2-40B4-BE49-F238E27FC236}">
                <a16:creationId xmlns:a16="http://schemas.microsoft.com/office/drawing/2014/main" id="{8B931C60-B751-4D40-A679-4B6147277B01}"/>
              </a:ext>
            </a:extLst>
          </p:cNvPr>
          <p:cNvSpPr txBox="1">
            <a:spLocks/>
          </p:cNvSpPr>
          <p:nvPr/>
        </p:nvSpPr>
        <p:spPr>
          <a:xfrm>
            <a:off x="985764" y="1690406"/>
            <a:ext cx="9123324" cy="1446550"/>
          </a:xfrm>
          <a:prstGeom prst="rect">
            <a:avLst/>
          </a:prstGeom>
        </p:spPr>
        <p:txBody>
          <a:bodyPr lIns="0" tIns="0" rIns="0" b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600"/>
              </a:spcBef>
              <a:buFont typeface="Arial" panose="020B0604020202020204" pitchFamily="34" charset="0"/>
              <a:buNone/>
            </a:pPr>
            <a:r>
              <a:rPr lang="en-US" sz="1400" dirty="0"/>
              <a:t>SAREF4BLDG was created based on the Industry Foundation Classes (IFC) standard for building information. Not the whole standard has been transformed, the scope of this extension is limited to devices and appliances within the building domain</a:t>
            </a:r>
          </a:p>
          <a:p>
            <a:pPr marL="0" indent="0">
              <a:lnSpc>
                <a:spcPct val="100000"/>
              </a:lnSpc>
              <a:spcBef>
                <a:spcPts val="600"/>
              </a:spcBef>
              <a:buFont typeface="Arial" panose="020B0604020202020204" pitchFamily="34" charset="0"/>
              <a:buNone/>
            </a:pPr>
            <a:r>
              <a:rPr lang="en-US" sz="1400" dirty="0"/>
              <a:t>The IFC specification is developed and maintained by building SMART International as its “Data standard” and, since its version IFC4, it is published as the ISO 16739 standard</a:t>
            </a:r>
          </a:p>
          <a:p>
            <a:pPr marL="0" indent="0">
              <a:lnSpc>
                <a:spcPct val="100000"/>
              </a:lnSpc>
              <a:spcBef>
                <a:spcPts val="600"/>
              </a:spcBef>
              <a:buFont typeface="Arial" panose="020B0604020202020204" pitchFamily="34" charset="0"/>
              <a:buNone/>
            </a:pPr>
            <a:r>
              <a:rPr lang="en-US" sz="1400" dirty="0"/>
              <a:t>More info on current specification of SAREF4BLDG can be found at </a:t>
            </a:r>
            <a:r>
              <a:rPr lang="en-US" sz="1400" dirty="0">
                <a:hlinkClick r:id="rId3"/>
              </a:rPr>
              <a:t>https://saref.etsi.org/extensions.html#SAREF4BLDG</a:t>
            </a:r>
            <a:endParaRPr lang="en-US" sz="1400" dirty="0"/>
          </a:p>
        </p:txBody>
      </p:sp>
      <p:sp>
        <p:nvSpPr>
          <p:cNvPr id="14" name="Text Placeholder 2">
            <a:extLst>
              <a:ext uri="{FF2B5EF4-FFF2-40B4-BE49-F238E27FC236}">
                <a16:creationId xmlns:a16="http://schemas.microsoft.com/office/drawing/2014/main" id="{8B931C60-B751-4D40-A679-4B6147277B01}"/>
              </a:ext>
            </a:extLst>
          </p:cNvPr>
          <p:cNvSpPr txBox="1">
            <a:spLocks/>
          </p:cNvSpPr>
          <p:nvPr/>
        </p:nvSpPr>
        <p:spPr>
          <a:xfrm>
            <a:off x="985764" y="3326105"/>
            <a:ext cx="9123324" cy="2972460"/>
          </a:xfrm>
          <a:prstGeom prst="rect">
            <a:avLst/>
          </a:prstGeom>
        </p:spPr>
        <p:txBody>
          <a:bodyPr lIns="0" tIns="0" rIns="0" b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500"/>
              </a:spcBef>
              <a:buFont typeface="Arial" panose="020B0604020202020204" pitchFamily="34" charset="0"/>
              <a:buNone/>
            </a:pPr>
            <a:r>
              <a:rPr lang="en-US" sz="1200" dirty="0"/>
              <a:t>SAREF4BLDG: Extension for the building domain</a:t>
            </a:r>
          </a:p>
          <a:p>
            <a:pPr marL="342900" indent="-342900">
              <a:lnSpc>
                <a:spcPct val="100000"/>
              </a:lnSpc>
              <a:spcBef>
                <a:spcPts val="500"/>
              </a:spcBef>
              <a:buClr>
                <a:srgbClr val="EDAE00"/>
              </a:buClr>
              <a:buFont typeface="Arial" charset="0"/>
              <a:buChar char="•"/>
            </a:pPr>
            <a:r>
              <a:rPr lang="en-US" sz="1200" dirty="0"/>
              <a:t>IRI: </a:t>
            </a:r>
            <a:r>
              <a:rPr lang="en-US" sz="1200" dirty="0">
                <a:hlinkClick r:id="rId4"/>
              </a:rPr>
              <a:t>https://saref.etsi.org/saref4bldg/</a:t>
            </a:r>
            <a:endParaRPr lang="en-US" sz="1200" dirty="0"/>
          </a:p>
          <a:p>
            <a:pPr marL="342900" indent="-342900">
              <a:lnSpc>
                <a:spcPct val="100000"/>
              </a:lnSpc>
              <a:spcBef>
                <a:spcPts val="500"/>
              </a:spcBef>
              <a:buClr>
                <a:srgbClr val="EDAE00"/>
              </a:buClr>
              <a:buFont typeface="Arial" charset="0"/>
              <a:buChar char="•"/>
            </a:pPr>
            <a:r>
              <a:rPr lang="en-US" sz="1200" dirty="0"/>
              <a:t>ETSI Technical Specification: </a:t>
            </a:r>
            <a:r>
              <a:rPr lang="en-US" sz="1200" dirty="0">
                <a:hlinkClick r:id="rId5"/>
              </a:rPr>
              <a:t>ETSI TS 103 410-1 V1.1.2 (2020-05): “SmartM2M; Extension to SAREF; Part 3: Building Domain”</a:t>
            </a:r>
            <a:endParaRPr lang="en-US" sz="1200" dirty="0"/>
          </a:p>
          <a:p>
            <a:pPr marL="342900" indent="-342900">
              <a:lnSpc>
                <a:spcPct val="100000"/>
              </a:lnSpc>
              <a:spcBef>
                <a:spcPts val="500"/>
              </a:spcBef>
              <a:buClr>
                <a:srgbClr val="EDAE00"/>
              </a:buClr>
              <a:buFont typeface="Arial" charset="0"/>
              <a:buChar char="•"/>
            </a:pPr>
            <a:r>
              <a:rPr lang="en-US" sz="1200" dirty="0"/>
              <a:t>Sources: </a:t>
            </a:r>
            <a:r>
              <a:rPr lang="en-US" sz="1200" dirty="0">
                <a:hlinkClick r:id="rId6"/>
              </a:rPr>
              <a:t>https://saref.etsi.org/sources/saref4bldg</a:t>
            </a:r>
            <a:endParaRPr lang="en-US" sz="1200" dirty="0"/>
          </a:p>
          <a:p>
            <a:pPr marL="342900" indent="-342900">
              <a:lnSpc>
                <a:spcPct val="100000"/>
              </a:lnSpc>
              <a:spcBef>
                <a:spcPts val="500"/>
              </a:spcBef>
              <a:buClr>
                <a:srgbClr val="EDAE00"/>
              </a:buClr>
              <a:buFont typeface="Arial" charset="0"/>
              <a:buChar char="•"/>
            </a:pPr>
            <a:r>
              <a:rPr lang="en-US" sz="1200" dirty="0"/>
              <a:t>All versions</a:t>
            </a:r>
          </a:p>
          <a:p>
            <a:pPr marL="630238" indent="-342900">
              <a:lnSpc>
                <a:spcPct val="100000"/>
              </a:lnSpc>
              <a:spcBef>
                <a:spcPts val="500"/>
              </a:spcBef>
              <a:buClr>
                <a:schemeClr val="tx1"/>
              </a:buClr>
              <a:buFont typeface="Arial" charset="0"/>
              <a:buChar char="•"/>
            </a:pPr>
            <a:r>
              <a:rPr lang="en-US" sz="1200" dirty="0"/>
              <a:t>V1.1.2</a:t>
            </a:r>
          </a:p>
          <a:p>
            <a:pPr marL="1030288" indent="-342900">
              <a:lnSpc>
                <a:spcPct val="100000"/>
              </a:lnSpc>
              <a:spcBef>
                <a:spcPts val="500"/>
              </a:spcBef>
              <a:buClr>
                <a:schemeClr val="tx1"/>
              </a:buClr>
              <a:buFont typeface="Arial" charset="0"/>
              <a:buChar char="•"/>
            </a:pPr>
            <a:r>
              <a:rPr lang="en-US" sz="1200" dirty="0"/>
              <a:t>Version IRI: </a:t>
            </a:r>
            <a:r>
              <a:rPr lang="en-US" sz="1200" dirty="0">
                <a:hlinkClick r:id="rId7"/>
              </a:rPr>
              <a:t>https://saref.etsi.org/saref4bldg/V1.1.2/</a:t>
            </a:r>
            <a:endParaRPr lang="en-US" sz="1200" dirty="0"/>
          </a:p>
          <a:p>
            <a:pPr marL="1030288" indent="-342900">
              <a:lnSpc>
                <a:spcPct val="100000"/>
              </a:lnSpc>
              <a:spcBef>
                <a:spcPts val="500"/>
              </a:spcBef>
              <a:buClr>
                <a:schemeClr val="tx1"/>
              </a:buClr>
              <a:buFont typeface="Arial" charset="0"/>
              <a:buChar char="•"/>
            </a:pPr>
            <a:r>
              <a:rPr lang="en-US" sz="1200" dirty="0"/>
              <a:t>ETSI Technical Specification: </a:t>
            </a:r>
            <a:r>
              <a:rPr lang="en-US" sz="1200" dirty="0">
                <a:hlinkClick r:id="rId8"/>
              </a:rPr>
              <a:t>ETSI TS 103 410-3 V1.1.2 (2020-05): “SmartM2M; Extension to SAREF; Part 3: Building Domain”</a:t>
            </a:r>
            <a:endParaRPr lang="en-US" sz="1200" dirty="0"/>
          </a:p>
          <a:p>
            <a:pPr marL="630238" indent="-342900">
              <a:lnSpc>
                <a:spcPct val="100000"/>
              </a:lnSpc>
              <a:spcBef>
                <a:spcPts val="500"/>
              </a:spcBef>
              <a:buClr>
                <a:schemeClr val="tx1"/>
              </a:buClr>
              <a:buFont typeface="Arial" charset="0"/>
              <a:buChar char="•"/>
            </a:pPr>
            <a:r>
              <a:rPr lang="en-US" sz="1200" dirty="0"/>
              <a:t>V1.1.1</a:t>
            </a:r>
          </a:p>
          <a:p>
            <a:pPr marL="1030288" indent="-342900">
              <a:lnSpc>
                <a:spcPct val="100000"/>
              </a:lnSpc>
              <a:spcBef>
                <a:spcPts val="500"/>
              </a:spcBef>
              <a:buClr>
                <a:schemeClr val="tx1"/>
              </a:buClr>
              <a:buFont typeface="Arial" charset="0"/>
              <a:buChar char="•"/>
            </a:pPr>
            <a:r>
              <a:rPr lang="en-US" sz="1200" dirty="0"/>
              <a:t>ETSI Technical Specification: </a:t>
            </a:r>
            <a:r>
              <a:rPr lang="en-US" sz="1200" dirty="0">
                <a:hlinkClick r:id="rId9"/>
              </a:rPr>
              <a:t>ETSI TS 103 410-3 V1.1.1 (2017-01): “SmartM2M; Extension to SAREF; Part 3: Building Domain”</a:t>
            </a:r>
            <a:endParaRPr lang="en-US" sz="1200" dirty="0"/>
          </a:p>
        </p:txBody>
      </p:sp>
      <p:pic>
        <p:nvPicPr>
          <p:cNvPr id="7" name="Picture 1" descr="image002">
            <a:extLst>
              <a:ext uri="{FF2B5EF4-FFF2-40B4-BE49-F238E27FC236}">
                <a16:creationId xmlns:a16="http://schemas.microsoft.com/office/drawing/2014/main" id="{4E284DC7-930B-4FE6-81D3-159FF0D0B7DA}"/>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a:extLst>
              <a:ext uri="{FF2B5EF4-FFF2-40B4-BE49-F238E27FC236}">
                <a16:creationId xmlns:a16="http://schemas.microsoft.com/office/drawing/2014/main" id="{FE1E8B6F-59DB-46E1-A2EC-91ADE2D5530E}"/>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5050" t="25548" r="5027" b="22927"/>
          <a:stretch/>
        </p:blipFill>
        <p:spPr>
          <a:xfrm>
            <a:off x="7981248" y="313232"/>
            <a:ext cx="1270327" cy="406262"/>
          </a:xfrm>
          <a:prstGeom prst="rect">
            <a:avLst/>
          </a:prstGeom>
        </p:spPr>
      </p:pic>
    </p:spTree>
    <p:extLst>
      <p:ext uri="{BB962C8B-B14F-4D97-AF65-F5344CB8AC3E}">
        <p14:creationId xmlns:p14="http://schemas.microsoft.com/office/powerpoint/2010/main" val="416903257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8"/>
          </p:nvPr>
        </p:nvSpPr>
        <p:spPr/>
        <p:txBody>
          <a:bodyPr/>
          <a:lstStyle/>
          <a:p>
            <a:r>
              <a:rPr lang="en-US" dirty="0"/>
              <a:t>SAREF4BLDG - Overview</a:t>
            </a:r>
          </a:p>
          <a:p>
            <a:endParaRPr lang="en-US" dirty="0"/>
          </a:p>
        </p:txBody>
      </p:sp>
      <p:sp>
        <p:nvSpPr>
          <p:cNvPr id="2" name="Slide Number Placeholder 1"/>
          <p:cNvSpPr>
            <a:spLocks noGrp="1"/>
          </p:cNvSpPr>
          <p:nvPr>
            <p:ph type="sldNum" sz="quarter" idx="4"/>
          </p:nvPr>
        </p:nvSpPr>
        <p:spPr>
          <a:prstGeom prst="rect">
            <a:avLst/>
          </a:prstGeom>
        </p:spPr>
        <p:txBody>
          <a:bodyPr/>
          <a:lstStyle/>
          <a:p>
            <a:fld id="{EBC262BB-4310-134F-8D24-58475080D942}" type="slidenum">
              <a:rPr lang="en-US" smtClean="0"/>
              <a:pPr/>
              <a:t>62</a:t>
            </a:fld>
            <a:endParaRPr lang="en-US" dirty="0"/>
          </a:p>
        </p:txBody>
      </p:sp>
      <p:pic>
        <p:nvPicPr>
          <p:cNvPr id="7" name="Picture 6">
            <a:extLst>
              <a:ext uri="{FF2B5EF4-FFF2-40B4-BE49-F238E27FC236}">
                <a16:creationId xmlns:a16="http://schemas.microsoft.com/office/drawing/2014/main" id="{8D18DEFD-B24E-4C23-8993-DDEA113E850A}"/>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985764" y="1552539"/>
            <a:ext cx="7482914" cy="4505338"/>
          </a:xfrm>
          <a:prstGeom prst="rect">
            <a:avLst/>
          </a:prstGeom>
          <a:noFill/>
          <a:ln>
            <a:noFill/>
          </a:ln>
        </p:spPr>
      </p:pic>
      <p:pic>
        <p:nvPicPr>
          <p:cNvPr id="9" name="Picture 1" descr="image002">
            <a:extLst>
              <a:ext uri="{FF2B5EF4-FFF2-40B4-BE49-F238E27FC236}">
                <a16:creationId xmlns:a16="http://schemas.microsoft.com/office/drawing/2014/main" id="{4879A489-3B46-402A-9E1F-EB2CAECF3830}"/>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a:extLst>
              <a:ext uri="{FF2B5EF4-FFF2-40B4-BE49-F238E27FC236}">
                <a16:creationId xmlns:a16="http://schemas.microsoft.com/office/drawing/2014/main" id="{DC240A10-C5FD-4BD0-9BAD-A91432866DA3}"/>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5050" t="25548" r="5027" b="22927"/>
          <a:stretch/>
        </p:blipFill>
        <p:spPr>
          <a:xfrm>
            <a:off x="7981248" y="313232"/>
            <a:ext cx="1270327" cy="406262"/>
          </a:xfrm>
          <a:prstGeom prst="rect">
            <a:avLst/>
          </a:prstGeom>
        </p:spPr>
      </p:pic>
      <p:sp>
        <p:nvSpPr>
          <p:cNvPr id="8" name="ee4pFootnotes">
            <a:extLst>
              <a:ext uri="{FF2B5EF4-FFF2-40B4-BE49-F238E27FC236}">
                <a16:creationId xmlns:a16="http://schemas.microsoft.com/office/drawing/2014/main" id="{81981B26-1731-4689-B818-04F4E2F6AE73}"/>
              </a:ext>
            </a:extLst>
          </p:cNvPr>
          <p:cNvSpPr>
            <a:spLocks noChangeArrowheads="1"/>
          </p:cNvSpPr>
          <p:nvPr/>
        </p:nvSpPr>
        <p:spPr bwMode="auto">
          <a:xfrm>
            <a:off x="2493640" y="6405554"/>
            <a:ext cx="7641096"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cs typeface="Arial" pitchFamily="34" charset="0"/>
              </a:rPr>
              <a:t>Source: ETSI TS 103 410-3 V1.1.1 </a:t>
            </a:r>
            <a:endParaRPr lang="pt-BR" sz="1000" dirty="0">
              <a:cs typeface="Arial" pitchFamily="34" charset="0"/>
            </a:endParaRPr>
          </a:p>
          <a:p>
            <a:pPr>
              <a:lnSpc>
                <a:spcPct val="90000"/>
              </a:lnSpc>
            </a:pPr>
            <a:r>
              <a:rPr lang="pt-BR" sz="1000" dirty="0">
                <a:cs typeface="Arial" pitchFamily="34" charset="0"/>
              </a:rPr>
              <a:t>Figure by Maria Poveda-Villalon &amp; Raul Garcia Castro (UPM) </a:t>
            </a:r>
            <a:endParaRPr lang="en-US" sz="1000" dirty="0">
              <a:cs typeface="Arial" pitchFamily="34" charset="0"/>
            </a:endParaRPr>
          </a:p>
        </p:txBody>
      </p:sp>
    </p:spTree>
    <p:extLst>
      <p:ext uri="{BB962C8B-B14F-4D97-AF65-F5344CB8AC3E}">
        <p14:creationId xmlns:p14="http://schemas.microsoft.com/office/powerpoint/2010/main" val="409878563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SAREF4BLDG: Device Types (I)</a:t>
            </a:r>
          </a:p>
        </p:txBody>
      </p:sp>
      <p:sp>
        <p:nvSpPr>
          <p:cNvPr id="3" name="Slide Number Placeholder 2"/>
          <p:cNvSpPr>
            <a:spLocks noGrp="1"/>
          </p:cNvSpPr>
          <p:nvPr>
            <p:ph type="sldNum" sz="quarter" idx="4"/>
          </p:nvPr>
        </p:nvSpPr>
        <p:spPr/>
        <p:txBody>
          <a:bodyPr/>
          <a:lstStyle/>
          <a:p>
            <a:fld id="{EBC262BB-4310-134F-8D24-58475080D942}" type="slidenum">
              <a:rPr lang="en-US" smtClean="0"/>
              <a:pPr/>
              <a:t>63</a:t>
            </a:fld>
            <a:endParaRPr lang="en-US" dirty="0"/>
          </a:p>
        </p:txBody>
      </p:sp>
      <p:sp>
        <p:nvSpPr>
          <p:cNvPr id="4" name="ee4pFootnotes"/>
          <p:cNvSpPr>
            <a:spLocks noChangeArrowheads="1"/>
          </p:cNvSpPr>
          <p:nvPr/>
        </p:nvSpPr>
        <p:spPr bwMode="auto">
          <a:xfrm>
            <a:off x="2493640" y="6405554"/>
            <a:ext cx="7641096"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cs typeface="Arial" pitchFamily="34" charset="0"/>
              </a:rPr>
              <a:t>Source: ETSI TS 103 410-3 V1.1.1 </a:t>
            </a:r>
            <a:endParaRPr lang="pt-BR" sz="1000" dirty="0">
              <a:cs typeface="Arial" pitchFamily="34" charset="0"/>
            </a:endParaRPr>
          </a:p>
          <a:p>
            <a:pPr>
              <a:lnSpc>
                <a:spcPct val="90000"/>
              </a:lnSpc>
            </a:pPr>
            <a:r>
              <a:rPr lang="pt-BR" sz="1000" dirty="0">
                <a:cs typeface="Arial" pitchFamily="34" charset="0"/>
              </a:rPr>
              <a:t>Adapted from figure by Maria Poveda-Villalon &amp; Raul Garcia Castro (UPM) </a:t>
            </a:r>
            <a:endParaRPr lang="en-US" sz="1000" dirty="0">
              <a:cs typeface="Arial" pitchFamily="34" charset="0"/>
            </a:endParaRPr>
          </a:p>
        </p:txBody>
      </p:sp>
      <p:sp>
        <p:nvSpPr>
          <p:cNvPr id="31" name="Rectangle 30"/>
          <p:cNvSpPr/>
          <p:nvPr/>
        </p:nvSpPr>
        <p:spPr>
          <a:xfrm>
            <a:off x="1427652" y="6098665"/>
            <a:ext cx="1731844" cy="150990"/>
          </a:xfrm>
          <a:prstGeom prst="rect">
            <a:avLst/>
          </a:prstGeom>
          <a:solidFill>
            <a:srgbClr val="FEDA6E"/>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VibrationIsolator</a:t>
            </a:r>
          </a:p>
        </p:txBody>
      </p:sp>
      <p:sp>
        <p:nvSpPr>
          <p:cNvPr id="7" name="Rectangle 6"/>
          <p:cNvSpPr/>
          <p:nvPr/>
        </p:nvSpPr>
        <p:spPr>
          <a:xfrm>
            <a:off x="3349846" y="1586377"/>
            <a:ext cx="1731844" cy="150990"/>
          </a:xfrm>
          <a:prstGeom prst="rect">
            <a:avLst/>
          </a:prstGeom>
          <a:solidFill>
            <a:srgbClr val="FEDA6E"/>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BuildingObject</a:t>
            </a:r>
          </a:p>
        </p:txBody>
      </p:sp>
      <p:sp>
        <p:nvSpPr>
          <p:cNvPr id="11" name="Rectangle 10"/>
          <p:cNvSpPr/>
          <p:nvPr/>
        </p:nvSpPr>
        <p:spPr>
          <a:xfrm>
            <a:off x="2809925" y="2488836"/>
            <a:ext cx="1731844" cy="150990"/>
          </a:xfrm>
          <a:prstGeom prst="rect">
            <a:avLst/>
          </a:prstGeom>
          <a:solidFill>
            <a:srgbClr val="FEDA6E"/>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Actuator</a:t>
            </a:r>
          </a:p>
        </p:txBody>
      </p:sp>
      <p:sp>
        <p:nvSpPr>
          <p:cNvPr id="12" name="Rectangle 11"/>
          <p:cNvSpPr/>
          <p:nvPr/>
        </p:nvSpPr>
        <p:spPr>
          <a:xfrm>
            <a:off x="2809925" y="2714451"/>
            <a:ext cx="1731844" cy="150990"/>
          </a:xfrm>
          <a:prstGeom prst="rect">
            <a:avLst/>
          </a:prstGeom>
          <a:solidFill>
            <a:srgbClr val="FEDA6E"/>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Alarm</a:t>
            </a:r>
          </a:p>
        </p:txBody>
      </p:sp>
      <p:sp>
        <p:nvSpPr>
          <p:cNvPr id="13" name="Rectangle 12"/>
          <p:cNvSpPr/>
          <p:nvPr/>
        </p:nvSpPr>
        <p:spPr>
          <a:xfrm>
            <a:off x="5001349" y="2488836"/>
            <a:ext cx="1731844" cy="150990"/>
          </a:xfrm>
          <a:prstGeom prst="rect">
            <a:avLst/>
          </a:prstGeom>
          <a:noFill/>
          <a:ln w="12700" cap="flat" cmpd="sng" algn="ctr">
            <a:solidFill>
              <a:srgbClr val="FEC10D"/>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Saref: Actuator</a:t>
            </a:r>
          </a:p>
        </p:txBody>
      </p:sp>
      <p:sp>
        <p:nvSpPr>
          <p:cNvPr id="14" name="Rectangle 13"/>
          <p:cNvSpPr/>
          <p:nvPr/>
        </p:nvSpPr>
        <p:spPr>
          <a:xfrm>
            <a:off x="2809923" y="2940066"/>
            <a:ext cx="1731844" cy="150990"/>
          </a:xfrm>
          <a:prstGeom prst="rect">
            <a:avLst/>
          </a:prstGeom>
          <a:solidFill>
            <a:srgbClr val="FEDA6E"/>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Controller</a:t>
            </a:r>
          </a:p>
        </p:txBody>
      </p:sp>
      <p:sp>
        <p:nvSpPr>
          <p:cNvPr id="15" name="Rectangle 14"/>
          <p:cNvSpPr/>
          <p:nvPr/>
        </p:nvSpPr>
        <p:spPr>
          <a:xfrm>
            <a:off x="2809924" y="3165681"/>
            <a:ext cx="1731844" cy="150990"/>
          </a:xfrm>
          <a:prstGeom prst="rect">
            <a:avLst/>
          </a:prstGeom>
          <a:solidFill>
            <a:srgbClr val="FEDA6E"/>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ProtectiveDeviceTrippingUnit</a:t>
            </a:r>
          </a:p>
        </p:txBody>
      </p:sp>
      <p:sp>
        <p:nvSpPr>
          <p:cNvPr id="16" name="Rectangle 15"/>
          <p:cNvSpPr/>
          <p:nvPr/>
        </p:nvSpPr>
        <p:spPr>
          <a:xfrm>
            <a:off x="2809924" y="3391295"/>
            <a:ext cx="1731844" cy="150990"/>
          </a:xfrm>
          <a:prstGeom prst="rect">
            <a:avLst/>
          </a:prstGeom>
          <a:solidFill>
            <a:srgbClr val="FEDA6E"/>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Flowintrument</a:t>
            </a:r>
          </a:p>
        </p:txBody>
      </p:sp>
      <p:sp>
        <p:nvSpPr>
          <p:cNvPr id="17" name="Rectangle 16"/>
          <p:cNvSpPr/>
          <p:nvPr/>
        </p:nvSpPr>
        <p:spPr>
          <a:xfrm>
            <a:off x="2809925" y="3616910"/>
            <a:ext cx="1731844" cy="150990"/>
          </a:xfrm>
          <a:prstGeom prst="rect">
            <a:avLst/>
          </a:prstGeom>
          <a:solidFill>
            <a:srgbClr val="FEDA6E"/>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Sensor</a:t>
            </a:r>
          </a:p>
        </p:txBody>
      </p:sp>
      <p:sp>
        <p:nvSpPr>
          <p:cNvPr id="18" name="Rectangle 17"/>
          <p:cNvSpPr/>
          <p:nvPr/>
        </p:nvSpPr>
        <p:spPr>
          <a:xfrm>
            <a:off x="2809925" y="3842525"/>
            <a:ext cx="1731844" cy="150990"/>
          </a:xfrm>
          <a:prstGeom prst="rect">
            <a:avLst/>
          </a:prstGeom>
          <a:solidFill>
            <a:srgbClr val="FEDA6E"/>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UnitaryControlElement</a:t>
            </a:r>
          </a:p>
        </p:txBody>
      </p:sp>
      <p:sp>
        <p:nvSpPr>
          <p:cNvPr id="19" name="Rectangle 18"/>
          <p:cNvSpPr/>
          <p:nvPr/>
        </p:nvSpPr>
        <p:spPr>
          <a:xfrm>
            <a:off x="5001349" y="3616910"/>
            <a:ext cx="1731844" cy="150990"/>
          </a:xfrm>
          <a:prstGeom prst="rect">
            <a:avLst/>
          </a:prstGeom>
          <a:noFill/>
          <a:ln w="12700" cap="flat" cmpd="sng" algn="ctr">
            <a:solidFill>
              <a:srgbClr val="FEC10D"/>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Saref: Sensor</a:t>
            </a:r>
          </a:p>
        </p:txBody>
      </p:sp>
      <p:sp>
        <p:nvSpPr>
          <p:cNvPr id="23" name="Rectangle 22"/>
          <p:cNvSpPr/>
          <p:nvPr/>
        </p:nvSpPr>
        <p:spPr>
          <a:xfrm>
            <a:off x="2809925" y="4293756"/>
            <a:ext cx="1731844" cy="150990"/>
          </a:xfrm>
          <a:prstGeom prst="rect">
            <a:avLst/>
          </a:prstGeom>
          <a:solidFill>
            <a:srgbClr val="FEDA6E"/>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EnergyConversionDevice</a:t>
            </a:r>
          </a:p>
        </p:txBody>
      </p:sp>
      <p:sp>
        <p:nvSpPr>
          <p:cNvPr id="24" name="Rectangle 23"/>
          <p:cNvSpPr/>
          <p:nvPr/>
        </p:nvSpPr>
        <p:spPr>
          <a:xfrm>
            <a:off x="2809924" y="4519370"/>
            <a:ext cx="1731844" cy="150990"/>
          </a:xfrm>
          <a:prstGeom prst="rect">
            <a:avLst/>
          </a:prstGeom>
          <a:solidFill>
            <a:srgbClr val="FEDA6E"/>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FlowController</a:t>
            </a:r>
          </a:p>
        </p:txBody>
      </p:sp>
      <p:sp>
        <p:nvSpPr>
          <p:cNvPr id="25" name="Rectangle 24"/>
          <p:cNvSpPr/>
          <p:nvPr/>
        </p:nvSpPr>
        <p:spPr>
          <a:xfrm>
            <a:off x="2809925" y="4744985"/>
            <a:ext cx="1731844" cy="150990"/>
          </a:xfrm>
          <a:prstGeom prst="rect">
            <a:avLst/>
          </a:prstGeom>
          <a:solidFill>
            <a:srgbClr val="FEDA6E"/>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FlowMovingDevice</a:t>
            </a:r>
          </a:p>
        </p:txBody>
      </p:sp>
      <p:sp>
        <p:nvSpPr>
          <p:cNvPr id="26" name="Rectangle 25"/>
          <p:cNvSpPr/>
          <p:nvPr/>
        </p:nvSpPr>
        <p:spPr>
          <a:xfrm>
            <a:off x="2809925" y="4970600"/>
            <a:ext cx="1731844" cy="150990"/>
          </a:xfrm>
          <a:prstGeom prst="rect">
            <a:avLst/>
          </a:prstGeom>
          <a:solidFill>
            <a:srgbClr val="FEDA6E"/>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FlowStorageDevice</a:t>
            </a:r>
          </a:p>
        </p:txBody>
      </p:sp>
      <p:sp>
        <p:nvSpPr>
          <p:cNvPr id="27" name="Rectangle 26"/>
          <p:cNvSpPr/>
          <p:nvPr/>
        </p:nvSpPr>
        <p:spPr>
          <a:xfrm>
            <a:off x="2809925" y="5196215"/>
            <a:ext cx="1731844" cy="150990"/>
          </a:xfrm>
          <a:prstGeom prst="rect">
            <a:avLst/>
          </a:prstGeom>
          <a:solidFill>
            <a:srgbClr val="FEDA6E"/>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FlowTerminal</a:t>
            </a:r>
          </a:p>
        </p:txBody>
      </p:sp>
      <p:sp>
        <p:nvSpPr>
          <p:cNvPr id="28" name="Rectangle 27"/>
          <p:cNvSpPr/>
          <p:nvPr/>
        </p:nvSpPr>
        <p:spPr>
          <a:xfrm>
            <a:off x="2809925" y="5421830"/>
            <a:ext cx="1731844" cy="150990"/>
          </a:xfrm>
          <a:prstGeom prst="rect">
            <a:avLst/>
          </a:prstGeom>
          <a:solidFill>
            <a:srgbClr val="FEDA6E"/>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FlowTreatmentDevice</a:t>
            </a:r>
          </a:p>
        </p:txBody>
      </p:sp>
      <p:sp>
        <p:nvSpPr>
          <p:cNvPr id="29" name="Rectangle 28"/>
          <p:cNvSpPr/>
          <p:nvPr/>
        </p:nvSpPr>
        <p:spPr>
          <a:xfrm>
            <a:off x="1928186" y="5647445"/>
            <a:ext cx="1731844" cy="150990"/>
          </a:xfrm>
          <a:prstGeom prst="rect">
            <a:avLst/>
          </a:prstGeom>
          <a:solidFill>
            <a:srgbClr val="FEDA6E"/>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ShadingDevice</a:t>
            </a:r>
          </a:p>
        </p:txBody>
      </p:sp>
      <p:sp>
        <p:nvSpPr>
          <p:cNvPr id="30" name="Rectangle 29"/>
          <p:cNvSpPr/>
          <p:nvPr/>
        </p:nvSpPr>
        <p:spPr>
          <a:xfrm>
            <a:off x="1419642" y="5873059"/>
            <a:ext cx="1731844" cy="150990"/>
          </a:xfrm>
          <a:prstGeom prst="rect">
            <a:avLst/>
          </a:prstGeom>
          <a:solidFill>
            <a:srgbClr val="FEDA6E"/>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TransportElement</a:t>
            </a:r>
          </a:p>
        </p:txBody>
      </p:sp>
      <p:cxnSp>
        <p:nvCxnSpPr>
          <p:cNvPr id="34" name="Elbow Connector 35"/>
          <p:cNvCxnSpPr>
            <a:stCxn id="8" idx="3"/>
            <a:endCxn id="7" idx="2"/>
          </p:cNvCxnSpPr>
          <p:nvPr/>
        </p:nvCxnSpPr>
        <p:spPr>
          <a:xfrm flipV="1">
            <a:off x="3151487" y="1737367"/>
            <a:ext cx="1064281" cy="150120"/>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38" name="Elbow Connector 35"/>
          <p:cNvCxnSpPr>
            <a:stCxn id="11" idx="3"/>
            <a:endCxn id="13" idx="1"/>
          </p:cNvCxnSpPr>
          <p:nvPr/>
        </p:nvCxnSpPr>
        <p:spPr>
          <a:xfrm>
            <a:off x="4541769" y="2564331"/>
            <a:ext cx="459580" cy="0"/>
          </a:xfrm>
          <a:prstGeom prst="straightConnector1">
            <a:avLst/>
          </a:prstGeom>
          <a:ln>
            <a:prstDash val="solid"/>
            <a:tailEnd type="stealth"/>
          </a:ln>
        </p:spPr>
        <p:style>
          <a:lnRef idx="1">
            <a:schemeClr val="accent1"/>
          </a:lnRef>
          <a:fillRef idx="0">
            <a:schemeClr val="accent1"/>
          </a:fillRef>
          <a:effectRef idx="0">
            <a:schemeClr val="accent1"/>
          </a:effectRef>
          <a:fontRef idx="minor">
            <a:schemeClr val="tx1"/>
          </a:fontRef>
        </p:style>
      </p:cxnSp>
      <p:sp>
        <p:nvSpPr>
          <p:cNvPr id="6" name="Rectangle 5"/>
          <p:cNvSpPr/>
          <p:nvPr/>
        </p:nvSpPr>
        <p:spPr>
          <a:xfrm>
            <a:off x="985764" y="1360762"/>
            <a:ext cx="1731844" cy="150990"/>
          </a:xfrm>
          <a:prstGeom prst="rect">
            <a:avLst/>
          </a:prstGeom>
          <a:noFill/>
          <a:ln w="12700" cap="flat" cmpd="sng" algn="ctr">
            <a:solidFill>
              <a:srgbClr val="FEC10D"/>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Saref: Device</a:t>
            </a:r>
          </a:p>
        </p:txBody>
      </p:sp>
      <p:sp>
        <p:nvSpPr>
          <p:cNvPr id="41" name="Rectangle 40"/>
          <p:cNvSpPr/>
          <p:nvPr/>
        </p:nvSpPr>
        <p:spPr>
          <a:xfrm>
            <a:off x="1066899" y="1465576"/>
            <a:ext cx="149797" cy="46176"/>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cxnSp>
        <p:nvCxnSpPr>
          <p:cNvPr id="42" name="Elbow Connector 35"/>
          <p:cNvCxnSpPr>
            <a:stCxn id="8" idx="1"/>
            <a:endCxn id="41" idx="2"/>
          </p:cNvCxnSpPr>
          <p:nvPr/>
        </p:nvCxnSpPr>
        <p:spPr>
          <a:xfrm rot="10800000">
            <a:off x="1141799" y="1511753"/>
            <a:ext cx="277845" cy="375735"/>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1419643" y="1811992"/>
            <a:ext cx="1731844" cy="150990"/>
          </a:xfrm>
          <a:prstGeom prst="rect">
            <a:avLst/>
          </a:prstGeom>
          <a:solidFill>
            <a:srgbClr val="FEDA6E"/>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BuildingDevice</a:t>
            </a:r>
          </a:p>
        </p:txBody>
      </p:sp>
      <p:sp>
        <p:nvSpPr>
          <p:cNvPr id="46" name="Rectangle 45"/>
          <p:cNvSpPr/>
          <p:nvPr/>
        </p:nvSpPr>
        <p:spPr>
          <a:xfrm>
            <a:off x="1531166" y="1916806"/>
            <a:ext cx="127580" cy="46176"/>
          </a:xfrm>
          <a:prstGeom prst="rect">
            <a:avLst/>
          </a:prstGeom>
          <a:solidFill>
            <a:srgbClr val="FEDA6E"/>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cxnSp>
        <p:nvCxnSpPr>
          <p:cNvPr id="48" name="Elbow Connector 35"/>
          <p:cNvCxnSpPr>
            <a:stCxn id="9" idx="1"/>
            <a:endCxn id="46" idx="2"/>
          </p:cNvCxnSpPr>
          <p:nvPr/>
        </p:nvCxnSpPr>
        <p:spPr>
          <a:xfrm rot="10800000">
            <a:off x="1594957" y="1962983"/>
            <a:ext cx="333229" cy="150119"/>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1928185" y="2037606"/>
            <a:ext cx="1731844" cy="150990"/>
          </a:xfrm>
          <a:prstGeom prst="rect">
            <a:avLst/>
          </a:prstGeom>
          <a:solidFill>
            <a:srgbClr val="FEDA6E"/>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DistributionDevice</a:t>
            </a:r>
          </a:p>
        </p:txBody>
      </p:sp>
      <p:sp>
        <p:nvSpPr>
          <p:cNvPr id="53" name="Rectangle 52"/>
          <p:cNvSpPr/>
          <p:nvPr/>
        </p:nvSpPr>
        <p:spPr>
          <a:xfrm>
            <a:off x="2037260" y="2142160"/>
            <a:ext cx="115203" cy="46176"/>
          </a:xfrm>
          <a:prstGeom prst="rect">
            <a:avLst/>
          </a:prstGeom>
          <a:solidFill>
            <a:srgbClr val="FEDA6E"/>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cxnSp>
        <p:nvCxnSpPr>
          <p:cNvPr id="54" name="Elbow Connector 35"/>
          <p:cNvCxnSpPr>
            <a:stCxn id="10" idx="1"/>
            <a:endCxn id="53" idx="2"/>
          </p:cNvCxnSpPr>
          <p:nvPr/>
        </p:nvCxnSpPr>
        <p:spPr>
          <a:xfrm rot="10800000">
            <a:off x="2094862" y="2188336"/>
            <a:ext cx="302200" cy="150380"/>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2397062" y="2263221"/>
            <a:ext cx="1731844" cy="150990"/>
          </a:xfrm>
          <a:prstGeom prst="rect">
            <a:avLst/>
          </a:prstGeom>
          <a:solidFill>
            <a:srgbClr val="FEDA6E"/>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DistributionControlDevice</a:t>
            </a:r>
          </a:p>
        </p:txBody>
      </p:sp>
      <p:sp>
        <p:nvSpPr>
          <p:cNvPr id="58" name="Rectangle 57"/>
          <p:cNvSpPr/>
          <p:nvPr/>
        </p:nvSpPr>
        <p:spPr>
          <a:xfrm>
            <a:off x="2493640" y="2368035"/>
            <a:ext cx="75823" cy="4617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cxnSp>
        <p:nvCxnSpPr>
          <p:cNvPr id="59" name="Elbow Connector 35"/>
          <p:cNvCxnSpPr>
            <a:stCxn id="11" idx="1"/>
            <a:endCxn id="58" idx="2"/>
          </p:cNvCxnSpPr>
          <p:nvPr/>
        </p:nvCxnSpPr>
        <p:spPr>
          <a:xfrm rot="10800000">
            <a:off x="2531553" y="2414211"/>
            <a:ext cx="278373" cy="150120"/>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63" name="Elbow Connector 35"/>
          <p:cNvCxnSpPr>
            <a:stCxn id="12" idx="1"/>
            <a:endCxn id="58" idx="2"/>
          </p:cNvCxnSpPr>
          <p:nvPr/>
        </p:nvCxnSpPr>
        <p:spPr>
          <a:xfrm rot="10800000">
            <a:off x="2531553" y="2414212"/>
            <a:ext cx="278373" cy="375735"/>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66" name="Elbow Connector 35"/>
          <p:cNvCxnSpPr>
            <a:stCxn id="14" idx="1"/>
            <a:endCxn id="58" idx="2"/>
          </p:cNvCxnSpPr>
          <p:nvPr/>
        </p:nvCxnSpPr>
        <p:spPr>
          <a:xfrm rot="10800000">
            <a:off x="2531553" y="2414211"/>
            <a:ext cx="278371" cy="601350"/>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69" name="Elbow Connector 35"/>
          <p:cNvCxnSpPr>
            <a:stCxn id="16" idx="1"/>
            <a:endCxn id="58" idx="2"/>
          </p:cNvCxnSpPr>
          <p:nvPr/>
        </p:nvCxnSpPr>
        <p:spPr>
          <a:xfrm rot="10800000">
            <a:off x="2531552" y="2414212"/>
            <a:ext cx="278372" cy="1052579"/>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72" name="Elbow Connector 35"/>
          <p:cNvCxnSpPr>
            <a:stCxn id="17" idx="1"/>
            <a:endCxn id="58" idx="2"/>
          </p:cNvCxnSpPr>
          <p:nvPr/>
        </p:nvCxnSpPr>
        <p:spPr>
          <a:xfrm rot="10800000">
            <a:off x="2531553" y="2414211"/>
            <a:ext cx="278373" cy="1278194"/>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75" name="Elbow Connector 35"/>
          <p:cNvCxnSpPr>
            <a:stCxn id="18" idx="1"/>
            <a:endCxn id="58" idx="2"/>
          </p:cNvCxnSpPr>
          <p:nvPr/>
        </p:nvCxnSpPr>
        <p:spPr>
          <a:xfrm rot="10800000">
            <a:off x="2531553" y="2414212"/>
            <a:ext cx="278373" cy="1503809"/>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79" name="Elbow Connector 35"/>
          <p:cNvCxnSpPr>
            <a:stCxn id="17" idx="3"/>
            <a:endCxn id="19" idx="1"/>
          </p:cNvCxnSpPr>
          <p:nvPr/>
        </p:nvCxnSpPr>
        <p:spPr>
          <a:xfrm>
            <a:off x="4541769" y="3692405"/>
            <a:ext cx="459580" cy="0"/>
          </a:xfrm>
          <a:prstGeom prst="straightConnector1">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82" name="Elbow Connector 35"/>
          <p:cNvCxnSpPr>
            <a:stCxn id="22" idx="1"/>
            <a:endCxn id="53" idx="2"/>
          </p:cNvCxnSpPr>
          <p:nvPr/>
        </p:nvCxnSpPr>
        <p:spPr>
          <a:xfrm rot="10800000">
            <a:off x="2094863" y="2188337"/>
            <a:ext cx="298209" cy="1955299"/>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sp>
        <p:nvSpPr>
          <p:cNvPr id="22" name="Rectangle 21"/>
          <p:cNvSpPr/>
          <p:nvPr/>
        </p:nvSpPr>
        <p:spPr>
          <a:xfrm>
            <a:off x="2393071" y="4068140"/>
            <a:ext cx="1731844" cy="150990"/>
          </a:xfrm>
          <a:prstGeom prst="rect">
            <a:avLst/>
          </a:prstGeom>
          <a:solidFill>
            <a:srgbClr val="FEDA6E"/>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DistributionFlowDevice</a:t>
            </a:r>
          </a:p>
        </p:txBody>
      </p:sp>
      <p:sp>
        <p:nvSpPr>
          <p:cNvPr id="92" name="Rectangle 91"/>
          <p:cNvSpPr/>
          <p:nvPr/>
        </p:nvSpPr>
        <p:spPr>
          <a:xfrm>
            <a:off x="2516709" y="4172955"/>
            <a:ext cx="89976" cy="4617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cxnSp>
        <p:nvCxnSpPr>
          <p:cNvPr id="93" name="Elbow Connector 35"/>
          <p:cNvCxnSpPr>
            <a:stCxn id="23" idx="1"/>
            <a:endCxn id="92" idx="2"/>
          </p:cNvCxnSpPr>
          <p:nvPr/>
        </p:nvCxnSpPr>
        <p:spPr>
          <a:xfrm rot="10800000">
            <a:off x="2561697" y="4219131"/>
            <a:ext cx="248228" cy="150120"/>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96" name="Elbow Connector 35"/>
          <p:cNvCxnSpPr>
            <a:stCxn id="24" idx="1"/>
            <a:endCxn id="92" idx="2"/>
          </p:cNvCxnSpPr>
          <p:nvPr/>
        </p:nvCxnSpPr>
        <p:spPr>
          <a:xfrm rot="10800000">
            <a:off x="2561698" y="4219131"/>
            <a:ext cx="248227" cy="375734"/>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99" name="Elbow Connector 35"/>
          <p:cNvCxnSpPr>
            <a:stCxn id="25" idx="1"/>
            <a:endCxn id="92" idx="2"/>
          </p:cNvCxnSpPr>
          <p:nvPr/>
        </p:nvCxnSpPr>
        <p:spPr>
          <a:xfrm rot="10800000">
            <a:off x="2561697" y="4219132"/>
            <a:ext cx="248228" cy="601349"/>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02" name="Elbow Connector 35"/>
          <p:cNvCxnSpPr>
            <a:stCxn id="26" idx="1"/>
            <a:endCxn id="92" idx="2"/>
          </p:cNvCxnSpPr>
          <p:nvPr/>
        </p:nvCxnSpPr>
        <p:spPr>
          <a:xfrm rot="10800000">
            <a:off x="2561697" y="4219131"/>
            <a:ext cx="248228" cy="826964"/>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05" name="Elbow Connector 35"/>
          <p:cNvCxnSpPr>
            <a:stCxn id="27" idx="1"/>
            <a:endCxn id="92" idx="2"/>
          </p:cNvCxnSpPr>
          <p:nvPr/>
        </p:nvCxnSpPr>
        <p:spPr>
          <a:xfrm rot="10800000">
            <a:off x="2561697" y="4219132"/>
            <a:ext cx="248228" cy="1052579"/>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09" name="Elbow Connector 35"/>
          <p:cNvCxnSpPr>
            <a:stCxn id="28" idx="1"/>
            <a:endCxn id="92" idx="2"/>
          </p:cNvCxnSpPr>
          <p:nvPr/>
        </p:nvCxnSpPr>
        <p:spPr>
          <a:xfrm rot="10800000">
            <a:off x="2561697" y="4219131"/>
            <a:ext cx="248228" cy="1278194"/>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12" name="Elbow Connector 35"/>
          <p:cNvCxnSpPr>
            <a:stCxn id="29" idx="1"/>
            <a:endCxn id="46" idx="2"/>
          </p:cNvCxnSpPr>
          <p:nvPr/>
        </p:nvCxnSpPr>
        <p:spPr>
          <a:xfrm rot="10800000">
            <a:off x="1594956" y="1962982"/>
            <a:ext cx="333230" cy="3759958"/>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15" name="Elbow Connector 35"/>
          <p:cNvCxnSpPr>
            <a:stCxn id="30" idx="1"/>
            <a:endCxn id="41" idx="2"/>
          </p:cNvCxnSpPr>
          <p:nvPr/>
        </p:nvCxnSpPr>
        <p:spPr>
          <a:xfrm rot="10800000">
            <a:off x="1141798" y="1511752"/>
            <a:ext cx="277844" cy="4436802"/>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18" name="Elbow Connector 35"/>
          <p:cNvCxnSpPr>
            <a:stCxn id="31" idx="1"/>
            <a:endCxn id="41" idx="2"/>
          </p:cNvCxnSpPr>
          <p:nvPr/>
        </p:nvCxnSpPr>
        <p:spPr>
          <a:xfrm rot="10800000">
            <a:off x="1141798" y="1511752"/>
            <a:ext cx="285854" cy="4662408"/>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29" name="Elbow Connector 35"/>
          <p:cNvCxnSpPr>
            <a:stCxn id="15" idx="1"/>
            <a:endCxn id="58" idx="2"/>
          </p:cNvCxnSpPr>
          <p:nvPr/>
        </p:nvCxnSpPr>
        <p:spPr>
          <a:xfrm rot="10800000">
            <a:off x="2531552" y="2414212"/>
            <a:ext cx="278372" cy="826965"/>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pic>
        <p:nvPicPr>
          <p:cNvPr id="57" name="Picture 1" descr="image002">
            <a:extLst>
              <a:ext uri="{FF2B5EF4-FFF2-40B4-BE49-F238E27FC236}">
                <a16:creationId xmlns:a16="http://schemas.microsoft.com/office/drawing/2014/main" id="{7AA11853-A18C-4D0F-9B66-4B9DBB619495}"/>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59">
            <a:extLst>
              <a:ext uri="{FF2B5EF4-FFF2-40B4-BE49-F238E27FC236}">
                <a16:creationId xmlns:a16="http://schemas.microsoft.com/office/drawing/2014/main" id="{885C5DD2-CBE9-45F0-8498-6DA63F4C42E8}"/>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5050" t="25548" r="5027" b="22927"/>
          <a:stretch/>
        </p:blipFill>
        <p:spPr>
          <a:xfrm>
            <a:off x="7981248" y="313232"/>
            <a:ext cx="1270327" cy="406262"/>
          </a:xfrm>
          <a:prstGeom prst="rect">
            <a:avLst/>
          </a:prstGeom>
        </p:spPr>
      </p:pic>
    </p:spTree>
    <p:extLst>
      <p:ext uri="{BB962C8B-B14F-4D97-AF65-F5344CB8AC3E}">
        <p14:creationId xmlns:p14="http://schemas.microsoft.com/office/powerpoint/2010/main" val="5616236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985764" y="362663"/>
            <a:ext cx="9123324" cy="826313"/>
          </a:xfrm>
        </p:spPr>
        <p:txBody>
          <a:bodyPr/>
          <a:lstStyle/>
          <a:p>
            <a:r>
              <a:rPr lang="en-US" dirty="0"/>
              <a:t>SAREF4BLDG: Device Types (II)</a:t>
            </a:r>
          </a:p>
        </p:txBody>
      </p:sp>
      <p:sp>
        <p:nvSpPr>
          <p:cNvPr id="3" name="Slide Number Placeholder 2"/>
          <p:cNvSpPr>
            <a:spLocks noGrp="1"/>
          </p:cNvSpPr>
          <p:nvPr>
            <p:ph type="sldNum" sz="quarter" idx="4"/>
          </p:nvPr>
        </p:nvSpPr>
        <p:spPr/>
        <p:txBody>
          <a:bodyPr/>
          <a:lstStyle/>
          <a:p>
            <a:fld id="{EBC262BB-4310-134F-8D24-58475080D942}" type="slidenum">
              <a:rPr lang="en-US" smtClean="0"/>
              <a:pPr/>
              <a:t>64</a:t>
            </a:fld>
            <a:endParaRPr lang="en-US" dirty="0"/>
          </a:p>
        </p:txBody>
      </p:sp>
      <p:sp>
        <p:nvSpPr>
          <p:cNvPr id="62" name="Rectangle 61"/>
          <p:cNvSpPr/>
          <p:nvPr/>
        </p:nvSpPr>
        <p:spPr>
          <a:xfrm>
            <a:off x="4865455" y="1586377"/>
            <a:ext cx="1363942" cy="15627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DistributionFlowDevice</a:t>
            </a:r>
          </a:p>
        </p:txBody>
      </p:sp>
      <p:sp>
        <p:nvSpPr>
          <p:cNvPr id="67" name="Rectangle 66"/>
          <p:cNvSpPr/>
          <p:nvPr/>
        </p:nvSpPr>
        <p:spPr>
          <a:xfrm>
            <a:off x="5641392" y="1984425"/>
            <a:ext cx="1363942" cy="15627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FlowStorageDevice</a:t>
            </a:r>
          </a:p>
        </p:txBody>
      </p:sp>
      <p:sp>
        <p:nvSpPr>
          <p:cNvPr id="68" name="Rectangle 67"/>
          <p:cNvSpPr/>
          <p:nvPr/>
        </p:nvSpPr>
        <p:spPr>
          <a:xfrm>
            <a:off x="8745145" y="1984425"/>
            <a:ext cx="1363942" cy="15627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FlowTreatmentDevice</a:t>
            </a:r>
          </a:p>
        </p:txBody>
      </p:sp>
      <p:sp>
        <p:nvSpPr>
          <p:cNvPr id="64" name="Rectangle 63"/>
          <p:cNvSpPr/>
          <p:nvPr/>
        </p:nvSpPr>
        <p:spPr>
          <a:xfrm>
            <a:off x="985764" y="1984425"/>
            <a:ext cx="1363942" cy="15627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EnergyConversionDevice</a:t>
            </a:r>
          </a:p>
        </p:txBody>
      </p:sp>
      <p:sp>
        <p:nvSpPr>
          <p:cNvPr id="70" name="Rectangle 69"/>
          <p:cNvSpPr/>
          <p:nvPr/>
        </p:nvSpPr>
        <p:spPr>
          <a:xfrm>
            <a:off x="1089594" y="2211944"/>
            <a:ext cx="1260112" cy="15627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AirToAirHeatRecovery</a:t>
            </a:r>
          </a:p>
        </p:txBody>
      </p:sp>
      <p:sp>
        <p:nvSpPr>
          <p:cNvPr id="71" name="Rectangle 70"/>
          <p:cNvSpPr/>
          <p:nvPr/>
        </p:nvSpPr>
        <p:spPr>
          <a:xfrm>
            <a:off x="1089594" y="2439463"/>
            <a:ext cx="1260112" cy="15627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Boiler</a:t>
            </a:r>
          </a:p>
        </p:txBody>
      </p:sp>
      <p:sp>
        <p:nvSpPr>
          <p:cNvPr id="73" name="Rectangle 72"/>
          <p:cNvSpPr/>
          <p:nvPr/>
        </p:nvSpPr>
        <p:spPr>
          <a:xfrm>
            <a:off x="1089594" y="2666982"/>
            <a:ext cx="1260112" cy="15627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Burner</a:t>
            </a:r>
          </a:p>
        </p:txBody>
      </p:sp>
      <p:sp>
        <p:nvSpPr>
          <p:cNvPr id="74" name="Rectangle 73"/>
          <p:cNvSpPr/>
          <p:nvPr/>
        </p:nvSpPr>
        <p:spPr>
          <a:xfrm>
            <a:off x="1089594" y="2894501"/>
            <a:ext cx="1260112" cy="15627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Chiller</a:t>
            </a:r>
          </a:p>
        </p:txBody>
      </p:sp>
      <p:sp>
        <p:nvSpPr>
          <p:cNvPr id="76" name="Rectangle 75"/>
          <p:cNvSpPr/>
          <p:nvPr/>
        </p:nvSpPr>
        <p:spPr>
          <a:xfrm>
            <a:off x="1089594" y="3122020"/>
            <a:ext cx="1260112" cy="15627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Coil</a:t>
            </a:r>
          </a:p>
        </p:txBody>
      </p:sp>
      <p:sp>
        <p:nvSpPr>
          <p:cNvPr id="77" name="Rectangle 76"/>
          <p:cNvSpPr/>
          <p:nvPr/>
        </p:nvSpPr>
        <p:spPr>
          <a:xfrm>
            <a:off x="1089594" y="3349539"/>
            <a:ext cx="1260112" cy="15627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Condenser</a:t>
            </a:r>
          </a:p>
        </p:txBody>
      </p:sp>
      <p:sp>
        <p:nvSpPr>
          <p:cNvPr id="78" name="Rectangle 77"/>
          <p:cNvSpPr/>
          <p:nvPr/>
        </p:nvSpPr>
        <p:spPr>
          <a:xfrm>
            <a:off x="1089594" y="3577058"/>
            <a:ext cx="1260112" cy="15627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CooledBeem</a:t>
            </a:r>
          </a:p>
        </p:txBody>
      </p:sp>
      <p:sp>
        <p:nvSpPr>
          <p:cNvPr id="80" name="Rectangle 79"/>
          <p:cNvSpPr/>
          <p:nvPr/>
        </p:nvSpPr>
        <p:spPr>
          <a:xfrm>
            <a:off x="1089594" y="3804577"/>
            <a:ext cx="1260112" cy="15627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CoolingTower</a:t>
            </a:r>
          </a:p>
        </p:txBody>
      </p:sp>
      <p:sp>
        <p:nvSpPr>
          <p:cNvPr id="81" name="Rectangle 80"/>
          <p:cNvSpPr/>
          <p:nvPr/>
        </p:nvSpPr>
        <p:spPr>
          <a:xfrm>
            <a:off x="1089594" y="4032096"/>
            <a:ext cx="1260112" cy="15627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ElectricGenerator</a:t>
            </a:r>
          </a:p>
        </p:txBody>
      </p:sp>
      <p:sp>
        <p:nvSpPr>
          <p:cNvPr id="83" name="Rectangle 82"/>
          <p:cNvSpPr/>
          <p:nvPr/>
        </p:nvSpPr>
        <p:spPr>
          <a:xfrm>
            <a:off x="1089594" y="4259615"/>
            <a:ext cx="1260112" cy="15627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ElectricMotor</a:t>
            </a:r>
          </a:p>
        </p:txBody>
      </p:sp>
      <p:sp>
        <p:nvSpPr>
          <p:cNvPr id="84" name="Rectangle 83"/>
          <p:cNvSpPr/>
          <p:nvPr/>
        </p:nvSpPr>
        <p:spPr>
          <a:xfrm>
            <a:off x="1089594" y="4487133"/>
            <a:ext cx="1260112" cy="15627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Engine</a:t>
            </a:r>
          </a:p>
        </p:txBody>
      </p:sp>
      <p:sp>
        <p:nvSpPr>
          <p:cNvPr id="85" name="Rectangle 84"/>
          <p:cNvSpPr/>
          <p:nvPr/>
        </p:nvSpPr>
        <p:spPr>
          <a:xfrm>
            <a:off x="1089594" y="4714652"/>
            <a:ext cx="1260112" cy="15627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EvaporativeCooler</a:t>
            </a:r>
          </a:p>
        </p:txBody>
      </p:sp>
      <p:sp>
        <p:nvSpPr>
          <p:cNvPr id="86" name="Rectangle 85"/>
          <p:cNvSpPr/>
          <p:nvPr/>
        </p:nvSpPr>
        <p:spPr>
          <a:xfrm>
            <a:off x="1089594" y="4942171"/>
            <a:ext cx="1260112" cy="15627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Evaporator</a:t>
            </a:r>
          </a:p>
        </p:txBody>
      </p:sp>
      <p:sp>
        <p:nvSpPr>
          <p:cNvPr id="87" name="Rectangle 86"/>
          <p:cNvSpPr/>
          <p:nvPr/>
        </p:nvSpPr>
        <p:spPr>
          <a:xfrm>
            <a:off x="1089594" y="5169690"/>
            <a:ext cx="1260112" cy="15627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HeatExchange</a:t>
            </a:r>
          </a:p>
        </p:txBody>
      </p:sp>
      <p:sp>
        <p:nvSpPr>
          <p:cNvPr id="88" name="Rectangle 87"/>
          <p:cNvSpPr/>
          <p:nvPr/>
        </p:nvSpPr>
        <p:spPr>
          <a:xfrm>
            <a:off x="1089594" y="5397209"/>
            <a:ext cx="1260112" cy="15627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Humidifier</a:t>
            </a:r>
          </a:p>
        </p:txBody>
      </p:sp>
      <p:sp>
        <p:nvSpPr>
          <p:cNvPr id="89" name="Rectangle 88"/>
          <p:cNvSpPr/>
          <p:nvPr/>
        </p:nvSpPr>
        <p:spPr>
          <a:xfrm>
            <a:off x="1089594" y="5624728"/>
            <a:ext cx="1260112" cy="15627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SolarDevice</a:t>
            </a:r>
          </a:p>
        </p:txBody>
      </p:sp>
      <p:sp>
        <p:nvSpPr>
          <p:cNvPr id="90" name="Rectangle 89"/>
          <p:cNvSpPr/>
          <p:nvPr/>
        </p:nvSpPr>
        <p:spPr>
          <a:xfrm>
            <a:off x="1089594" y="5852247"/>
            <a:ext cx="1260112" cy="15627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Transformer</a:t>
            </a:r>
          </a:p>
        </p:txBody>
      </p:sp>
      <p:sp>
        <p:nvSpPr>
          <p:cNvPr id="91" name="Rectangle 90"/>
          <p:cNvSpPr/>
          <p:nvPr/>
        </p:nvSpPr>
        <p:spPr>
          <a:xfrm>
            <a:off x="1089594" y="6079766"/>
            <a:ext cx="1260112" cy="15627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TubeBundle</a:t>
            </a:r>
          </a:p>
        </p:txBody>
      </p:sp>
      <p:sp>
        <p:nvSpPr>
          <p:cNvPr id="65" name="Rectangle 64"/>
          <p:cNvSpPr/>
          <p:nvPr/>
        </p:nvSpPr>
        <p:spPr>
          <a:xfrm>
            <a:off x="2537640" y="1984425"/>
            <a:ext cx="1363942" cy="15627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FlowController</a:t>
            </a:r>
          </a:p>
        </p:txBody>
      </p:sp>
      <p:sp>
        <p:nvSpPr>
          <p:cNvPr id="94" name="Rectangle 93"/>
          <p:cNvSpPr/>
          <p:nvPr/>
        </p:nvSpPr>
        <p:spPr>
          <a:xfrm>
            <a:off x="2641470" y="2211944"/>
            <a:ext cx="1260112" cy="15627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Damper</a:t>
            </a:r>
          </a:p>
        </p:txBody>
      </p:sp>
      <p:sp>
        <p:nvSpPr>
          <p:cNvPr id="95" name="Rectangle 94"/>
          <p:cNvSpPr/>
          <p:nvPr/>
        </p:nvSpPr>
        <p:spPr>
          <a:xfrm>
            <a:off x="2641470" y="2439463"/>
            <a:ext cx="1260112" cy="15627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ElectricTimeControl</a:t>
            </a:r>
          </a:p>
        </p:txBody>
      </p:sp>
      <p:sp>
        <p:nvSpPr>
          <p:cNvPr id="97" name="Rectangle 96"/>
          <p:cNvSpPr/>
          <p:nvPr/>
        </p:nvSpPr>
        <p:spPr>
          <a:xfrm>
            <a:off x="2641470" y="2666982"/>
            <a:ext cx="1260112" cy="15627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FlowMeter</a:t>
            </a:r>
          </a:p>
        </p:txBody>
      </p:sp>
      <p:sp>
        <p:nvSpPr>
          <p:cNvPr id="98" name="Rectangle 97"/>
          <p:cNvSpPr/>
          <p:nvPr/>
        </p:nvSpPr>
        <p:spPr>
          <a:xfrm>
            <a:off x="2641470" y="2894501"/>
            <a:ext cx="1260112" cy="15627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ProtectiveDevice</a:t>
            </a:r>
          </a:p>
        </p:txBody>
      </p:sp>
      <p:sp>
        <p:nvSpPr>
          <p:cNvPr id="100" name="Rectangle 99"/>
          <p:cNvSpPr/>
          <p:nvPr/>
        </p:nvSpPr>
        <p:spPr>
          <a:xfrm>
            <a:off x="2641470" y="3122020"/>
            <a:ext cx="1260112" cy="15627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SwitchingDevice</a:t>
            </a:r>
          </a:p>
        </p:txBody>
      </p:sp>
      <p:sp>
        <p:nvSpPr>
          <p:cNvPr id="101" name="Rectangle 100"/>
          <p:cNvSpPr/>
          <p:nvPr/>
        </p:nvSpPr>
        <p:spPr>
          <a:xfrm>
            <a:off x="2641470" y="3349539"/>
            <a:ext cx="1260112" cy="15627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Valve</a:t>
            </a:r>
          </a:p>
        </p:txBody>
      </p:sp>
      <p:sp>
        <p:nvSpPr>
          <p:cNvPr id="114" name="Rectangle 113"/>
          <p:cNvSpPr/>
          <p:nvPr/>
        </p:nvSpPr>
        <p:spPr>
          <a:xfrm>
            <a:off x="4089516" y="1984425"/>
            <a:ext cx="1363942" cy="15627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FlowMovingDevice</a:t>
            </a:r>
          </a:p>
        </p:txBody>
      </p:sp>
      <p:sp>
        <p:nvSpPr>
          <p:cNvPr id="116" name="Rectangle 115"/>
          <p:cNvSpPr/>
          <p:nvPr/>
        </p:nvSpPr>
        <p:spPr>
          <a:xfrm>
            <a:off x="4193346" y="2211944"/>
            <a:ext cx="1260112" cy="15627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Compressor</a:t>
            </a:r>
          </a:p>
        </p:txBody>
      </p:sp>
      <p:sp>
        <p:nvSpPr>
          <p:cNvPr id="117" name="Rectangle 116"/>
          <p:cNvSpPr/>
          <p:nvPr/>
        </p:nvSpPr>
        <p:spPr>
          <a:xfrm>
            <a:off x="4193346" y="2439463"/>
            <a:ext cx="1260112" cy="15627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Fan</a:t>
            </a:r>
          </a:p>
        </p:txBody>
      </p:sp>
      <p:sp>
        <p:nvSpPr>
          <p:cNvPr id="119" name="Rectangle 118"/>
          <p:cNvSpPr/>
          <p:nvPr/>
        </p:nvSpPr>
        <p:spPr>
          <a:xfrm>
            <a:off x="4193346" y="2666982"/>
            <a:ext cx="1260112" cy="15627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Pump</a:t>
            </a:r>
          </a:p>
        </p:txBody>
      </p:sp>
      <p:sp>
        <p:nvSpPr>
          <p:cNvPr id="127" name="Rectangle 126"/>
          <p:cNvSpPr/>
          <p:nvPr/>
        </p:nvSpPr>
        <p:spPr>
          <a:xfrm>
            <a:off x="7193268" y="1984425"/>
            <a:ext cx="1363942" cy="15627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FlowTerminal</a:t>
            </a:r>
          </a:p>
        </p:txBody>
      </p:sp>
      <p:sp>
        <p:nvSpPr>
          <p:cNvPr id="128" name="Rectangle 127"/>
          <p:cNvSpPr/>
          <p:nvPr/>
        </p:nvSpPr>
        <p:spPr>
          <a:xfrm>
            <a:off x="5745222" y="2211944"/>
            <a:ext cx="1260112" cy="383796"/>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ElectricFlowStorage</a:t>
            </a:r>
            <a:br>
              <a:rPr lang="en-US" sz="800" dirty="0">
                <a:solidFill>
                  <a:schemeClr val="tx1"/>
                </a:solidFill>
              </a:rPr>
            </a:br>
            <a:r>
              <a:rPr lang="en-US" sz="800" dirty="0">
                <a:solidFill>
                  <a:schemeClr val="tx1"/>
                </a:solidFill>
              </a:rPr>
              <a:t>Device</a:t>
            </a:r>
          </a:p>
        </p:txBody>
      </p:sp>
      <p:sp>
        <p:nvSpPr>
          <p:cNvPr id="131" name="Rectangle 130"/>
          <p:cNvSpPr/>
          <p:nvPr/>
        </p:nvSpPr>
        <p:spPr>
          <a:xfrm>
            <a:off x="5745222" y="2666982"/>
            <a:ext cx="1260112" cy="15627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Tank</a:t>
            </a:r>
          </a:p>
        </p:txBody>
      </p:sp>
      <p:sp>
        <p:nvSpPr>
          <p:cNvPr id="132" name="Rectangle 131"/>
          <p:cNvSpPr/>
          <p:nvPr/>
        </p:nvSpPr>
        <p:spPr>
          <a:xfrm>
            <a:off x="8848976" y="2211944"/>
            <a:ext cx="1260112" cy="15627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DuctSilencer</a:t>
            </a:r>
          </a:p>
        </p:txBody>
      </p:sp>
      <p:sp>
        <p:nvSpPr>
          <p:cNvPr id="133" name="Rectangle 132"/>
          <p:cNvSpPr/>
          <p:nvPr/>
        </p:nvSpPr>
        <p:spPr>
          <a:xfrm>
            <a:off x="8848976" y="2439463"/>
            <a:ext cx="1260112" cy="15627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Filter</a:t>
            </a:r>
          </a:p>
        </p:txBody>
      </p:sp>
      <p:sp>
        <p:nvSpPr>
          <p:cNvPr id="135" name="Rectangle 134"/>
          <p:cNvSpPr/>
          <p:nvPr/>
        </p:nvSpPr>
        <p:spPr>
          <a:xfrm>
            <a:off x="8848976" y="2666982"/>
            <a:ext cx="1260112" cy="15627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Interceptor</a:t>
            </a:r>
          </a:p>
        </p:txBody>
      </p:sp>
      <p:sp>
        <p:nvSpPr>
          <p:cNvPr id="136" name="Rectangle 135"/>
          <p:cNvSpPr/>
          <p:nvPr/>
        </p:nvSpPr>
        <p:spPr>
          <a:xfrm>
            <a:off x="7297097" y="2211944"/>
            <a:ext cx="1260112" cy="15627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AudioVisualAppliance</a:t>
            </a:r>
          </a:p>
        </p:txBody>
      </p:sp>
      <p:sp>
        <p:nvSpPr>
          <p:cNvPr id="137" name="Rectangle 136"/>
          <p:cNvSpPr/>
          <p:nvPr/>
        </p:nvSpPr>
        <p:spPr>
          <a:xfrm>
            <a:off x="7297097" y="2439463"/>
            <a:ext cx="1260112" cy="15627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spc="-30" dirty="0">
                <a:solidFill>
                  <a:schemeClr val="tx1"/>
                </a:solidFill>
              </a:rPr>
              <a:t>CommunicationAppliance</a:t>
            </a:r>
          </a:p>
        </p:txBody>
      </p:sp>
      <p:sp>
        <p:nvSpPr>
          <p:cNvPr id="138" name="Rectangle 137"/>
          <p:cNvSpPr/>
          <p:nvPr/>
        </p:nvSpPr>
        <p:spPr>
          <a:xfrm>
            <a:off x="7297097" y="2666982"/>
            <a:ext cx="1260112" cy="15627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ElectricAppliance</a:t>
            </a:r>
          </a:p>
        </p:txBody>
      </p:sp>
      <p:sp>
        <p:nvSpPr>
          <p:cNvPr id="139" name="Rectangle 138"/>
          <p:cNvSpPr/>
          <p:nvPr/>
        </p:nvSpPr>
        <p:spPr>
          <a:xfrm>
            <a:off x="7297097" y="2894501"/>
            <a:ext cx="1260112" cy="383796"/>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FireSuppressionTerminal</a:t>
            </a:r>
          </a:p>
        </p:txBody>
      </p:sp>
      <p:sp>
        <p:nvSpPr>
          <p:cNvPr id="140" name="Rectangle 139"/>
          <p:cNvSpPr/>
          <p:nvPr/>
        </p:nvSpPr>
        <p:spPr>
          <a:xfrm>
            <a:off x="7297097" y="3349539"/>
            <a:ext cx="1260112" cy="15627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Lamp</a:t>
            </a:r>
          </a:p>
        </p:txBody>
      </p:sp>
      <p:sp>
        <p:nvSpPr>
          <p:cNvPr id="141" name="Rectangle 140"/>
          <p:cNvSpPr/>
          <p:nvPr/>
        </p:nvSpPr>
        <p:spPr>
          <a:xfrm>
            <a:off x="7297097" y="3577058"/>
            <a:ext cx="1260112" cy="15627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MedicalDevice</a:t>
            </a:r>
          </a:p>
        </p:txBody>
      </p:sp>
      <p:sp>
        <p:nvSpPr>
          <p:cNvPr id="142" name="Rectangle 141"/>
          <p:cNvSpPr/>
          <p:nvPr/>
        </p:nvSpPr>
        <p:spPr>
          <a:xfrm>
            <a:off x="7297097" y="3804577"/>
            <a:ext cx="1260112" cy="15627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Outlet</a:t>
            </a:r>
          </a:p>
        </p:txBody>
      </p:sp>
      <p:sp>
        <p:nvSpPr>
          <p:cNvPr id="143" name="Rectangle 142"/>
          <p:cNvSpPr/>
          <p:nvPr/>
        </p:nvSpPr>
        <p:spPr>
          <a:xfrm>
            <a:off x="7297097" y="4032096"/>
            <a:ext cx="1260112" cy="15627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SanitaryTerminal</a:t>
            </a:r>
          </a:p>
        </p:txBody>
      </p:sp>
      <p:sp>
        <p:nvSpPr>
          <p:cNvPr id="144" name="Rectangle 143"/>
          <p:cNvSpPr/>
          <p:nvPr/>
        </p:nvSpPr>
        <p:spPr>
          <a:xfrm>
            <a:off x="7297097" y="4259615"/>
            <a:ext cx="1260112" cy="15627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SpaceHeater</a:t>
            </a:r>
          </a:p>
        </p:txBody>
      </p:sp>
      <p:sp>
        <p:nvSpPr>
          <p:cNvPr id="32" name="Rectangle 31"/>
          <p:cNvSpPr/>
          <p:nvPr/>
        </p:nvSpPr>
        <p:spPr>
          <a:xfrm>
            <a:off x="985764" y="2089150"/>
            <a:ext cx="64367" cy="5155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5" name="Elbow Connector 35"/>
          <p:cNvCxnSpPr>
            <a:stCxn id="70" idx="1"/>
            <a:endCxn id="32" idx="2"/>
          </p:cNvCxnSpPr>
          <p:nvPr/>
        </p:nvCxnSpPr>
        <p:spPr>
          <a:xfrm rot="10800000">
            <a:off x="1017948" y="2140703"/>
            <a:ext cx="71646" cy="149381"/>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48" name="Elbow Connector 147"/>
          <p:cNvCxnSpPr>
            <a:stCxn id="71" idx="1"/>
            <a:endCxn id="32" idx="2"/>
          </p:cNvCxnSpPr>
          <p:nvPr/>
        </p:nvCxnSpPr>
        <p:spPr>
          <a:xfrm rot="10800000">
            <a:off x="1017948" y="2140703"/>
            <a:ext cx="71646" cy="376899"/>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49" name="Elbow Connector 148"/>
          <p:cNvCxnSpPr>
            <a:stCxn id="73" idx="1"/>
            <a:endCxn id="32" idx="2"/>
          </p:cNvCxnSpPr>
          <p:nvPr/>
        </p:nvCxnSpPr>
        <p:spPr>
          <a:xfrm rot="10800000">
            <a:off x="1017948" y="2140703"/>
            <a:ext cx="71646" cy="604418"/>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50" name="Elbow Connector 149"/>
          <p:cNvCxnSpPr>
            <a:stCxn id="74" idx="1"/>
            <a:endCxn id="32" idx="2"/>
          </p:cNvCxnSpPr>
          <p:nvPr/>
        </p:nvCxnSpPr>
        <p:spPr>
          <a:xfrm rot="10800000">
            <a:off x="1017948" y="2140703"/>
            <a:ext cx="71646" cy="831937"/>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51" name="Elbow Connector 150"/>
          <p:cNvCxnSpPr>
            <a:stCxn id="76" idx="1"/>
            <a:endCxn id="32" idx="2"/>
          </p:cNvCxnSpPr>
          <p:nvPr/>
        </p:nvCxnSpPr>
        <p:spPr>
          <a:xfrm rot="10800000">
            <a:off x="1017948" y="2140703"/>
            <a:ext cx="71646" cy="1059456"/>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52" name="Elbow Connector 151"/>
          <p:cNvCxnSpPr>
            <a:stCxn id="77" idx="1"/>
            <a:endCxn id="32" idx="2"/>
          </p:cNvCxnSpPr>
          <p:nvPr/>
        </p:nvCxnSpPr>
        <p:spPr>
          <a:xfrm rot="10800000">
            <a:off x="1017948" y="2140703"/>
            <a:ext cx="71646" cy="1286975"/>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53" name="Elbow Connector 152"/>
          <p:cNvCxnSpPr>
            <a:stCxn id="78" idx="1"/>
            <a:endCxn id="32" idx="2"/>
          </p:cNvCxnSpPr>
          <p:nvPr/>
        </p:nvCxnSpPr>
        <p:spPr>
          <a:xfrm rot="10800000">
            <a:off x="1017948" y="2140703"/>
            <a:ext cx="71646" cy="1514494"/>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54" name="Elbow Connector 153"/>
          <p:cNvCxnSpPr>
            <a:stCxn id="80" idx="1"/>
            <a:endCxn id="32" idx="2"/>
          </p:cNvCxnSpPr>
          <p:nvPr/>
        </p:nvCxnSpPr>
        <p:spPr>
          <a:xfrm rot="10800000">
            <a:off x="1017948" y="2140703"/>
            <a:ext cx="71646" cy="1742013"/>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55" name="Elbow Connector 154"/>
          <p:cNvCxnSpPr>
            <a:stCxn id="81" idx="1"/>
            <a:endCxn id="32" idx="2"/>
          </p:cNvCxnSpPr>
          <p:nvPr/>
        </p:nvCxnSpPr>
        <p:spPr>
          <a:xfrm rot="10800000">
            <a:off x="1017948" y="2140703"/>
            <a:ext cx="71646" cy="1969532"/>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56" name="Elbow Connector 155"/>
          <p:cNvCxnSpPr>
            <a:stCxn id="83" idx="1"/>
            <a:endCxn id="32" idx="2"/>
          </p:cNvCxnSpPr>
          <p:nvPr/>
        </p:nvCxnSpPr>
        <p:spPr>
          <a:xfrm rot="10800000">
            <a:off x="1017948" y="2140703"/>
            <a:ext cx="71646" cy="2197051"/>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57" name="Elbow Connector 156"/>
          <p:cNvCxnSpPr>
            <a:stCxn id="84" idx="1"/>
            <a:endCxn id="32" idx="2"/>
          </p:cNvCxnSpPr>
          <p:nvPr/>
        </p:nvCxnSpPr>
        <p:spPr>
          <a:xfrm rot="10800000">
            <a:off x="1017948" y="2140703"/>
            <a:ext cx="71646" cy="2424570"/>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58" name="Elbow Connector 157"/>
          <p:cNvCxnSpPr>
            <a:stCxn id="85" idx="1"/>
            <a:endCxn id="32" idx="2"/>
          </p:cNvCxnSpPr>
          <p:nvPr/>
        </p:nvCxnSpPr>
        <p:spPr>
          <a:xfrm rot="10800000">
            <a:off x="1017948" y="2140703"/>
            <a:ext cx="71646" cy="2652089"/>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59" name="Elbow Connector 158"/>
          <p:cNvCxnSpPr>
            <a:stCxn id="86" idx="1"/>
            <a:endCxn id="32" idx="2"/>
          </p:cNvCxnSpPr>
          <p:nvPr/>
        </p:nvCxnSpPr>
        <p:spPr>
          <a:xfrm rot="10800000">
            <a:off x="1017948" y="2140703"/>
            <a:ext cx="71646" cy="2879608"/>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60" name="Elbow Connector 159"/>
          <p:cNvCxnSpPr>
            <a:stCxn id="87" idx="1"/>
            <a:endCxn id="32" idx="2"/>
          </p:cNvCxnSpPr>
          <p:nvPr/>
        </p:nvCxnSpPr>
        <p:spPr>
          <a:xfrm rot="10800000">
            <a:off x="1017948" y="2140703"/>
            <a:ext cx="71646" cy="3107127"/>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61" name="Elbow Connector 160"/>
          <p:cNvCxnSpPr>
            <a:stCxn id="88" idx="1"/>
            <a:endCxn id="32" idx="2"/>
          </p:cNvCxnSpPr>
          <p:nvPr/>
        </p:nvCxnSpPr>
        <p:spPr>
          <a:xfrm rot="10800000">
            <a:off x="1017948" y="2140703"/>
            <a:ext cx="71646" cy="3334646"/>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62" name="Elbow Connector 161"/>
          <p:cNvCxnSpPr>
            <a:stCxn id="89" idx="1"/>
            <a:endCxn id="32" idx="2"/>
          </p:cNvCxnSpPr>
          <p:nvPr/>
        </p:nvCxnSpPr>
        <p:spPr>
          <a:xfrm rot="10800000">
            <a:off x="1017948" y="2140703"/>
            <a:ext cx="71646" cy="3562165"/>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63" name="Elbow Connector 162"/>
          <p:cNvCxnSpPr>
            <a:stCxn id="90" idx="1"/>
            <a:endCxn id="32" idx="2"/>
          </p:cNvCxnSpPr>
          <p:nvPr/>
        </p:nvCxnSpPr>
        <p:spPr>
          <a:xfrm rot="10800000">
            <a:off x="1017948" y="2140703"/>
            <a:ext cx="71646" cy="3789684"/>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64" name="Elbow Connector 163"/>
          <p:cNvCxnSpPr>
            <a:stCxn id="91" idx="1"/>
            <a:endCxn id="32" idx="2"/>
          </p:cNvCxnSpPr>
          <p:nvPr/>
        </p:nvCxnSpPr>
        <p:spPr>
          <a:xfrm rot="10800000">
            <a:off x="1017948" y="2140703"/>
            <a:ext cx="71646" cy="4017203"/>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sp>
        <p:nvSpPr>
          <p:cNvPr id="185" name="Rectangle 184"/>
          <p:cNvSpPr/>
          <p:nvPr/>
        </p:nvSpPr>
        <p:spPr>
          <a:xfrm>
            <a:off x="2537640" y="2089150"/>
            <a:ext cx="64367" cy="5155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86" name="Elbow Connector 185"/>
          <p:cNvCxnSpPr>
            <a:stCxn id="94" idx="1"/>
            <a:endCxn id="185" idx="2"/>
          </p:cNvCxnSpPr>
          <p:nvPr/>
        </p:nvCxnSpPr>
        <p:spPr>
          <a:xfrm rot="10800000">
            <a:off x="2569824" y="2140703"/>
            <a:ext cx="71646" cy="149381"/>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87" name="Elbow Connector 186"/>
          <p:cNvCxnSpPr>
            <a:stCxn id="95" idx="1"/>
            <a:endCxn id="185" idx="2"/>
          </p:cNvCxnSpPr>
          <p:nvPr/>
        </p:nvCxnSpPr>
        <p:spPr>
          <a:xfrm rot="10800000">
            <a:off x="2569824" y="2140703"/>
            <a:ext cx="71646" cy="376899"/>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88" name="Elbow Connector 187"/>
          <p:cNvCxnSpPr>
            <a:stCxn id="97" idx="1"/>
            <a:endCxn id="185" idx="2"/>
          </p:cNvCxnSpPr>
          <p:nvPr/>
        </p:nvCxnSpPr>
        <p:spPr>
          <a:xfrm rot="10800000">
            <a:off x="2569824" y="2140703"/>
            <a:ext cx="71646" cy="604418"/>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89" name="Elbow Connector 188"/>
          <p:cNvCxnSpPr>
            <a:stCxn id="98" idx="1"/>
            <a:endCxn id="185" idx="2"/>
          </p:cNvCxnSpPr>
          <p:nvPr/>
        </p:nvCxnSpPr>
        <p:spPr>
          <a:xfrm rot="10800000">
            <a:off x="2569824" y="2140703"/>
            <a:ext cx="71646" cy="831937"/>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90" name="Elbow Connector 189"/>
          <p:cNvCxnSpPr>
            <a:stCxn id="100" idx="1"/>
            <a:endCxn id="185" idx="2"/>
          </p:cNvCxnSpPr>
          <p:nvPr/>
        </p:nvCxnSpPr>
        <p:spPr>
          <a:xfrm rot="10800000">
            <a:off x="2569824" y="2140703"/>
            <a:ext cx="71646" cy="1059456"/>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91" name="Elbow Connector 190"/>
          <p:cNvCxnSpPr>
            <a:stCxn id="101" idx="1"/>
            <a:endCxn id="185" idx="2"/>
          </p:cNvCxnSpPr>
          <p:nvPr/>
        </p:nvCxnSpPr>
        <p:spPr>
          <a:xfrm rot="10800000">
            <a:off x="2569824" y="2140703"/>
            <a:ext cx="71646" cy="1286975"/>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sp>
        <p:nvSpPr>
          <p:cNvPr id="198" name="Rectangle 197"/>
          <p:cNvSpPr/>
          <p:nvPr/>
        </p:nvSpPr>
        <p:spPr>
          <a:xfrm>
            <a:off x="4089516" y="2089150"/>
            <a:ext cx="64367" cy="5155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99" name="Elbow Connector 198"/>
          <p:cNvCxnSpPr>
            <a:stCxn id="116" idx="1"/>
            <a:endCxn id="198" idx="2"/>
          </p:cNvCxnSpPr>
          <p:nvPr/>
        </p:nvCxnSpPr>
        <p:spPr>
          <a:xfrm rot="10800000">
            <a:off x="4121700" y="2140703"/>
            <a:ext cx="71646" cy="149381"/>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00" name="Elbow Connector 199"/>
          <p:cNvCxnSpPr>
            <a:stCxn id="117" idx="1"/>
            <a:endCxn id="198" idx="2"/>
          </p:cNvCxnSpPr>
          <p:nvPr/>
        </p:nvCxnSpPr>
        <p:spPr>
          <a:xfrm rot="10800000">
            <a:off x="4121700" y="2140703"/>
            <a:ext cx="71646" cy="376899"/>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01" name="Elbow Connector 200"/>
          <p:cNvCxnSpPr>
            <a:stCxn id="119" idx="1"/>
            <a:endCxn id="198" idx="2"/>
          </p:cNvCxnSpPr>
          <p:nvPr/>
        </p:nvCxnSpPr>
        <p:spPr>
          <a:xfrm rot="10800000">
            <a:off x="4121700" y="2140703"/>
            <a:ext cx="71646" cy="604418"/>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sp>
        <p:nvSpPr>
          <p:cNvPr id="205" name="Rectangle 204"/>
          <p:cNvSpPr/>
          <p:nvPr/>
        </p:nvSpPr>
        <p:spPr>
          <a:xfrm>
            <a:off x="5641392" y="2089150"/>
            <a:ext cx="64367" cy="5155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06" name="Elbow Connector 205"/>
          <p:cNvCxnSpPr>
            <a:stCxn id="128" idx="1"/>
            <a:endCxn id="205" idx="2"/>
          </p:cNvCxnSpPr>
          <p:nvPr/>
        </p:nvCxnSpPr>
        <p:spPr>
          <a:xfrm rot="10800000">
            <a:off x="5673576" y="2140702"/>
            <a:ext cx="71646" cy="263140"/>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07" name="Elbow Connector 206"/>
          <p:cNvCxnSpPr>
            <a:stCxn id="131" idx="1"/>
            <a:endCxn id="205" idx="2"/>
          </p:cNvCxnSpPr>
          <p:nvPr/>
        </p:nvCxnSpPr>
        <p:spPr>
          <a:xfrm rot="10800000">
            <a:off x="5673576" y="2140703"/>
            <a:ext cx="71646" cy="604418"/>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sp>
        <p:nvSpPr>
          <p:cNvPr id="210" name="Rectangle 209"/>
          <p:cNvSpPr/>
          <p:nvPr/>
        </p:nvSpPr>
        <p:spPr>
          <a:xfrm>
            <a:off x="7193268" y="2089150"/>
            <a:ext cx="64367" cy="5155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11" name="Elbow Connector 210"/>
          <p:cNvCxnSpPr>
            <a:stCxn id="136" idx="1"/>
            <a:endCxn id="210" idx="2"/>
          </p:cNvCxnSpPr>
          <p:nvPr/>
        </p:nvCxnSpPr>
        <p:spPr>
          <a:xfrm rot="10800000">
            <a:off x="7225453" y="2140703"/>
            <a:ext cx="71645" cy="149381"/>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12" name="Elbow Connector 211"/>
          <p:cNvCxnSpPr>
            <a:stCxn id="137" idx="1"/>
            <a:endCxn id="210" idx="2"/>
          </p:cNvCxnSpPr>
          <p:nvPr/>
        </p:nvCxnSpPr>
        <p:spPr>
          <a:xfrm rot="10800000">
            <a:off x="7225453" y="2140703"/>
            <a:ext cx="71645" cy="376899"/>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13" name="Elbow Connector 212"/>
          <p:cNvCxnSpPr>
            <a:stCxn id="138" idx="1"/>
            <a:endCxn id="210" idx="2"/>
          </p:cNvCxnSpPr>
          <p:nvPr/>
        </p:nvCxnSpPr>
        <p:spPr>
          <a:xfrm rot="10800000">
            <a:off x="7225453" y="2140703"/>
            <a:ext cx="71645" cy="604418"/>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14" name="Elbow Connector 213"/>
          <p:cNvCxnSpPr>
            <a:stCxn id="139" idx="1"/>
            <a:endCxn id="210" idx="2"/>
          </p:cNvCxnSpPr>
          <p:nvPr/>
        </p:nvCxnSpPr>
        <p:spPr>
          <a:xfrm rot="10800000">
            <a:off x="7225453" y="2140702"/>
            <a:ext cx="71645" cy="945697"/>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15" name="Elbow Connector 214"/>
          <p:cNvCxnSpPr>
            <a:stCxn id="140" idx="1"/>
            <a:endCxn id="210" idx="2"/>
          </p:cNvCxnSpPr>
          <p:nvPr/>
        </p:nvCxnSpPr>
        <p:spPr>
          <a:xfrm rot="10800000">
            <a:off x="7225453" y="2140703"/>
            <a:ext cx="71645" cy="1286975"/>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16" name="Elbow Connector 215"/>
          <p:cNvCxnSpPr>
            <a:stCxn id="141" idx="1"/>
            <a:endCxn id="210" idx="2"/>
          </p:cNvCxnSpPr>
          <p:nvPr/>
        </p:nvCxnSpPr>
        <p:spPr>
          <a:xfrm rot="10800000">
            <a:off x="7225453" y="2140703"/>
            <a:ext cx="71645" cy="1514494"/>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17" name="Elbow Connector 216"/>
          <p:cNvCxnSpPr>
            <a:stCxn id="142" idx="1"/>
            <a:endCxn id="210" idx="2"/>
          </p:cNvCxnSpPr>
          <p:nvPr/>
        </p:nvCxnSpPr>
        <p:spPr>
          <a:xfrm rot="10800000">
            <a:off x="7225453" y="2140703"/>
            <a:ext cx="71645" cy="1742013"/>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18" name="Elbow Connector 217"/>
          <p:cNvCxnSpPr>
            <a:stCxn id="143" idx="1"/>
            <a:endCxn id="210" idx="2"/>
          </p:cNvCxnSpPr>
          <p:nvPr/>
        </p:nvCxnSpPr>
        <p:spPr>
          <a:xfrm rot="10800000">
            <a:off x="7225453" y="2140703"/>
            <a:ext cx="71645" cy="1969532"/>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19" name="Elbow Connector 218"/>
          <p:cNvCxnSpPr>
            <a:stCxn id="144" idx="1"/>
            <a:endCxn id="210" idx="2"/>
          </p:cNvCxnSpPr>
          <p:nvPr/>
        </p:nvCxnSpPr>
        <p:spPr>
          <a:xfrm rot="10800000">
            <a:off x="7225453" y="2140703"/>
            <a:ext cx="71645" cy="2197051"/>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sp>
        <p:nvSpPr>
          <p:cNvPr id="229" name="Rectangle 228"/>
          <p:cNvSpPr/>
          <p:nvPr/>
        </p:nvSpPr>
        <p:spPr>
          <a:xfrm>
            <a:off x="8745145" y="2089150"/>
            <a:ext cx="64367" cy="51552"/>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30" name="Elbow Connector 229"/>
          <p:cNvCxnSpPr>
            <a:stCxn id="132" idx="1"/>
            <a:endCxn id="229" idx="2"/>
          </p:cNvCxnSpPr>
          <p:nvPr/>
        </p:nvCxnSpPr>
        <p:spPr>
          <a:xfrm rot="10800000">
            <a:off x="8777330" y="2140703"/>
            <a:ext cx="71647" cy="149381"/>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31" name="Elbow Connector 230"/>
          <p:cNvCxnSpPr>
            <a:stCxn id="133" idx="1"/>
            <a:endCxn id="229" idx="2"/>
          </p:cNvCxnSpPr>
          <p:nvPr/>
        </p:nvCxnSpPr>
        <p:spPr>
          <a:xfrm rot="10800000">
            <a:off x="8777330" y="2140703"/>
            <a:ext cx="71647" cy="376899"/>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32" name="Elbow Connector 231"/>
          <p:cNvCxnSpPr>
            <a:stCxn id="135" idx="1"/>
            <a:endCxn id="229" idx="2"/>
          </p:cNvCxnSpPr>
          <p:nvPr/>
        </p:nvCxnSpPr>
        <p:spPr>
          <a:xfrm rot="10800000">
            <a:off x="8777330" y="2140703"/>
            <a:ext cx="71647" cy="604418"/>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33" name="Elbow Connector 232"/>
          <p:cNvCxnSpPr>
            <a:stCxn id="68" idx="0"/>
            <a:endCxn id="62" idx="2"/>
          </p:cNvCxnSpPr>
          <p:nvPr/>
        </p:nvCxnSpPr>
        <p:spPr>
          <a:xfrm rot="16200000" flipV="1">
            <a:off x="7366385" y="-76306"/>
            <a:ext cx="241771" cy="3879690"/>
          </a:xfrm>
          <a:prstGeom prst="bentConnector3">
            <a:avLst>
              <a:gd name="adj1" fmla="val 50000"/>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34" name="Elbow Connector 233"/>
          <p:cNvCxnSpPr>
            <a:stCxn id="127" idx="0"/>
            <a:endCxn id="62" idx="2"/>
          </p:cNvCxnSpPr>
          <p:nvPr/>
        </p:nvCxnSpPr>
        <p:spPr>
          <a:xfrm rot="16200000" flipV="1">
            <a:off x="6590447" y="699632"/>
            <a:ext cx="241771" cy="2327813"/>
          </a:xfrm>
          <a:prstGeom prst="bentConnector3">
            <a:avLst>
              <a:gd name="adj1" fmla="val 50000"/>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35" name="Elbow Connector 234"/>
          <p:cNvCxnSpPr>
            <a:stCxn id="67" idx="0"/>
            <a:endCxn id="62" idx="2"/>
          </p:cNvCxnSpPr>
          <p:nvPr/>
        </p:nvCxnSpPr>
        <p:spPr>
          <a:xfrm rot="16200000" flipV="1">
            <a:off x="5814509" y="1475570"/>
            <a:ext cx="241771" cy="775937"/>
          </a:xfrm>
          <a:prstGeom prst="bentConnector3">
            <a:avLst>
              <a:gd name="adj1" fmla="val 50000"/>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36" name="Elbow Connector 235"/>
          <p:cNvCxnSpPr>
            <a:stCxn id="114" idx="0"/>
            <a:endCxn id="62" idx="2"/>
          </p:cNvCxnSpPr>
          <p:nvPr/>
        </p:nvCxnSpPr>
        <p:spPr>
          <a:xfrm rot="5400000" flipH="1" flipV="1">
            <a:off x="5038570" y="1475570"/>
            <a:ext cx="241771" cy="775939"/>
          </a:xfrm>
          <a:prstGeom prst="bentConnector3">
            <a:avLst>
              <a:gd name="adj1" fmla="val 50000"/>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37" name="Elbow Connector 236"/>
          <p:cNvCxnSpPr>
            <a:stCxn id="65" idx="0"/>
            <a:endCxn id="62" idx="2"/>
          </p:cNvCxnSpPr>
          <p:nvPr/>
        </p:nvCxnSpPr>
        <p:spPr>
          <a:xfrm rot="5400000" flipH="1" flipV="1">
            <a:off x="4262632" y="699632"/>
            <a:ext cx="241771" cy="2327815"/>
          </a:xfrm>
          <a:prstGeom prst="bentConnector3">
            <a:avLst>
              <a:gd name="adj1" fmla="val 50000"/>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38" name="Elbow Connector 237"/>
          <p:cNvCxnSpPr>
            <a:stCxn id="64" idx="0"/>
            <a:endCxn id="62" idx="2"/>
          </p:cNvCxnSpPr>
          <p:nvPr/>
        </p:nvCxnSpPr>
        <p:spPr>
          <a:xfrm rot="5400000" flipH="1" flipV="1">
            <a:off x="3486694" y="-76306"/>
            <a:ext cx="241771" cy="3879691"/>
          </a:xfrm>
          <a:prstGeom prst="bentConnector3">
            <a:avLst>
              <a:gd name="adj1" fmla="val 50000"/>
            </a:avLst>
          </a:prstGeom>
          <a:ln>
            <a:prstDash val="solid"/>
            <a:tailEnd type="stealth"/>
          </a:ln>
        </p:spPr>
        <p:style>
          <a:lnRef idx="1">
            <a:schemeClr val="accent1"/>
          </a:lnRef>
          <a:fillRef idx="0">
            <a:schemeClr val="accent1"/>
          </a:fillRef>
          <a:effectRef idx="0">
            <a:schemeClr val="accent1"/>
          </a:effectRef>
          <a:fontRef idx="minor">
            <a:schemeClr val="tx1"/>
          </a:fontRef>
        </p:style>
      </p:cxnSp>
      <p:sp>
        <p:nvSpPr>
          <p:cNvPr id="106" name="ee4pFootnotes">
            <a:extLst>
              <a:ext uri="{FF2B5EF4-FFF2-40B4-BE49-F238E27FC236}">
                <a16:creationId xmlns:a16="http://schemas.microsoft.com/office/drawing/2014/main" id="{B8DAEEF5-7CDB-49BB-81BE-30A04D7048DD}"/>
              </a:ext>
            </a:extLst>
          </p:cNvPr>
          <p:cNvSpPr>
            <a:spLocks noChangeArrowheads="1"/>
          </p:cNvSpPr>
          <p:nvPr/>
        </p:nvSpPr>
        <p:spPr bwMode="auto">
          <a:xfrm>
            <a:off x="2493640" y="6405554"/>
            <a:ext cx="7641096"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cs typeface="Arial" pitchFamily="34" charset="0"/>
              </a:rPr>
              <a:t>Source: ETSI TS 103 410-3 V1.1.1 </a:t>
            </a:r>
            <a:endParaRPr lang="pt-BR" sz="1000" dirty="0">
              <a:cs typeface="Arial" pitchFamily="34" charset="0"/>
            </a:endParaRPr>
          </a:p>
          <a:p>
            <a:pPr>
              <a:lnSpc>
                <a:spcPct val="90000"/>
              </a:lnSpc>
            </a:pPr>
            <a:r>
              <a:rPr lang="pt-BR" sz="1000" dirty="0">
                <a:cs typeface="Arial" pitchFamily="34" charset="0"/>
              </a:rPr>
              <a:t>Adapted from figure by Maria Poveda-Villalon &amp; Raul Garcia Castro (UPM) </a:t>
            </a:r>
            <a:endParaRPr lang="en-US" sz="1000" dirty="0">
              <a:cs typeface="Arial" pitchFamily="34" charset="0"/>
            </a:endParaRPr>
          </a:p>
        </p:txBody>
      </p:sp>
      <p:pic>
        <p:nvPicPr>
          <p:cNvPr id="107" name="Picture 1" descr="image002">
            <a:extLst>
              <a:ext uri="{FF2B5EF4-FFF2-40B4-BE49-F238E27FC236}">
                <a16:creationId xmlns:a16="http://schemas.microsoft.com/office/drawing/2014/main" id="{F3865AA1-3241-4253-B50E-5700E225CE3C}"/>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8" name="Picture 107">
            <a:extLst>
              <a:ext uri="{FF2B5EF4-FFF2-40B4-BE49-F238E27FC236}">
                <a16:creationId xmlns:a16="http://schemas.microsoft.com/office/drawing/2014/main" id="{23A9DAD8-AE1C-4537-8568-67575FD95BF4}"/>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5050" t="25548" r="5027" b="22927"/>
          <a:stretch/>
        </p:blipFill>
        <p:spPr>
          <a:xfrm>
            <a:off x="7981248" y="313232"/>
            <a:ext cx="1270327" cy="406262"/>
          </a:xfrm>
          <a:prstGeom prst="rect">
            <a:avLst/>
          </a:prstGeom>
        </p:spPr>
      </p:pic>
    </p:spTree>
    <p:extLst>
      <p:ext uri="{BB962C8B-B14F-4D97-AF65-F5344CB8AC3E}">
        <p14:creationId xmlns:p14="http://schemas.microsoft.com/office/powerpoint/2010/main" val="225433477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991217" y="362663"/>
            <a:ext cx="9123324" cy="826313"/>
          </a:xfrm>
        </p:spPr>
        <p:txBody>
          <a:bodyPr/>
          <a:lstStyle/>
          <a:p>
            <a:r>
              <a:rPr lang="en-US" dirty="0"/>
              <a:t>SAREF4BLDG – example (I)</a:t>
            </a:r>
          </a:p>
        </p:txBody>
      </p:sp>
      <p:sp>
        <p:nvSpPr>
          <p:cNvPr id="3" name="Slide Number Placeholder 2"/>
          <p:cNvSpPr>
            <a:spLocks noGrp="1"/>
          </p:cNvSpPr>
          <p:nvPr>
            <p:ph type="sldNum" sz="quarter" idx="4"/>
          </p:nvPr>
        </p:nvSpPr>
        <p:spPr/>
        <p:txBody>
          <a:bodyPr/>
          <a:lstStyle/>
          <a:p>
            <a:fld id="{EBC262BB-4310-134F-8D24-58475080D942}" type="slidenum">
              <a:rPr lang="en-US" smtClean="0"/>
              <a:pPr/>
              <a:t>65</a:t>
            </a:fld>
            <a:endParaRPr lang="en-US" dirty="0"/>
          </a:p>
        </p:txBody>
      </p:sp>
      <p:cxnSp>
        <p:nvCxnSpPr>
          <p:cNvPr id="6" name="Elbow Connector 35"/>
          <p:cNvCxnSpPr>
            <a:stCxn id="20" idx="3"/>
            <a:endCxn id="89" idx="2"/>
          </p:cNvCxnSpPr>
          <p:nvPr/>
        </p:nvCxnSpPr>
        <p:spPr>
          <a:xfrm flipV="1">
            <a:off x="9725025" y="1745275"/>
            <a:ext cx="288190" cy="3848389"/>
          </a:xfrm>
          <a:prstGeom prst="bentConnector2">
            <a:avLst/>
          </a:prstGeom>
          <a:ln>
            <a:prstDash val="dash"/>
            <a:tailEnd type="stealth"/>
          </a:ln>
        </p:spPr>
        <p:style>
          <a:lnRef idx="1">
            <a:schemeClr val="accent1"/>
          </a:lnRef>
          <a:fillRef idx="0">
            <a:schemeClr val="accent1"/>
          </a:fillRef>
          <a:effectRef idx="0">
            <a:schemeClr val="accent1"/>
          </a:effectRef>
          <a:fontRef idx="minor">
            <a:schemeClr val="tx1"/>
          </a:fontRef>
        </p:style>
      </p:cxnSp>
      <p:cxnSp>
        <p:nvCxnSpPr>
          <p:cNvPr id="7" name="Elbow Connector 84"/>
          <p:cNvCxnSpPr>
            <a:stCxn id="45" idx="3"/>
            <a:endCxn id="13" idx="1"/>
          </p:cNvCxnSpPr>
          <p:nvPr/>
        </p:nvCxnSpPr>
        <p:spPr>
          <a:xfrm>
            <a:off x="8380386" y="2071688"/>
            <a:ext cx="162627" cy="0"/>
          </a:xfrm>
          <a:prstGeom prst="straightConnector1">
            <a:avLst/>
          </a:prstGeom>
          <a:ln>
            <a:prstDash val="solid"/>
            <a:tailEnd type="stealth"/>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6288540" y="1502388"/>
            <a:ext cx="1279642" cy="242887"/>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Saref: Measurement</a:t>
            </a:r>
          </a:p>
        </p:txBody>
      </p:sp>
      <p:sp>
        <p:nvSpPr>
          <p:cNvPr id="13" name="Rectangle 12"/>
          <p:cNvSpPr/>
          <p:nvPr/>
        </p:nvSpPr>
        <p:spPr>
          <a:xfrm>
            <a:off x="8543013" y="1950244"/>
            <a:ext cx="1182012" cy="242887"/>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3.0”^^xsd: float</a:t>
            </a:r>
          </a:p>
        </p:txBody>
      </p:sp>
      <p:sp>
        <p:nvSpPr>
          <p:cNvPr id="14" name="Rectangle 13"/>
          <p:cNvSpPr/>
          <p:nvPr/>
        </p:nvSpPr>
        <p:spPr>
          <a:xfrm>
            <a:off x="8543013" y="2330165"/>
            <a:ext cx="1182012" cy="242887"/>
          </a:xfrm>
          <a:prstGeom prst="rect">
            <a:avLst/>
          </a:prstGeom>
          <a:solidFill>
            <a:srgbClr val="FEDA6E"/>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Ex: cyclesPerSecond</a:t>
            </a:r>
          </a:p>
        </p:txBody>
      </p:sp>
      <p:sp>
        <p:nvSpPr>
          <p:cNvPr id="15" name="Rectangle 14"/>
          <p:cNvSpPr/>
          <p:nvPr/>
        </p:nvSpPr>
        <p:spPr>
          <a:xfrm>
            <a:off x="8543013" y="2784758"/>
            <a:ext cx="1182012" cy="244191"/>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1800.0”^^xsd: float</a:t>
            </a:r>
          </a:p>
        </p:txBody>
      </p:sp>
      <p:sp>
        <p:nvSpPr>
          <p:cNvPr id="16" name="Rectangle 15"/>
          <p:cNvSpPr/>
          <p:nvPr/>
        </p:nvSpPr>
        <p:spPr>
          <a:xfrm>
            <a:off x="8543013" y="3219676"/>
            <a:ext cx="1182012" cy="244191"/>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Saref: PowerUnit</a:t>
            </a:r>
          </a:p>
        </p:txBody>
      </p:sp>
      <p:sp>
        <p:nvSpPr>
          <p:cNvPr id="18" name="Rectangle 17"/>
          <p:cNvSpPr/>
          <p:nvPr/>
        </p:nvSpPr>
        <p:spPr>
          <a:xfrm>
            <a:off x="8543013" y="4519955"/>
            <a:ext cx="1182012" cy="249689"/>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spc="-10" dirty="0">
                <a:solidFill>
                  <a:schemeClr val="tx1"/>
                </a:solidFill>
              </a:rPr>
              <a:t>“680.0”^^xsd:float</a:t>
            </a:r>
          </a:p>
        </p:txBody>
      </p:sp>
      <p:sp>
        <p:nvSpPr>
          <p:cNvPr id="19" name="Rectangle 18"/>
          <p:cNvSpPr/>
          <p:nvPr/>
        </p:nvSpPr>
        <p:spPr>
          <a:xfrm>
            <a:off x="8543013" y="5003798"/>
            <a:ext cx="1182012" cy="249689"/>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5.9”^^xsd:float</a:t>
            </a:r>
          </a:p>
        </p:txBody>
      </p:sp>
      <p:sp>
        <p:nvSpPr>
          <p:cNvPr id="20" name="Rectangle 19"/>
          <p:cNvSpPr/>
          <p:nvPr/>
        </p:nvSpPr>
        <p:spPr>
          <a:xfrm>
            <a:off x="8543013" y="5456335"/>
            <a:ext cx="1182012" cy="274658"/>
          </a:xfrm>
          <a:prstGeom prst="rect">
            <a:avLst/>
          </a:prstGeom>
          <a:solidFill>
            <a:srgbClr val="F5BEC1"/>
          </a:solidFill>
          <a:ln w="12700" cap="flat" cmpd="sng" algn="ctr">
            <a:solidFill>
              <a:srgbClr val="C41E2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om: inch-international</a:t>
            </a:r>
          </a:p>
        </p:txBody>
      </p:sp>
      <p:sp>
        <p:nvSpPr>
          <p:cNvPr id="26" name="Rectangle 25"/>
          <p:cNvSpPr/>
          <p:nvPr/>
        </p:nvSpPr>
        <p:spPr>
          <a:xfrm>
            <a:off x="2734652" y="1910886"/>
            <a:ext cx="835097" cy="282246"/>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SIEMENS”^^ xsd: string</a:t>
            </a:r>
          </a:p>
        </p:txBody>
      </p:sp>
      <p:sp>
        <p:nvSpPr>
          <p:cNvPr id="27" name="Rectangle 26"/>
          <p:cNvSpPr/>
          <p:nvPr/>
        </p:nvSpPr>
        <p:spPr>
          <a:xfrm>
            <a:off x="1359197" y="2330165"/>
            <a:ext cx="1415499" cy="365409"/>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Compressor001 SIERRA 02-0434C3”^^xsd: string</a:t>
            </a:r>
          </a:p>
        </p:txBody>
      </p:sp>
      <p:sp>
        <p:nvSpPr>
          <p:cNvPr id="28" name="Rectangle 27"/>
          <p:cNvSpPr/>
          <p:nvPr/>
        </p:nvSpPr>
        <p:spPr>
          <a:xfrm>
            <a:off x="1571668" y="2829714"/>
            <a:ext cx="990558" cy="216824"/>
          </a:xfrm>
          <a:prstGeom prst="rect">
            <a:avLst/>
          </a:prstGeom>
          <a:noFill/>
          <a:ln w="12700" cap="flat" cmpd="sng" algn="ctr">
            <a:noFill/>
            <a:prstDash val="solid"/>
            <a:miter lim="800000"/>
          </a:ln>
          <a:effectLst/>
          <a:extLs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Saref: hasName</a:t>
            </a:r>
          </a:p>
        </p:txBody>
      </p:sp>
      <p:sp>
        <p:nvSpPr>
          <p:cNvPr id="30" name="Rectangle 29"/>
          <p:cNvSpPr/>
          <p:nvPr/>
        </p:nvSpPr>
        <p:spPr>
          <a:xfrm>
            <a:off x="2695534" y="2722070"/>
            <a:ext cx="913333" cy="324468"/>
          </a:xfrm>
          <a:prstGeom prst="rect">
            <a:avLst/>
          </a:prstGeom>
          <a:noFill/>
          <a:ln w="12700" cap="flat" cmpd="sng" algn="ctr">
            <a:noFill/>
            <a:prstDash val="solid"/>
            <a:miter lim="800000"/>
          </a:ln>
          <a:effectLst/>
          <a:extLs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Saref: hasManufacturer</a:t>
            </a:r>
          </a:p>
        </p:txBody>
      </p:sp>
      <p:sp>
        <p:nvSpPr>
          <p:cNvPr id="31" name="Rectangle 30"/>
          <p:cNvSpPr/>
          <p:nvPr/>
        </p:nvSpPr>
        <p:spPr>
          <a:xfrm>
            <a:off x="3911556" y="2060001"/>
            <a:ext cx="827841" cy="348017"/>
          </a:xfrm>
          <a:prstGeom prst="rect">
            <a:avLst/>
          </a:prstGeom>
          <a:noFill/>
          <a:ln w="12700" cap="flat" cmpd="sng" algn="ctr">
            <a:noFill/>
            <a:prstDash val="solid"/>
            <a:miter lim="800000"/>
          </a:ln>
          <a:effectLst/>
          <a:extLs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S4bldg: comparessorSpeed</a:t>
            </a:r>
          </a:p>
        </p:txBody>
      </p:sp>
      <p:sp>
        <p:nvSpPr>
          <p:cNvPr id="36" name="Rectangle 35"/>
          <p:cNvSpPr/>
          <p:nvPr/>
        </p:nvSpPr>
        <p:spPr>
          <a:xfrm>
            <a:off x="3911556" y="2927944"/>
            <a:ext cx="827841" cy="348017"/>
          </a:xfrm>
          <a:prstGeom prst="rect">
            <a:avLst/>
          </a:prstGeom>
          <a:noFill/>
          <a:ln w="12700" cap="flat" cmpd="sng" algn="ctr">
            <a:noFill/>
            <a:prstDash val="solid"/>
            <a:miter lim="800000"/>
          </a:ln>
          <a:effectLst/>
          <a:extLs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S4bldg: ideal</a:t>
            </a:r>
            <a:br>
              <a:rPr lang="en-US" sz="800" dirty="0">
                <a:solidFill>
                  <a:schemeClr val="tx1"/>
                </a:solidFill>
              </a:rPr>
            </a:br>
            <a:r>
              <a:rPr lang="en-US" sz="800" dirty="0">
                <a:solidFill>
                  <a:schemeClr val="tx1"/>
                </a:solidFill>
              </a:rPr>
              <a:t>Capacity</a:t>
            </a:r>
          </a:p>
        </p:txBody>
      </p:sp>
      <p:sp>
        <p:nvSpPr>
          <p:cNvPr id="37" name="Rectangle 36"/>
          <p:cNvSpPr/>
          <p:nvPr/>
        </p:nvSpPr>
        <p:spPr>
          <a:xfrm>
            <a:off x="3911556" y="4291265"/>
            <a:ext cx="827841" cy="348017"/>
          </a:xfrm>
          <a:prstGeom prst="rect">
            <a:avLst/>
          </a:prstGeom>
          <a:noFill/>
          <a:ln w="12700" cap="flat" cmpd="sng" algn="ctr">
            <a:noFill/>
            <a:prstDash val="solid"/>
            <a:miter lim="800000"/>
          </a:ln>
          <a:effectLst/>
          <a:extLs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S4bldg:</a:t>
            </a:r>
            <a:br>
              <a:rPr lang="en-US" sz="800" dirty="0">
                <a:solidFill>
                  <a:schemeClr val="tx1"/>
                </a:solidFill>
              </a:rPr>
            </a:br>
            <a:r>
              <a:rPr lang="en-US" sz="800" dirty="0">
                <a:solidFill>
                  <a:schemeClr val="tx1"/>
                </a:solidFill>
              </a:rPr>
              <a:t>nonimal</a:t>
            </a:r>
            <a:br>
              <a:rPr lang="en-US" sz="800" dirty="0">
                <a:solidFill>
                  <a:schemeClr val="tx1"/>
                </a:solidFill>
              </a:rPr>
            </a:br>
            <a:r>
              <a:rPr lang="en-US" sz="800" dirty="0">
                <a:solidFill>
                  <a:schemeClr val="tx1"/>
                </a:solidFill>
              </a:rPr>
              <a:t>Capacity</a:t>
            </a:r>
          </a:p>
        </p:txBody>
      </p:sp>
      <p:sp>
        <p:nvSpPr>
          <p:cNvPr id="38" name="Rectangle 37"/>
          <p:cNvSpPr/>
          <p:nvPr/>
        </p:nvSpPr>
        <p:spPr>
          <a:xfrm>
            <a:off x="3911556" y="5151082"/>
            <a:ext cx="827841" cy="348017"/>
          </a:xfrm>
          <a:prstGeom prst="rect">
            <a:avLst/>
          </a:prstGeom>
          <a:noFill/>
          <a:ln w="12700" cap="flat" cmpd="sng" algn="ctr">
            <a:noFill/>
            <a:prstDash val="solid"/>
            <a:miter lim="800000"/>
          </a:ln>
          <a:effectLst/>
          <a:extLs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S4bldg: impellerDiameter</a:t>
            </a:r>
          </a:p>
        </p:txBody>
      </p:sp>
      <p:sp>
        <p:nvSpPr>
          <p:cNvPr id="39" name="Rectangle 38"/>
          <p:cNvSpPr/>
          <p:nvPr/>
        </p:nvSpPr>
        <p:spPr>
          <a:xfrm>
            <a:off x="1976758" y="3946984"/>
            <a:ext cx="910625" cy="356915"/>
          </a:xfrm>
          <a:prstGeom prst="rect">
            <a:avLst/>
          </a:prstGeom>
          <a:noFill/>
          <a:ln w="12700" cap="flat" cmpd="sng" algn="ctr">
            <a:noFill/>
            <a:prstDash val="solid"/>
            <a:miter lim="800000"/>
          </a:ln>
          <a:effectLst/>
          <a:extLs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S4bldg: power</a:t>
            </a:r>
            <a:br>
              <a:rPr lang="en-US" sz="800" dirty="0">
                <a:solidFill>
                  <a:schemeClr val="tx1"/>
                </a:solidFill>
              </a:rPr>
            </a:br>
            <a:r>
              <a:rPr lang="en-US" sz="800" dirty="0">
                <a:solidFill>
                  <a:schemeClr val="tx1"/>
                </a:solidFill>
              </a:rPr>
              <a:t>Source</a:t>
            </a:r>
          </a:p>
        </p:txBody>
      </p:sp>
      <p:sp>
        <p:nvSpPr>
          <p:cNvPr id="40" name="Rectangle 39"/>
          <p:cNvSpPr/>
          <p:nvPr/>
        </p:nvSpPr>
        <p:spPr>
          <a:xfrm>
            <a:off x="2696887" y="4807494"/>
            <a:ext cx="910625" cy="392607"/>
          </a:xfrm>
          <a:prstGeom prst="rect">
            <a:avLst/>
          </a:prstGeom>
          <a:noFill/>
          <a:ln w="12700" cap="flat" cmpd="sng" algn="ctr">
            <a:noFill/>
            <a:prstDash val="solid"/>
            <a:miter lim="800000"/>
          </a:ln>
          <a:effectLst/>
          <a:extLs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S4bldg: hasHot</a:t>
            </a:r>
            <a:br>
              <a:rPr lang="en-US" sz="800" dirty="0">
                <a:solidFill>
                  <a:schemeClr val="tx1"/>
                </a:solidFill>
              </a:rPr>
            </a:br>
            <a:r>
              <a:rPr lang="en-US" sz="800" dirty="0">
                <a:solidFill>
                  <a:schemeClr val="tx1"/>
                </a:solidFill>
              </a:rPr>
              <a:t>GasBypass</a:t>
            </a:r>
          </a:p>
        </p:txBody>
      </p:sp>
      <p:sp>
        <p:nvSpPr>
          <p:cNvPr id="41" name="Rectangle 40"/>
          <p:cNvSpPr/>
          <p:nvPr/>
        </p:nvSpPr>
        <p:spPr>
          <a:xfrm>
            <a:off x="1154650" y="4807494"/>
            <a:ext cx="1084684" cy="392607"/>
          </a:xfrm>
          <a:prstGeom prst="rect">
            <a:avLst/>
          </a:prstGeom>
          <a:noFill/>
          <a:ln w="12700" cap="flat" cmpd="sng" algn="ctr">
            <a:noFill/>
            <a:prstDash val="solid"/>
            <a:miter lim="800000"/>
          </a:ln>
          <a:effectLst/>
          <a:extLs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S4bldg: refrigerantClass</a:t>
            </a:r>
          </a:p>
        </p:txBody>
      </p:sp>
      <p:sp>
        <p:nvSpPr>
          <p:cNvPr id="42" name="Rectangle 41"/>
          <p:cNvSpPr/>
          <p:nvPr/>
        </p:nvSpPr>
        <p:spPr>
          <a:xfrm>
            <a:off x="1185338" y="5555307"/>
            <a:ext cx="1042360" cy="234660"/>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HFC”^^xsd: string</a:t>
            </a:r>
          </a:p>
        </p:txBody>
      </p:sp>
      <p:sp>
        <p:nvSpPr>
          <p:cNvPr id="44" name="Rectangle 43"/>
          <p:cNvSpPr/>
          <p:nvPr/>
        </p:nvSpPr>
        <p:spPr>
          <a:xfrm>
            <a:off x="1343067" y="5922011"/>
            <a:ext cx="2178008" cy="234659"/>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MotorDriven”^^xsd: string</a:t>
            </a:r>
          </a:p>
        </p:txBody>
      </p:sp>
      <p:sp>
        <p:nvSpPr>
          <p:cNvPr id="45" name="Rectangle 44"/>
          <p:cNvSpPr/>
          <p:nvPr/>
        </p:nvSpPr>
        <p:spPr>
          <a:xfrm>
            <a:off x="7272069" y="1950244"/>
            <a:ext cx="1108317" cy="242887"/>
          </a:xfrm>
          <a:prstGeom prst="rect">
            <a:avLst/>
          </a:prstGeom>
          <a:noFill/>
          <a:ln w="12700" cap="flat" cmpd="sng" algn="ctr">
            <a:noFill/>
            <a:prstDash val="solid"/>
            <a:miter lim="800000"/>
          </a:ln>
          <a:effectLst/>
          <a:extLs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Saref: hasValue</a:t>
            </a:r>
          </a:p>
        </p:txBody>
      </p:sp>
      <p:sp>
        <p:nvSpPr>
          <p:cNvPr id="48" name="Rectangle 47"/>
          <p:cNvSpPr/>
          <p:nvPr/>
        </p:nvSpPr>
        <p:spPr>
          <a:xfrm>
            <a:off x="7272069" y="2330165"/>
            <a:ext cx="1108317" cy="242887"/>
          </a:xfrm>
          <a:prstGeom prst="rect">
            <a:avLst/>
          </a:prstGeom>
          <a:noFill/>
          <a:ln w="12700" cap="flat" cmpd="sng" algn="ctr">
            <a:noFill/>
            <a:prstDash val="solid"/>
            <a:miter lim="800000"/>
          </a:ln>
          <a:effectLst/>
          <a:extLs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Saref: isMeasredln</a:t>
            </a:r>
          </a:p>
        </p:txBody>
      </p:sp>
      <p:sp>
        <p:nvSpPr>
          <p:cNvPr id="49" name="Rectangle 48"/>
          <p:cNvSpPr/>
          <p:nvPr/>
        </p:nvSpPr>
        <p:spPr>
          <a:xfrm>
            <a:off x="7272069" y="2784758"/>
            <a:ext cx="1108317" cy="242887"/>
          </a:xfrm>
          <a:prstGeom prst="rect">
            <a:avLst/>
          </a:prstGeom>
          <a:noFill/>
          <a:ln w="12700" cap="flat" cmpd="sng" algn="ctr">
            <a:noFill/>
            <a:prstDash val="solid"/>
            <a:miter lim="800000"/>
          </a:ln>
          <a:effectLst/>
          <a:extLs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err="1">
                <a:solidFill>
                  <a:schemeClr val="tx1"/>
                </a:solidFill>
              </a:rPr>
              <a:t>Saref</a:t>
            </a:r>
            <a:r>
              <a:rPr lang="en-US" sz="800" dirty="0">
                <a:solidFill>
                  <a:schemeClr val="tx1"/>
                </a:solidFill>
              </a:rPr>
              <a:t>: hasValue</a:t>
            </a:r>
          </a:p>
        </p:txBody>
      </p:sp>
      <p:sp>
        <p:nvSpPr>
          <p:cNvPr id="50" name="Rectangle 49"/>
          <p:cNvSpPr/>
          <p:nvPr/>
        </p:nvSpPr>
        <p:spPr>
          <a:xfrm>
            <a:off x="7272069" y="3442410"/>
            <a:ext cx="1108317" cy="242887"/>
          </a:xfrm>
          <a:prstGeom prst="rect">
            <a:avLst/>
          </a:prstGeom>
          <a:noFill/>
          <a:ln w="12700" cap="flat" cmpd="sng" algn="ctr">
            <a:noFill/>
            <a:prstDash val="solid"/>
            <a:miter lim="800000"/>
          </a:ln>
          <a:effectLst/>
          <a:extLs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Saref: isMeasredln</a:t>
            </a:r>
          </a:p>
        </p:txBody>
      </p:sp>
      <p:sp>
        <p:nvSpPr>
          <p:cNvPr id="51" name="Rectangle 50"/>
          <p:cNvSpPr/>
          <p:nvPr/>
        </p:nvSpPr>
        <p:spPr>
          <a:xfrm>
            <a:off x="7272069" y="4061078"/>
            <a:ext cx="1108317" cy="242887"/>
          </a:xfrm>
          <a:prstGeom prst="rect">
            <a:avLst/>
          </a:prstGeom>
          <a:noFill/>
          <a:ln w="12700" cap="flat" cmpd="sng" algn="ctr">
            <a:noFill/>
            <a:prstDash val="solid"/>
            <a:miter lim="800000"/>
          </a:ln>
          <a:effectLst/>
          <a:extLs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Saref: isMeasredln</a:t>
            </a:r>
          </a:p>
        </p:txBody>
      </p:sp>
      <p:sp>
        <p:nvSpPr>
          <p:cNvPr id="52" name="Rectangle 51"/>
          <p:cNvSpPr/>
          <p:nvPr/>
        </p:nvSpPr>
        <p:spPr>
          <a:xfrm>
            <a:off x="7272069" y="4522883"/>
            <a:ext cx="1108317" cy="242887"/>
          </a:xfrm>
          <a:prstGeom prst="rect">
            <a:avLst/>
          </a:prstGeom>
          <a:noFill/>
          <a:ln w="12700" cap="flat" cmpd="sng" algn="ctr">
            <a:noFill/>
            <a:prstDash val="solid"/>
            <a:miter lim="800000"/>
          </a:ln>
          <a:effectLst/>
          <a:extLs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Saref: hasValue</a:t>
            </a:r>
          </a:p>
        </p:txBody>
      </p:sp>
      <p:sp>
        <p:nvSpPr>
          <p:cNvPr id="53" name="Rectangle 52"/>
          <p:cNvSpPr/>
          <p:nvPr/>
        </p:nvSpPr>
        <p:spPr>
          <a:xfrm>
            <a:off x="7272068" y="5003798"/>
            <a:ext cx="1108317" cy="242887"/>
          </a:xfrm>
          <a:prstGeom prst="rect">
            <a:avLst/>
          </a:prstGeom>
          <a:noFill/>
          <a:ln w="12700" cap="flat" cmpd="sng" algn="ctr">
            <a:noFill/>
            <a:prstDash val="solid"/>
            <a:miter lim="800000"/>
          </a:ln>
          <a:effectLst/>
          <a:extLs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Saref: hasValue</a:t>
            </a:r>
          </a:p>
        </p:txBody>
      </p:sp>
      <p:sp>
        <p:nvSpPr>
          <p:cNvPr id="54" name="Rectangle 53"/>
          <p:cNvSpPr/>
          <p:nvPr/>
        </p:nvSpPr>
        <p:spPr>
          <a:xfrm>
            <a:off x="7272069" y="5470363"/>
            <a:ext cx="1108317" cy="242887"/>
          </a:xfrm>
          <a:prstGeom prst="rect">
            <a:avLst/>
          </a:prstGeom>
          <a:noFill/>
          <a:ln w="12700" cap="flat" cmpd="sng" algn="ctr">
            <a:noFill/>
            <a:prstDash val="solid"/>
            <a:miter lim="800000"/>
          </a:ln>
          <a:effectLst/>
          <a:extLs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Saref: ismeasuredln</a:t>
            </a:r>
          </a:p>
        </p:txBody>
      </p:sp>
      <p:cxnSp>
        <p:nvCxnSpPr>
          <p:cNvPr id="60" name="Elbow Connector 84"/>
          <p:cNvCxnSpPr>
            <a:stCxn id="48" idx="3"/>
            <a:endCxn id="14" idx="1"/>
          </p:cNvCxnSpPr>
          <p:nvPr/>
        </p:nvCxnSpPr>
        <p:spPr>
          <a:xfrm>
            <a:off x="8380386" y="2451609"/>
            <a:ext cx="162627" cy="0"/>
          </a:xfrm>
          <a:prstGeom prst="straightConnector1">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63" name="Elbow Connector 84"/>
          <p:cNvCxnSpPr>
            <a:stCxn id="49" idx="3"/>
            <a:endCxn id="15" idx="1"/>
          </p:cNvCxnSpPr>
          <p:nvPr/>
        </p:nvCxnSpPr>
        <p:spPr>
          <a:xfrm>
            <a:off x="8380386" y="2906202"/>
            <a:ext cx="162627" cy="652"/>
          </a:xfrm>
          <a:prstGeom prst="straightConnector1">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66" name="Elbow Connector 84"/>
          <p:cNvCxnSpPr>
            <a:stCxn id="50" idx="3"/>
            <a:endCxn id="68" idx="0"/>
          </p:cNvCxnSpPr>
          <p:nvPr/>
        </p:nvCxnSpPr>
        <p:spPr>
          <a:xfrm>
            <a:off x="8380386" y="3563854"/>
            <a:ext cx="235544" cy="204871"/>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grpSp>
        <p:nvGrpSpPr>
          <p:cNvPr id="252" name="Group 251"/>
          <p:cNvGrpSpPr/>
          <p:nvPr/>
        </p:nvGrpSpPr>
        <p:grpSpPr>
          <a:xfrm>
            <a:off x="8543013" y="3768725"/>
            <a:ext cx="1182012" cy="174223"/>
            <a:chOff x="8543014" y="3768725"/>
            <a:chExt cx="559711" cy="174223"/>
          </a:xfrm>
        </p:grpSpPr>
        <p:sp>
          <p:nvSpPr>
            <p:cNvPr id="17" name="Rectangle 16"/>
            <p:cNvSpPr/>
            <p:nvPr/>
          </p:nvSpPr>
          <p:spPr>
            <a:xfrm>
              <a:off x="8543014" y="3768725"/>
              <a:ext cx="559711" cy="174223"/>
            </a:xfrm>
            <a:prstGeom prst="rect">
              <a:avLst/>
            </a:prstGeom>
            <a:solidFill>
              <a:srgbClr val="F5BEC1"/>
            </a:solidFill>
            <a:ln w="12700" cap="flat" cmpd="sng" algn="ctr">
              <a:solidFill>
                <a:srgbClr val="C41E2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om: watt</a:t>
              </a:r>
            </a:p>
          </p:txBody>
        </p:sp>
        <p:sp>
          <p:nvSpPr>
            <p:cNvPr id="68" name="Rectangle 67"/>
            <p:cNvSpPr/>
            <p:nvPr/>
          </p:nvSpPr>
          <p:spPr>
            <a:xfrm>
              <a:off x="8543014" y="3768725"/>
              <a:ext cx="69056" cy="45719"/>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5BEC1"/>
                  </a:solidFill>
                </a14:hiddenFill>
              </a:ext>
              <a:ext uri="{91240B29-F687-4F45-9708-019B960494DF}">
                <a14:hiddenLine xmlns:a14="http://schemas.microsoft.com/office/drawing/2010/main" w="12700" cap="flat" cmpd="sng" algn="ctr">
                  <a:solidFill>
                    <a:srgbClr val="F5BEC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1" name="Rectangle 70"/>
            <p:cNvSpPr/>
            <p:nvPr/>
          </p:nvSpPr>
          <p:spPr>
            <a:xfrm>
              <a:off x="8543014" y="3897229"/>
              <a:ext cx="69056" cy="45719"/>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F5BEC1"/>
                  </a:solidFill>
                </a14:hiddenFill>
              </a:ext>
              <a:ext uri="{91240B29-F687-4F45-9708-019B960494DF}">
                <a14:hiddenLine xmlns:a14="http://schemas.microsoft.com/office/drawing/2010/main" w="12700" cap="flat" cmpd="sng" algn="ctr">
                  <a:solidFill>
                    <a:srgbClr val="F5BEC1"/>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72" name="Elbow Connector 84"/>
          <p:cNvCxnSpPr>
            <a:stCxn id="51" idx="3"/>
            <a:endCxn id="71" idx="2"/>
          </p:cNvCxnSpPr>
          <p:nvPr/>
        </p:nvCxnSpPr>
        <p:spPr>
          <a:xfrm flipV="1">
            <a:off x="8380386" y="3942948"/>
            <a:ext cx="235544" cy="239574"/>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76" name="Elbow Connector 84"/>
          <p:cNvCxnSpPr>
            <a:stCxn id="52" idx="3"/>
            <a:endCxn id="18" idx="1"/>
          </p:cNvCxnSpPr>
          <p:nvPr/>
        </p:nvCxnSpPr>
        <p:spPr>
          <a:xfrm>
            <a:off x="8380386" y="4644327"/>
            <a:ext cx="162627" cy="473"/>
          </a:xfrm>
          <a:prstGeom prst="straightConnector1">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79" name="Elbow Connector 84"/>
          <p:cNvCxnSpPr>
            <a:stCxn id="53" idx="3"/>
            <a:endCxn id="19" idx="1"/>
          </p:cNvCxnSpPr>
          <p:nvPr/>
        </p:nvCxnSpPr>
        <p:spPr>
          <a:xfrm>
            <a:off x="8380385" y="5125242"/>
            <a:ext cx="162628" cy="3401"/>
          </a:xfrm>
          <a:prstGeom prst="straightConnector1">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83" name="Elbow Connector 84"/>
          <p:cNvCxnSpPr>
            <a:stCxn id="54" idx="3"/>
            <a:endCxn id="20" idx="1"/>
          </p:cNvCxnSpPr>
          <p:nvPr/>
        </p:nvCxnSpPr>
        <p:spPr>
          <a:xfrm>
            <a:off x="8380386" y="5591807"/>
            <a:ext cx="162627" cy="1857"/>
          </a:xfrm>
          <a:prstGeom prst="straightConnector1">
            <a:avLst/>
          </a:prstGeom>
          <a:ln>
            <a:prstDash val="solid"/>
            <a:tailEnd type="stealth"/>
          </a:ln>
        </p:spPr>
        <p:style>
          <a:lnRef idx="1">
            <a:schemeClr val="accent1"/>
          </a:lnRef>
          <a:fillRef idx="0">
            <a:schemeClr val="accent1"/>
          </a:fillRef>
          <a:effectRef idx="0">
            <a:schemeClr val="accent1"/>
          </a:effectRef>
          <a:fontRef idx="minor">
            <a:schemeClr val="tx1"/>
          </a:fontRef>
        </p:style>
      </p:cxnSp>
      <p:grpSp>
        <p:nvGrpSpPr>
          <p:cNvPr id="241" name="Group 240"/>
          <p:cNvGrpSpPr/>
          <p:nvPr/>
        </p:nvGrpSpPr>
        <p:grpSpPr>
          <a:xfrm>
            <a:off x="8768438" y="1502388"/>
            <a:ext cx="1340649" cy="242887"/>
            <a:chOff x="8768438" y="1426369"/>
            <a:chExt cx="1340649" cy="242887"/>
          </a:xfrm>
        </p:grpSpPr>
        <p:sp>
          <p:nvSpPr>
            <p:cNvPr id="10" name="Rectangle 9"/>
            <p:cNvSpPr/>
            <p:nvPr/>
          </p:nvSpPr>
          <p:spPr>
            <a:xfrm>
              <a:off x="8768438" y="1426369"/>
              <a:ext cx="1340649" cy="242887"/>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Saref: UnitOfMeasure</a:t>
              </a:r>
            </a:p>
          </p:txBody>
        </p:sp>
        <p:sp>
          <p:nvSpPr>
            <p:cNvPr id="89" name="Rectangle 88"/>
            <p:cNvSpPr/>
            <p:nvPr/>
          </p:nvSpPr>
          <p:spPr>
            <a:xfrm>
              <a:off x="9978687" y="1623537"/>
              <a:ext cx="69056" cy="45719"/>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92" name="Elbow Connector 35"/>
          <p:cNvCxnSpPr>
            <a:stCxn id="20" idx="3"/>
            <a:endCxn id="14" idx="3"/>
          </p:cNvCxnSpPr>
          <p:nvPr/>
        </p:nvCxnSpPr>
        <p:spPr>
          <a:xfrm flipV="1">
            <a:off x="9725025" y="2451609"/>
            <a:ext cx="12700" cy="3142055"/>
          </a:xfrm>
          <a:prstGeom prst="bentConnector3">
            <a:avLst>
              <a:gd name="adj1" fmla="val 2275000"/>
            </a:avLst>
          </a:prstGeom>
          <a:ln>
            <a:prstDash val="dash"/>
            <a:tailEnd type="none"/>
          </a:ln>
        </p:spPr>
        <p:style>
          <a:lnRef idx="1">
            <a:schemeClr val="accent1"/>
          </a:lnRef>
          <a:fillRef idx="0">
            <a:schemeClr val="accent1"/>
          </a:fillRef>
          <a:effectRef idx="0">
            <a:schemeClr val="accent1"/>
          </a:effectRef>
          <a:fontRef idx="minor">
            <a:schemeClr val="tx1"/>
          </a:fontRef>
        </p:style>
      </p:cxnSp>
      <p:cxnSp>
        <p:nvCxnSpPr>
          <p:cNvPr id="96" name="Elbow Connector 35"/>
          <p:cNvCxnSpPr>
            <a:stCxn id="17" idx="3"/>
            <a:endCxn id="16" idx="3"/>
          </p:cNvCxnSpPr>
          <p:nvPr/>
        </p:nvCxnSpPr>
        <p:spPr>
          <a:xfrm flipV="1">
            <a:off x="9725025" y="3341772"/>
            <a:ext cx="12700" cy="514065"/>
          </a:xfrm>
          <a:prstGeom prst="bentConnector3">
            <a:avLst>
              <a:gd name="adj1" fmla="val 1050000"/>
            </a:avLst>
          </a:prstGeom>
          <a:ln>
            <a:prstDash val="dash"/>
            <a:tailEnd type="stealth"/>
          </a:ln>
        </p:spPr>
        <p:style>
          <a:lnRef idx="1">
            <a:schemeClr val="accent1"/>
          </a:lnRef>
          <a:fillRef idx="0">
            <a:schemeClr val="accent1"/>
          </a:fillRef>
          <a:effectRef idx="0">
            <a:schemeClr val="accent1"/>
          </a:effectRef>
          <a:fontRef idx="minor">
            <a:schemeClr val="tx1"/>
          </a:fontRef>
        </p:style>
      </p:cxnSp>
      <p:cxnSp>
        <p:nvCxnSpPr>
          <p:cNvPr id="99" name="Elbow Connector 84"/>
          <p:cNvCxnSpPr>
            <a:stCxn id="22" idx="3"/>
            <a:endCxn id="51" idx="1"/>
          </p:cNvCxnSpPr>
          <p:nvPr/>
        </p:nvCxnSpPr>
        <p:spPr>
          <a:xfrm flipV="1">
            <a:off x="6750970" y="4182522"/>
            <a:ext cx="521099" cy="282752"/>
          </a:xfrm>
          <a:prstGeom prst="bentConnector3">
            <a:avLst>
              <a:gd name="adj1" fmla="val 50000"/>
            </a:avLst>
          </a:prstGeom>
          <a:ln>
            <a:prstDash val="solid"/>
            <a:tailEnd type="none"/>
          </a:ln>
        </p:spPr>
        <p:style>
          <a:lnRef idx="1">
            <a:schemeClr val="accent1"/>
          </a:lnRef>
          <a:fillRef idx="0">
            <a:schemeClr val="accent1"/>
          </a:fillRef>
          <a:effectRef idx="0">
            <a:schemeClr val="accent1"/>
          </a:effectRef>
          <a:fontRef idx="minor">
            <a:schemeClr val="tx1"/>
          </a:fontRef>
        </p:style>
      </p:cxnSp>
      <p:cxnSp>
        <p:nvCxnSpPr>
          <p:cNvPr id="104" name="Elbow Connector 84"/>
          <p:cNvCxnSpPr>
            <a:stCxn id="22" idx="3"/>
            <a:endCxn id="52" idx="1"/>
          </p:cNvCxnSpPr>
          <p:nvPr/>
        </p:nvCxnSpPr>
        <p:spPr>
          <a:xfrm>
            <a:off x="6750970" y="4465274"/>
            <a:ext cx="521099" cy="179053"/>
          </a:xfrm>
          <a:prstGeom prst="bentConnector3">
            <a:avLst>
              <a:gd name="adj1" fmla="val 50000"/>
            </a:avLst>
          </a:prstGeom>
          <a:ln>
            <a:prstDash val="solid"/>
            <a:tailEnd type="none"/>
          </a:ln>
        </p:spPr>
        <p:style>
          <a:lnRef idx="1">
            <a:schemeClr val="accent1"/>
          </a:lnRef>
          <a:fillRef idx="0">
            <a:schemeClr val="accent1"/>
          </a:fillRef>
          <a:effectRef idx="0">
            <a:schemeClr val="accent1"/>
          </a:effectRef>
          <a:fontRef idx="minor">
            <a:schemeClr val="tx1"/>
          </a:fontRef>
        </p:style>
      </p:cxnSp>
      <p:cxnSp>
        <p:nvCxnSpPr>
          <p:cNvPr id="111" name="Elbow Connector 84"/>
          <p:cNvCxnSpPr>
            <a:stCxn id="21" idx="3"/>
            <a:endCxn id="53" idx="1"/>
          </p:cNvCxnSpPr>
          <p:nvPr/>
        </p:nvCxnSpPr>
        <p:spPr>
          <a:xfrm flipV="1">
            <a:off x="6750971" y="5125242"/>
            <a:ext cx="521097" cy="199849"/>
          </a:xfrm>
          <a:prstGeom prst="bentConnector3">
            <a:avLst>
              <a:gd name="adj1" fmla="val 50000"/>
            </a:avLst>
          </a:prstGeom>
          <a:ln>
            <a:prstDash val="solid"/>
            <a:tailEnd type="none"/>
          </a:ln>
        </p:spPr>
        <p:style>
          <a:lnRef idx="1">
            <a:schemeClr val="accent1"/>
          </a:lnRef>
          <a:fillRef idx="0">
            <a:schemeClr val="accent1"/>
          </a:fillRef>
          <a:effectRef idx="0">
            <a:schemeClr val="accent1"/>
          </a:effectRef>
          <a:fontRef idx="minor">
            <a:schemeClr val="tx1"/>
          </a:fontRef>
        </p:style>
      </p:cxnSp>
      <p:cxnSp>
        <p:nvCxnSpPr>
          <p:cNvPr id="115" name="Elbow Connector 84"/>
          <p:cNvCxnSpPr>
            <a:stCxn id="21" idx="3"/>
            <a:endCxn id="54" idx="1"/>
          </p:cNvCxnSpPr>
          <p:nvPr/>
        </p:nvCxnSpPr>
        <p:spPr>
          <a:xfrm>
            <a:off x="6750971" y="5325091"/>
            <a:ext cx="521098" cy="266716"/>
          </a:xfrm>
          <a:prstGeom prst="bentConnector3">
            <a:avLst>
              <a:gd name="adj1" fmla="val 50000"/>
            </a:avLst>
          </a:prstGeom>
          <a:ln>
            <a:prstDash val="solid"/>
            <a:tailEnd type="none"/>
          </a:ln>
        </p:spPr>
        <p:style>
          <a:lnRef idx="1">
            <a:schemeClr val="accent1"/>
          </a:lnRef>
          <a:fillRef idx="0">
            <a:schemeClr val="accent1"/>
          </a:fillRef>
          <a:effectRef idx="0">
            <a:schemeClr val="accent1"/>
          </a:effectRef>
          <a:fontRef idx="minor">
            <a:schemeClr val="tx1"/>
          </a:fontRef>
        </p:style>
      </p:cxnSp>
      <p:cxnSp>
        <p:nvCxnSpPr>
          <p:cNvPr id="118" name="Elbow Connector 84"/>
          <p:cNvCxnSpPr>
            <a:stCxn id="37" idx="3"/>
            <a:endCxn id="22" idx="1"/>
          </p:cNvCxnSpPr>
          <p:nvPr/>
        </p:nvCxnSpPr>
        <p:spPr>
          <a:xfrm>
            <a:off x="4739397" y="4465274"/>
            <a:ext cx="273684" cy="0"/>
          </a:xfrm>
          <a:prstGeom prst="straightConnector1">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21" name="Elbow Connector 84"/>
          <p:cNvCxnSpPr>
            <a:stCxn id="38" idx="3"/>
            <a:endCxn id="21" idx="1"/>
          </p:cNvCxnSpPr>
          <p:nvPr/>
        </p:nvCxnSpPr>
        <p:spPr>
          <a:xfrm>
            <a:off x="4739397" y="5325091"/>
            <a:ext cx="273684" cy="0"/>
          </a:xfrm>
          <a:prstGeom prst="straightConnector1">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25" name="Elbow Connector 84"/>
          <p:cNvCxnSpPr>
            <a:stCxn id="36" idx="3"/>
            <a:endCxn id="23" idx="1"/>
          </p:cNvCxnSpPr>
          <p:nvPr/>
        </p:nvCxnSpPr>
        <p:spPr>
          <a:xfrm>
            <a:off x="4739397" y="3101953"/>
            <a:ext cx="273684" cy="0"/>
          </a:xfrm>
          <a:prstGeom prst="straightConnector1">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28" name="Elbow Connector 84"/>
          <p:cNvCxnSpPr>
            <a:stCxn id="31" idx="3"/>
            <a:endCxn id="24" idx="1"/>
          </p:cNvCxnSpPr>
          <p:nvPr/>
        </p:nvCxnSpPr>
        <p:spPr>
          <a:xfrm>
            <a:off x="4739397" y="2234010"/>
            <a:ext cx="273684" cy="0"/>
          </a:xfrm>
          <a:prstGeom prst="straightConnector1">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31" name="Elbow Connector 84"/>
          <p:cNvCxnSpPr>
            <a:stCxn id="30" idx="0"/>
            <a:endCxn id="26" idx="2"/>
          </p:cNvCxnSpPr>
          <p:nvPr/>
        </p:nvCxnSpPr>
        <p:spPr>
          <a:xfrm flipV="1">
            <a:off x="3152201" y="2193132"/>
            <a:ext cx="0" cy="528938"/>
          </a:xfrm>
          <a:prstGeom prst="straightConnector1">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36" name="Elbow Connector 84"/>
          <p:cNvCxnSpPr>
            <a:stCxn id="142" idx="0"/>
            <a:endCxn id="30" idx="2"/>
          </p:cNvCxnSpPr>
          <p:nvPr/>
        </p:nvCxnSpPr>
        <p:spPr>
          <a:xfrm flipV="1">
            <a:off x="3152199" y="3046538"/>
            <a:ext cx="2" cy="153550"/>
          </a:xfrm>
          <a:prstGeom prst="straightConnector1">
            <a:avLst/>
          </a:prstGeom>
          <a:ln>
            <a:prstDash val="solid"/>
            <a:tailEnd type="none"/>
          </a:ln>
        </p:spPr>
        <p:style>
          <a:lnRef idx="1">
            <a:schemeClr val="accent1"/>
          </a:lnRef>
          <a:fillRef idx="0">
            <a:schemeClr val="accent1"/>
          </a:fillRef>
          <a:effectRef idx="0">
            <a:schemeClr val="accent1"/>
          </a:effectRef>
          <a:fontRef idx="minor">
            <a:schemeClr val="tx1"/>
          </a:fontRef>
        </p:style>
      </p:cxnSp>
      <p:cxnSp>
        <p:nvCxnSpPr>
          <p:cNvPr id="146" name="Elbow Connector 84"/>
          <p:cNvCxnSpPr>
            <a:stCxn id="40" idx="0"/>
            <a:endCxn id="145" idx="2"/>
          </p:cNvCxnSpPr>
          <p:nvPr/>
        </p:nvCxnSpPr>
        <p:spPr>
          <a:xfrm flipH="1" flipV="1">
            <a:off x="3152199" y="3443388"/>
            <a:ext cx="1" cy="1364106"/>
          </a:xfrm>
          <a:prstGeom prst="straightConnector1">
            <a:avLst/>
          </a:prstGeom>
          <a:ln>
            <a:prstDash val="solid"/>
            <a:tailEnd type="none"/>
          </a:ln>
        </p:spPr>
        <p:style>
          <a:lnRef idx="1">
            <a:schemeClr val="accent1"/>
          </a:lnRef>
          <a:fillRef idx="0">
            <a:schemeClr val="accent1"/>
          </a:fillRef>
          <a:effectRef idx="0">
            <a:schemeClr val="accent1"/>
          </a:effectRef>
          <a:fontRef idx="minor">
            <a:schemeClr val="tx1"/>
          </a:fontRef>
        </p:style>
      </p:cxnSp>
      <p:cxnSp>
        <p:nvCxnSpPr>
          <p:cNvPr id="149" name="Elbow Connector 84"/>
          <p:cNvCxnSpPr>
            <a:stCxn id="39" idx="0"/>
            <a:endCxn id="29" idx="2"/>
          </p:cNvCxnSpPr>
          <p:nvPr/>
        </p:nvCxnSpPr>
        <p:spPr>
          <a:xfrm flipV="1">
            <a:off x="2432071" y="3443388"/>
            <a:ext cx="0" cy="503596"/>
          </a:xfrm>
          <a:prstGeom prst="straightConnector1">
            <a:avLst/>
          </a:prstGeom>
          <a:ln>
            <a:prstDash val="solid"/>
            <a:tailEnd type="none"/>
          </a:ln>
        </p:spPr>
        <p:style>
          <a:lnRef idx="1">
            <a:schemeClr val="accent1"/>
          </a:lnRef>
          <a:fillRef idx="0">
            <a:schemeClr val="accent1"/>
          </a:fillRef>
          <a:effectRef idx="0">
            <a:schemeClr val="accent1"/>
          </a:effectRef>
          <a:fontRef idx="minor">
            <a:schemeClr val="tx1"/>
          </a:fontRef>
        </p:style>
      </p:cxnSp>
      <p:cxnSp>
        <p:nvCxnSpPr>
          <p:cNvPr id="152" name="Elbow Connector 84"/>
          <p:cNvCxnSpPr>
            <a:stCxn id="39" idx="2"/>
            <a:endCxn id="44" idx="0"/>
          </p:cNvCxnSpPr>
          <p:nvPr/>
        </p:nvCxnSpPr>
        <p:spPr>
          <a:xfrm>
            <a:off x="2432071" y="4303899"/>
            <a:ext cx="0" cy="1618112"/>
          </a:xfrm>
          <a:prstGeom prst="straightConnector1">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56" name="Elbow Connector 84"/>
          <p:cNvCxnSpPr>
            <a:stCxn id="41" idx="2"/>
            <a:endCxn id="42" idx="0"/>
          </p:cNvCxnSpPr>
          <p:nvPr/>
        </p:nvCxnSpPr>
        <p:spPr>
          <a:xfrm>
            <a:off x="1696992" y="5200101"/>
            <a:ext cx="9526" cy="355206"/>
          </a:xfrm>
          <a:prstGeom prst="straightConnector1">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60" name="Elbow Connector 84"/>
          <p:cNvCxnSpPr>
            <a:stCxn id="40" idx="2"/>
            <a:endCxn id="163" idx="0"/>
          </p:cNvCxnSpPr>
          <p:nvPr/>
        </p:nvCxnSpPr>
        <p:spPr>
          <a:xfrm flipH="1">
            <a:off x="3152199" y="5200101"/>
            <a:ext cx="1" cy="355206"/>
          </a:xfrm>
          <a:prstGeom prst="straightConnector1">
            <a:avLst/>
          </a:prstGeom>
          <a:ln>
            <a:prstDash val="solid"/>
            <a:tailEnd type="stealth"/>
          </a:ln>
        </p:spPr>
        <p:style>
          <a:lnRef idx="1">
            <a:schemeClr val="accent1"/>
          </a:lnRef>
          <a:fillRef idx="0">
            <a:schemeClr val="accent1"/>
          </a:fillRef>
          <a:effectRef idx="0">
            <a:schemeClr val="accent1"/>
          </a:effectRef>
          <a:fontRef idx="minor">
            <a:schemeClr val="tx1"/>
          </a:fontRef>
        </p:style>
      </p:cxnSp>
      <p:grpSp>
        <p:nvGrpSpPr>
          <p:cNvPr id="249" name="Group 248"/>
          <p:cNvGrpSpPr/>
          <p:nvPr/>
        </p:nvGrpSpPr>
        <p:grpSpPr>
          <a:xfrm>
            <a:off x="2738627" y="5555307"/>
            <a:ext cx="1247586" cy="234660"/>
            <a:chOff x="2738627" y="5555307"/>
            <a:chExt cx="1247586" cy="234660"/>
          </a:xfrm>
        </p:grpSpPr>
        <p:sp>
          <p:nvSpPr>
            <p:cNvPr id="43" name="Rectangle 42"/>
            <p:cNvSpPr/>
            <p:nvPr/>
          </p:nvSpPr>
          <p:spPr>
            <a:xfrm>
              <a:off x="2738627" y="5555308"/>
              <a:ext cx="1247586" cy="234659"/>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false”^^xsd: boolean</a:t>
              </a:r>
            </a:p>
          </p:txBody>
        </p:sp>
        <p:sp>
          <p:nvSpPr>
            <p:cNvPr id="163" name="Rectangle 162"/>
            <p:cNvSpPr/>
            <p:nvPr/>
          </p:nvSpPr>
          <p:spPr>
            <a:xfrm>
              <a:off x="3117671" y="5555307"/>
              <a:ext cx="69056" cy="45719"/>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165" name="Elbow Connector 84"/>
          <p:cNvCxnSpPr>
            <a:stCxn id="41" idx="0"/>
            <a:endCxn id="168" idx="2"/>
          </p:cNvCxnSpPr>
          <p:nvPr/>
        </p:nvCxnSpPr>
        <p:spPr>
          <a:xfrm flipV="1">
            <a:off x="1696992" y="3443388"/>
            <a:ext cx="2920" cy="1364106"/>
          </a:xfrm>
          <a:prstGeom prst="straightConnector1">
            <a:avLst/>
          </a:prstGeom>
          <a:ln>
            <a:prstDash val="solid"/>
            <a:tailEnd type="none"/>
          </a:ln>
        </p:spPr>
        <p:style>
          <a:lnRef idx="1">
            <a:schemeClr val="accent1"/>
          </a:lnRef>
          <a:fillRef idx="0">
            <a:schemeClr val="accent1"/>
          </a:fillRef>
          <a:effectRef idx="0">
            <a:schemeClr val="accent1"/>
          </a:effectRef>
          <a:fontRef idx="minor">
            <a:schemeClr val="tx1"/>
          </a:fontRef>
        </p:style>
      </p:cxnSp>
      <p:cxnSp>
        <p:nvCxnSpPr>
          <p:cNvPr id="173" name="Elbow Connector 84"/>
          <p:cNvCxnSpPr>
            <a:stCxn id="172" idx="0"/>
            <a:endCxn id="28" idx="2"/>
          </p:cNvCxnSpPr>
          <p:nvPr/>
        </p:nvCxnSpPr>
        <p:spPr>
          <a:xfrm flipV="1">
            <a:off x="2066947" y="3046538"/>
            <a:ext cx="0" cy="153550"/>
          </a:xfrm>
          <a:prstGeom prst="straightConnector1">
            <a:avLst/>
          </a:prstGeom>
          <a:ln>
            <a:prstDash val="solid"/>
            <a:tailEnd type="none"/>
          </a:ln>
        </p:spPr>
        <p:style>
          <a:lnRef idx="1">
            <a:schemeClr val="accent1"/>
          </a:lnRef>
          <a:fillRef idx="0">
            <a:schemeClr val="accent1"/>
          </a:fillRef>
          <a:effectRef idx="0">
            <a:schemeClr val="accent1"/>
          </a:effectRef>
          <a:fontRef idx="minor">
            <a:schemeClr val="tx1"/>
          </a:fontRef>
        </p:style>
      </p:cxnSp>
      <p:cxnSp>
        <p:nvCxnSpPr>
          <p:cNvPr id="176" name="Elbow Connector 84"/>
          <p:cNvCxnSpPr>
            <a:stCxn id="28" idx="0"/>
            <a:endCxn id="27" idx="2"/>
          </p:cNvCxnSpPr>
          <p:nvPr/>
        </p:nvCxnSpPr>
        <p:spPr>
          <a:xfrm flipV="1">
            <a:off x="2066947" y="2695574"/>
            <a:ext cx="0" cy="134140"/>
          </a:xfrm>
          <a:prstGeom prst="straightConnector1">
            <a:avLst/>
          </a:prstGeom>
          <a:ln>
            <a:prstDash val="solid"/>
            <a:tailEnd type="stealth"/>
          </a:ln>
        </p:spPr>
        <p:style>
          <a:lnRef idx="1">
            <a:schemeClr val="accent1"/>
          </a:lnRef>
          <a:fillRef idx="0">
            <a:schemeClr val="accent1"/>
          </a:fillRef>
          <a:effectRef idx="0">
            <a:schemeClr val="accent1"/>
          </a:effectRef>
          <a:fontRef idx="minor">
            <a:schemeClr val="tx1"/>
          </a:fontRef>
        </p:style>
      </p:cxnSp>
      <p:grpSp>
        <p:nvGrpSpPr>
          <p:cNvPr id="251" name="Group 250"/>
          <p:cNvGrpSpPr/>
          <p:nvPr/>
        </p:nvGrpSpPr>
        <p:grpSpPr>
          <a:xfrm>
            <a:off x="1012867" y="1910886"/>
            <a:ext cx="1247733" cy="282246"/>
            <a:chOff x="1012867" y="1951832"/>
            <a:chExt cx="1247733" cy="241300"/>
          </a:xfrm>
        </p:grpSpPr>
        <p:sp>
          <p:nvSpPr>
            <p:cNvPr id="25" name="Rectangle 24"/>
            <p:cNvSpPr/>
            <p:nvPr/>
          </p:nvSpPr>
          <p:spPr>
            <a:xfrm>
              <a:off x="1012867" y="1951832"/>
              <a:ext cx="1247733" cy="241300"/>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S4bldg: Compressor</a:t>
              </a:r>
            </a:p>
          </p:txBody>
        </p:sp>
        <p:sp>
          <p:nvSpPr>
            <p:cNvPr id="182" name="Rectangle 181"/>
            <p:cNvSpPr/>
            <p:nvPr/>
          </p:nvSpPr>
          <p:spPr>
            <a:xfrm>
              <a:off x="1182978" y="2145481"/>
              <a:ext cx="69056" cy="45719"/>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95" name="Group 294"/>
          <p:cNvGrpSpPr/>
          <p:nvPr/>
        </p:nvGrpSpPr>
        <p:grpSpPr>
          <a:xfrm>
            <a:off x="1343067" y="3200088"/>
            <a:ext cx="2178008" cy="243300"/>
            <a:chOff x="1343067" y="3200088"/>
            <a:chExt cx="2178008" cy="243300"/>
          </a:xfrm>
        </p:grpSpPr>
        <p:sp>
          <p:nvSpPr>
            <p:cNvPr id="29" name="Rectangle 28"/>
            <p:cNvSpPr/>
            <p:nvPr/>
          </p:nvSpPr>
          <p:spPr>
            <a:xfrm>
              <a:off x="1343067" y="3200088"/>
              <a:ext cx="2178008" cy="243300"/>
            </a:xfrm>
            <a:prstGeom prst="rect">
              <a:avLst/>
            </a:prstGeom>
            <a:solidFill>
              <a:srgbClr val="AEA0C1"/>
            </a:solidFill>
            <a:ln w="12700" cap="flat" cmpd="sng" algn="ctr">
              <a:solidFill>
                <a:srgbClr val="5F4D77"/>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rgbClr val="FFFFFF"/>
                  </a:solidFill>
                </a:rPr>
                <a:t>Ex: Compressor001SIERRA02-0434C3</a:t>
              </a:r>
            </a:p>
          </p:txBody>
        </p:sp>
        <p:sp>
          <p:nvSpPr>
            <p:cNvPr id="142" name="Rectangle 141"/>
            <p:cNvSpPr/>
            <p:nvPr/>
          </p:nvSpPr>
          <p:spPr>
            <a:xfrm>
              <a:off x="3117671" y="3200088"/>
              <a:ext cx="69056" cy="45719"/>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5" name="Rectangle 144"/>
            <p:cNvSpPr/>
            <p:nvPr/>
          </p:nvSpPr>
          <p:spPr>
            <a:xfrm>
              <a:off x="3117671" y="3397669"/>
              <a:ext cx="69056" cy="45719"/>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8" name="Rectangle 167"/>
            <p:cNvSpPr/>
            <p:nvPr/>
          </p:nvSpPr>
          <p:spPr>
            <a:xfrm>
              <a:off x="1665384" y="3397669"/>
              <a:ext cx="69056" cy="45719"/>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2" name="Rectangle 171"/>
            <p:cNvSpPr/>
            <p:nvPr/>
          </p:nvSpPr>
          <p:spPr>
            <a:xfrm>
              <a:off x="2032419" y="3200088"/>
              <a:ext cx="69056" cy="45719"/>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4" name="Rectangle 183"/>
            <p:cNvSpPr/>
            <p:nvPr/>
          </p:nvSpPr>
          <p:spPr>
            <a:xfrm>
              <a:off x="1343067" y="3215963"/>
              <a:ext cx="69056" cy="45719"/>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186" name="Elbow Connector 35"/>
          <p:cNvCxnSpPr>
            <a:stCxn id="184" idx="1"/>
            <a:endCxn id="182" idx="2"/>
          </p:cNvCxnSpPr>
          <p:nvPr/>
        </p:nvCxnSpPr>
        <p:spPr>
          <a:xfrm rot="10800000">
            <a:off x="1217507" y="2190873"/>
            <a:ext cx="125561" cy="1047951"/>
          </a:xfrm>
          <a:prstGeom prst="bentConnector2">
            <a:avLst/>
          </a:prstGeom>
          <a:ln>
            <a:prstDash val="dash"/>
            <a:tailEnd type="stealth"/>
          </a:ln>
        </p:spPr>
        <p:style>
          <a:lnRef idx="1">
            <a:schemeClr val="accent1"/>
          </a:lnRef>
          <a:fillRef idx="0">
            <a:schemeClr val="accent1"/>
          </a:fillRef>
          <a:effectRef idx="0">
            <a:schemeClr val="accent1"/>
          </a:effectRef>
          <a:fontRef idx="minor">
            <a:schemeClr val="tx1"/>
          </a:fontRef>
        </p:style>
      </p:cxnSp>
      <p:cxnSp>
        <p:nvCxnSpPr>
          <p:cNvPr id="189" name="Elbow Connector 84"/>
          <p:cNvCxnSpPr>
            <a:stCxn id="29" idx="3"/>
            <a:endCxn id="36" idx="1"/>
          </p:cNvCxnSpPr>
          <p:nvPr/>
        </p:nvCxnSpPr>
        <p:spPr>
          <a:xfrm flipV="1">
            <a:off x="3521075" y="3101953"/>
            <a:ext cx="390481" cy="219785"/>
          </a:xfrm>
          <a:prstGeom prst="bentConnector3">
            <a:avLst>
              <a:gd name="adj1" fmla="val 50000"/>
            </a:avLst>
          </a:prstGeom>
          <a:ln>
            <a:prstDash val="solid"/>
            <a:tailEnd type="none"/>
          </a:ln>
        </p:spPr>
        <p:style>
          <a:lnRef idx="1">
            <a:schemeClr val="accent1"/>
          </a:lnRef>
          <a:fillRef idx="0">
            <a:schemeClr val="accent1"/>
          </a:fillRef>
          <a:effectRef idx="0">
            <a:schemeClr val="accent1"/>
          </a:effectRef>
          <a:fontRef idx="minor">
            <a:schemeClr val="tx1"/>
          </a:fontRef>
        </p:style>
      </p:cxnSp>
      <p:cxnSp>
        <p:nvCxnSpPr>
          <p:cNvPr id="193" name="Elbow Connector 84"/>
          <p:cNvCxnSpPr>
            <a:stCxn id="29" idx="3"/>
            <a:endCxn id="31" idx="1"/>
          </p:cNvCxnSpPr>
          <p:nvPr/>
        </p:nvCxnSpPr>
        <p:spPr>
          <a:xfrm flipV="1">
            <a:off x="3521075" y="2234010"/>
            <a:ext cx="390481" cy="1087728"/>
          </a:xfrm>
          <a:prstGeom prst="bentConnector3">
            <a:avLst>
              <a:gd name="adj1" fmla="val 50000"/>
            </a:avLst>
          </a:prstGeom>
          <a:ln>
            <a:prstDash val="solid"/>
            <a:tailEnd type="none"/>
          </a:ln>
        </p:spPr>
        <p:style>
          <a:lnRef idx="1">
            <a:schemeClr val="accent1"/>
          </a:lnRef>
          <a:fillRef idx="0">
            <a:schemeClr val="accent1"/>
          </a:fillRef>
          <a:effectRef idx="0">
            <a:schemeClr val="accent1"/>
          </a:effectRef>
          <a:fontRef idx="minor">
            <a:schemeClr val="tx1"/>
          </a:fontRef>
        </p:style>
      </p:cxnSp>
      <p:grpSp>
        <p:nvGrpSpPr>
          <p:cNvPr id="248" name="Group 247"/>
          <p:cNvGrpSpPr/>
          <p:nvPr/>
        </p:nvGrpSpPr>
        <p:grpSpPr>
          <a:xfrm>
            <a:off x="5013081" y="5151082"/>
            <a:ext cx="1737890" cy="348017"/>
            <a:chOff x="4902877" y="5151082"/>
            <a:chExt cx="1958298" cy="348017"/>
          </a:xfrm>
        </p:grpSpPr>
        <p:sp>
          <p:nvSpPr>
            <p:cNvPr id="21" name="Rectangle 20"/>
            <p:cNvSpPr/>
            <p:nvPr/>
          </p:nvSpPr>
          <p:spPr>
            <a:xfrm>
              <a:off x="4902877" y="5151082"/>
              <a:ext cx="1958298" cy="348017"/>
            </a:xfrm>
            <a:prstGeom prst="rect">
              <a:avLst/>
            </a:prstGeom>
            <a:solidFill>
              <a:srgbClr val="FEDA6E"/>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Ex: ImpellerDiameterCompressor001SIERRA02-0434C3</a:t>
              </a:r>
            </a:p>
          </p:txBody>
        </p:sp>
        <p:sp>
          <p:nvSpPr>
            <p:cNvPr id="198" name="Rectangle 197"/>
            <p:cNvSpPr/>
            <p:nvPr/>
          </p:nvSpPr>
          <p:spPr>
            <a:xfrm>
              <a:off x="6792118" y="5151082"/>
              <a:ext cx="69056" cy="45719"/>
            </a:xfrm>
            <a:prstGeom prst="rect">
              <a:avLst/>
            </a:prstGeom>
            <a:solidFill>
              <a:srgbClr val="FEDA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199" name="Elbow Connector 35"/>
          <p:cNvCxnSpPr>
            <a:stCxn id="198" idx="3"/>
            <a:endCxn id="8" idx="2"/>
          </p:cNvCxnSpPr>
          <p:nvPr/>
        </p:nvCxnSpPr>
        <p:spPr>
          <a:xfrm flipV="1">
            <a:off x="6750970" y="1745275"/>
            <a:ext cx="177391" cy="3428667"/>
          </a:xfrm>
          <a:prstGeom prst="bentConnector2">
            <a:avLst/>
          </a:prstGeom>
          <a:ln>
            <a:prstDash val="dash"/>
            <a:tailEnd type="stealth"/>
          </a:ln>
        </p:spPr>
        <p:style>
          <a:lnRef idx="1">
            <a:schemeClr val="accent1"/>
          </a:lnRef>
          <a:fillRef idx="0">
            <a:schemeClr val="accent1"/>
          </a:fillRef>
          <a:effectRef idx="0">
            <a:schemeClr val="accent1"/>
          </a:effectRef>
          <a:fontRef idx="minor">
            <a:schemeClr val="tx1"/>
          </a:fontRef>
        </p:style>
      </p:cxnSp>
      <p:grpSp>
        <p:nvGrpSpPr>
          <p:cNvPr id="245" name="Group 244"/>
          <p:cNvGrpSpPr/>
          <p:nvPr/>
        </p:nvGrpSpPr>
        <p:grpSpPr>
          <a:xfrm>
            <a:off x="5013081" y="2060001"/>
            <a:ext cx="1737890" cy="348017"/>
            <a:chOff x="4902877" y="2060001"/>
            <a:chExt cx="1958299" cy="348017"/>
          </a:xfrm>
        </p:grpSpPr>
        <p:sp>
          <p:nvSpPr>
            <p:cNvPr id="24" name="Rectangle 23"/>
            <p:cNvSpPr/>
            <p:nvPr/>
          </p:nvSpPr>
          <p:spPr>
            <a:xfrm>
              <a:off x="4902877" y="2060001"/>
              <a:ext cx="1958298" cy="348017"/>
            </a:xfrm>
            <a:prstGeom prst="rect">
              <a:avLst/>
            </a:prstGeom>
            <a:solidFill>
              <a:srgbClr val="FEDA6E"/>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Ex: CompressorSpeedCompressor001SIERRA02-0434C3</a:t>
              </a:r>
            </a:p>
          </p:txBody>
        </p:sp>
        <p:sp>
          <p:nvSpPr>
            <p:cNvPr id="204" name="Rectangle 203"/>
            <p:cNvSpPr/>
            <p:nvPr/>
          </p:nvSpPr>
          <p:spPr>
            <a:xfrm>
              <a:off x="6792120" y="2060001"/>
              <a:ext cx="69056" cy="45719"/>
            </a:xfrm>
            <a:prstGeom prst="rect">
              <a:avLst/>
            </a:prstGeom>
            <a:solidFill>
              <a:srgbClr val="FEDA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205" name="Elbow Connector 35"/>
          <p:cNvCxnSpPr>
            <a:stCxn id="204" idx="3"/>
            <a:endCxn id="8" idx="2"/>
          </p:cNvCxnSpPr>
          <p:nvPr/>
        </p:nvCxnSpPr>
        <p:spPr>
          <a:xfrm flipV="1">
            <a:off x="6750971" y="1745275"/>
            <a:ext cx="177390" cy="337586"/>
          </a:xfrm>
          <a:prstGeom prst="bentConnector2">
            <a:avLst/>
          </a:prstGeom>
          <a:ln>
            <a:prstDash val="dash"/>
            <a:tailEnd type="stealth"/>
          </a:ln>
        </p:spPr>
        <p:style>
          <a:lnRef idx="1">
            <a:schemeClr val="accent1"/>
          </a:lnRef>
          <a:fillRef idx="0">
            <a:schemeClr val="accent1"/>
          </a:fillRef>
          <a:effectRef idx="0">
            <a:schemeClr val="accent1"/>
          </a:effectRef>
          <a:fontRef idx="minor">
            <a:schemeClr val="tx1"/>
          </a:fontRef>
        </p:style>
      </p:cxnSp>
      <p:grpSp>
        <p:nvGrpSpPr>
          <p:cNvPr id="246" name="Group 245"/>
          <p:cNvGrpSpPr/>
          <p:nvPr/>
        </p:nvGrpSpPr>
        <p:grpSpPr>
          <a:xfrm>
            <a:off x="5013081" y="2927944"/>
            <a:ext cx="1737890" cy="348017"/>
            <a:chOff x="4902877" y="2927944"/>
            <a:chExt cx="1958298" cy="348017"/>
          </a:xfrm>
        </p:grpSpPr>
        <p:sp>
          <p:nvSpPr>
            <p:cNvPr id="23" name="Rectangle 22"/>
            <p:cNvSpPr/>
            <p:nvPr/>
          </p:nvSpPr>
          <p:spPr>
            <a:xfrm>
              <a:off x="4902877" y="2927944"/>
              <a:ext cx="1958298" cy="348017"/>
            </a:xfrm>
            <a:prstGeom prst="rect">
              <a:avLst/>
            </a:prstGeom>
            <a:solidFill>
              <a:srgbClr val="FEDA6E"/>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Ex: IdealCapacityCompressor001SIERRA02-0434C3</a:t>
              </a:r>
            </a:p>
          </p:txBody>
        </p:sp>
        <p:sp>
          <p:nvSpPr>
            <p:cNvPr id="209" name="Rectangle 208"/>
            <p:cNvSpPr/>
            <p:nvPr/>
          </p:nvSpPr>
          <p:spPr>
            <a:xfrm>
              <a:off x="6792119" y="2927944"/>
              <a:ext cx="69056" cy="45719"/>
            </a:xfrm>
            <a:prstGeom prst="rect">
              <a:avLst/>
            </a:prstGeom>
            <a:solidFill>
              <a:srgbClr val="FEDA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210" name="Elbow Connector 35"/>
          <p:cNvCxnSpPr>
            <a:stCxn id="209" idx="3"/>
            <a:endCxn id="8" idx="2"/>
          </p:cNvCxnSpPr>
          <p:nvPr/>
        </p:nvCxnSpPr>
        <p:spPr>
          <a:xfrm flipV="1">
            <a:off x="6750971" y="1745275"/>
            <a:ext cx="177390" cy="1205529"/>
          </a:xfrm>
          <a:prstGeom prst="bentConnector2">
            <a:avLst/>
          </a:prstGeom>
          <a:ln>
            <a:prstDash val="dash"/>
            <a:tailEnd type="stealth"/>
          </a:ln>
        </p:spPr>
        <p:style>
          <a:lnRef idx="1">
            <a:schemeClr val="accent1"/>
          </a:lnRef>
          <a:fillRef idx="0">
            <a:schemeClr val="accent1"/>
          </a:fillRef>
          <a:effectRef idx="0">
            <a:schemeClr val="accent1"/>
          </a:effectRef>
          <a:fontRef idx="minor">
            <a:schemeClr val="tx1"/>
          </a:fontRef>
        </p:style>
      </p:cxnSp>
      <p:grpSp>
        <p:nvGrpSpPr>
          <p:cNvPr id="247" name="Group 246"/>
          <p:cNvGrpSpPr/>
          <p:nvPr/>
        </p:nvGrpSpPr>
        <p:grpSpPr>
          <a:xfrm>
            <a:off x="5013081" y="4291265"/>
            <a:ext cx="1737890" cy="348017"/>
            <a:chOff x="4902877" y="4291265"/>
            <a:chExt cx="1958299" cy="348017"/>
          </a:xfrm>
        </p:grpSpPr>
        <p:sp>
          <p:nvSpPr>
            <p:cNvPr id="22" name="Rectangle 21"/>
            <p:cNvSpPr/>
            <p:nvPr/>
          </p:nvSpPr>
          <p:spPr>
            <a:xfrm>
              <a:off x="4902877" y="4291265"/>
              <a:ext cx="1958298" cy="348017"/>
            </a:xfrm>
            <a:prstGeom prst="rect">
              <a:avLst/>
            </a:prstGeom>
            <a:solidFill>
              <a:srgbClr val="FEDA6E"/>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Ex: NominalCapacityCompressor001SIERRA02-0434C3</a:t>
              </a:r>
            </a:p>
          </p:txBody>
        </p:sp>
        <p:sp>
          <p:nvSpPr>
            <p:cNvPr id="215" name="Rectangle 214"/>
            <p:cNvSpPr/>
            <p:nvPr/>
          </p:nvSpPr>
          <p:spPr>
            <a:xfrm>
              <a:off x="6792120" y="4291265"/>
              <a:ext cx="69056" cy="45719"/>
            </a:xfrm>
            <a:prstGeom prst="rect">
              <a:avLst/>
            </a:prstGeom>
            <a:solidFill>
              <a:srgbClr val="FEDA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216" name="Elbow Connector 35"/>
          <p:cNvCxnSpPr>
            <a:stCxn id="215" idx="3"/>
            <a:endCxn id="8" idx="2"/>
          </p:cNvCxnSpPr>
          <p:nvPr/>
        </p:nvCxnSpPr>
        <p:spPr>
          <a:xfrm flipV="1">
            <a:off x="6750971" y="1745275"/>
            <a:ext cx="177390" cy="2568850"/>
          </a:xfrm>
          <a:prstGeom prst="bentConnector2">
            <a:avLst/>
          </a:prstGeom>
          <a:ln>
            <a:prstDash val="dash"/>
            <a:tailEnd type="stealth"/>
          </a:ln>
        </p:spPr>
        <p:style>
          <a:lnRef idx="1">
            <a:schemeClr val="accent1"/>
          </a:lnRef>
          <a:fillRef idx="0">
            <a:schemeClr val="accent1"/>
          </a:fillRef>
          <a:effectRef idx="0">
            <a:schemeClr val="accent1"/>
          </a:effectRef>
          <a:fontRef idx="minor">
            <a:schemeClr val="tx1"/>
          </a:fontRef>
        </p:style>
      </p:cxnSp>
      <p:cxnSp>
        <p:nvCxnSpPr>
          <p:cNvPr id="223" name="Elbow Connector 84"/>
          <p:cNvCxnSpPr>
            <a:stCxn id="23" idx="3"/>
            <a:endCxn id="49" idx="1"/>
          </p:cNvCxnSpPr>
          <p:nvPr/>
        </p:nvCxnSpPr>
        <p:spPr>
          <a:xfrm flipV="1">
            <a:off x="6750971" y="2906202"/>
            <a:ext cx="521098" cy="195751"/>
          </a:xfrm>
          <a:prstGeom prst="bentConnector3">
            <a:avLst>
              <a:gd name="adj1" fmla="val 50000"/>
            </a:avLst>
          </a:prstGeom>
          <a:ln>
            <a:prstDash val="solid"/>
            <a:tailEnd type="none"/>
          </a:ln>
        </p:spPr>
        <p:style>
          <a:lnRef idx="1">
            <a:schemeClr val="accent1"/>
          </a:lnRef>
          <a:fillRef idx="0">
            <a:schemeClr val="accent1"/>
          </a:fillRef>
          <a:effectRef idx="0">
            <a:schemeClr val="accent1"/>
          </a:effectRef>
          <a:fontRef idx="minor">
            <a:schemeClr val="tx1"/>
          </a:fontRef>
        </p:style>
      </p:cxnSp>
      <p:cxnSp>
        <p:nvCxnSpPr>
          <p:cNvPr id="227" name="Elbow Connector 84"/>
          <p:cNvCxnSpPr>
            <a:stCxn id="23" idx="3"/>
            <a:endCxn id="50" idx="1"/>
          </p:cNvCxnSpPr>
          <p:nvPr/>
        </p:nvCxnSpPr>
        <p:spPr>
          <a:xfrm>
            <a:off x="6750971" y="3101953"/>
            <a:ext cx="521098" cy="461901"/>
          </a:xfrm>
          <a:prstGeom prst="bentConnector3">
            <a:avLst>
              <a:gd name="adj1" fmla="val 50000"/>
            </a:avLst>
          </a:prstGeom>
          <a:ln>
            <a:prstDash val="solid"/>
            <a:tailEnd type="none"/>
          </a:ln>
        </p:spPr>
        <p:style>
          <a:lnRef idx="1">
            <a:schemeClr val="accent1"/>
          </a:lnRef>
          <a:fillRef idx="0">
            <a:schemeClr val="accent1"/>
          </a:fillRef>
          <a:effectRef idx="0">
            <a:schemeClr val="accent1"/>
          </a:effectRef>
          <a:fontRef idx="minor">
            <a:schemeClr val="tx1"/>
          </a:fontRef>
        </p:style>
      </p:cxnSp>
      <p:cxnSp>
        <p:nvCxnSpPr>
          <p:cNvPr id="230" name="Elbow Connector 84"/>
          <p:cNvCxnSpPr>
            <a:stCxn id="24" idx="3"/>
            <a:endCxn id="48" idx="1"/>
          </p:cNvCxnSpPr>
          <p:nvPr/>
        </p:nvCxnSpPr>
        <p:spPr>
          <a:xfrm>
            <a:off x="6750970" y="2234010"/>
            <a:ext cx="521099" cy="217599"/>
          </a:xfrm>
          <a:prstGeom prst="bentConnector3">
            <a:avLst>
              <a:gd name="adj1" fmla="val 50000"/>
            </a:avLst>
          </a:prstGeom>
          <a:ln>
            <a:prstDash val="solid"/>
            <a:tailEnd type="none"/>
          </a:ln>
        </p:spPr>
        <p:style>
          <a:lnRef idx="1">
            <a:schemeClr val="accent1"/>
          </a:lnRef>
          <a:fillRef idx="0">
            <a:schemeClr val="accent1"/>
          </a:fillRef>
          <a:effectRef idx="0">
            <a:schemeClr val="accent1"/>
          </a:effectRef>
          <a:fontRef idx="minor">
            <a:schemeClr val="tx1"/>
          </a:fontRef>
        </p:style>
      </p:cxnSp>
      <p:cxnSp>
        <p:nvCxnSpPr>
          <p:cNvPr id="233" name="Elbow Connector 84"/>
          <p:cNvCxnSpPr>
            <a:stCxn id="24" idx="3"/>
            <a:endCxn id="45" idx="1"/>
          </p:cNvCxnSpPr>
          <p:nvPr/>
        </p:nvCxnSpPr>
        <p:spPr>
          <a:xfrm flipV="1">
            <a:off x="6750970" y="2071688"/>
            <a:ext cx="521099" cy="162322"/>
          </a:xfrm>
          <a:prstGeom prst="bentConnector3">
            <a:avLst>
              <a:gd name="adj1" fmla="val 50000"/>
            </a:avLst>
          </a:prstGeom>
          <a:ln>
            <a:prstDash val="solid"/>
            <a:tailEnd type="none"/>
          </a:ln>
        </p:spPr>
        <p:style>
          <a:lnRef idx="1">
            <a:schemeClr val="accent1"/>
          </a:lnRef>
          <a:fillRef idx="0">
            <a:schemeClr val="accent1"/>
          </a:fillRef>
          <a:effectRef idx="0">
            <a:schemeClr val="accent1"/>
          </a:effectRef>
          <a:fontRef idx="minor">
            <a:schemeClr val="tx1"/>
          </a:fontRef>
        </p:style>
      </p:cxnSp>
      <p:cxnSp>
        <p:nvCxnSpPr>
          <p:cNvPr id="268" name="Elbow Connector 84"/>
          <p:cNvCxnSpPr>
            <a:stCxn id="29" idx="3"/>
            <a:endCxn id="37" idx="1"/>
          </p:cNvCxnSpPr>
          <p:nvPr/>
        </p:nvCxnSpPr>
        <p:spPr>
          <a:xfrm>
            <a:off x="3521075" y="3321738"/>
            <a:ext cx="390481" cy="1143536"/>
          </a:xfrm>
          <a:prstGeom prst="bentConnector3">
            <a:avLst>
              <a:gd name="adj1" fmla="val 50000"/>
            </a:avLst>
          </a:prstGeom>
          <a:ln>
            <a:prstDash val="solid"/>
            <a:tailEnd type="none"/>
          </a:ln>
        </p:spPr>
        <p:style>
          <a:lnRef idx="1">
            <a:schemeClr val="accent1"/>
          </a:lnRef>
          <a:fillRef idx="0">
            <a:schemeClr val="accent1"/>
          </a:fillRef>
          <a:effectRef idx="0">
            <a:schemeClr val="accent1"/>
          </a:effectRef>
          <a:fontRef idx="minor">
            <a:schemeClr val="tx1"/>
          </a:fontRef>
        </p:style>
      </p:cxnSp>
      <p:cxnSp>
        <p:nvCxnSpPr>
          <p:cNvPr id="276" name="Elbow Connector 84"/>
          <p:cNvCxnSpPr>
            <a:stCxn id="29" idx="3"/>
            <a:endCxn id="38" idx="1"/>
          </p:cNvCxnSpPr>
          <p:nvPr/>
        </p:nvCxnSpPr>
        <p:spPr>
          <a:xfrm>
            <a:off x="3521075" y="3321738"/>
            <a:ext cx="390481" cy="2003353"/>
          </a:xfrm>
          <a:prstGeom prst="bentConnector3">
            <a:avLst>
              <a:gd name="adj1" fmla="val 50000"/>
            </a:avLst>
          </a:prstGeom>
          <a:ln>
            <a:prstDash val="solid"/>
            <a:tailEnd type="none"/>
          </a:ln>
        </p:spPr>
        <p:style>
          <a:lnRef idx="1">
            <a:schemeClr val="accent1"/>
          </a:lnRef>
          <a:fillRef idx="0">
            <a:schemeClr val="accent1"/>
          </a:fillRef>
          <a:effectRef idx="0">
            <a:schemeClr val="accent1"/>
          </a:effectRef>
          <a:fontRef idx="minor">
            <a:schemeClr val="tx1"/>
          </a:fontRef>
        </p:style>
      </p:cxnSp>
      <p:sp>
        <p:nvSpPr>
          <p:cNvPr id="109" name="ee4pFootnotes">
            <a:extLst>
              <a:ext uri="{FF2B5EF4-FFF2-40B4-BE49-F238E27FC236}">
                <a16:creationId xmlns:a16="http://schemas.microsoft.com/office/drawing/2014/main" id="{0CF80BE2-2CA7-4C91-8000-32647C833811}"/>
              </a:ext>
            </a:extLst>
          </p:cNvPr>
          <p:cNvSpPr>
            <a:spLocks noChangeArrowheads="1"/>
          </p:cNvSpPr>
          <p:nvPr/>
        </p:nvSpPr>
        <p:spPr bwMode="auto">
          <a:xfrm>
            <a:off x="2493640" y="6405554"/>
            <a:ext cx="7641096"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cs typeface="Arial" pitchFamily="34" charset="0"/>
              </a:rPr>
              <a:t>Source: ETSI TS 103 410-3 V1.1.1 </a:t>
            </a:r>
            <a:endParaRPr lang="pt-BR" sz="1000" dirty="0">
              <a:cs typeface="Arial" pitchFamily="34" charset="0"/>
            </a:endParaRPr>
          </a:p>
          <a:p>
            <a:pPr>
              <a:lnSpc>
                <a:spcPct val="90000"/>
              </a:lnSpc>
            </a:pPr>
            <a:r>
              <a:rPr lang="pt-BR" sz="1000" dirty="0">
                <a:cs typeface="Arial" pitchFamily="34" charset="0"/>
              </a:rPr>
              <a:t>Adapted from figure by Maria Poveda-Villalon &amp; Raul Garcia Castro (UPM) </a:t>
            </a:r>
            <a:endParaRPr lang="en-US" sz="1000" dirty="0">
              <a:cs typeface="Arial" pitchFamily="34" charset="0"/>
            </a:endParaRPr>
          </a:p>
        </p:txBody>
      </p:sp>
      <p:pic>
        <p:nvPicPr>
          <p:cNvPr id="110" name="Picture 1" descr="image002">
            <a:extLst>
              <a:ext uri="{FF2B5EF4-FFF2-40B4-BE49-F238E27FC236}">
                <a16:creationId xmlns:a16="http://schemas.microsoft.com/office/drawing/2014/main" id="{54A75B0C-AD90-45F8-AE4B-DB0ABDB99321}"/>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 name="Picture 111">
            <a:extLst>
              <a:ext uri="{FF2B5EF4-FFF2-40B4-BE49-F238E27FC236}">
                <a16:creationId xmlns:a16="http://schemas.microsoft.com/office/drawing/2014/main" id="{E991A480-8C7C-4F92-9889-ACBACA31083D}"/>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5050" t="25548" r="5027" b="22927"/>
          <a:stretch/>
        </p:blipFill>
        <p:spPr>
          <a:xfrm>
            <a:off x="7981248" y="313232"/>
            <a:ext cx="1270327" cy="406262"/>
          </a:xfrm>
          <a:prstGeom prst="rect">
            <a:avLst/>
          </a:prstGeom>
        </p:spPr>
      </p:pic>
    </p:spTree>
    <p:extLst>
      <p:ext uri="{BB962C8B-B14F-4D97-AF65-F5344CB8AC3E}">
        <p14:creationId xmlns:p14="http://schemas.microsoft.com/office/powerpoint/2010/main" val="103220001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991217" y="362663"/>
            <a:ext cx="9123324" cy="826313"/>
          </a:xfrm>
        </p:spPr>
        <p:txBody>
          <a:bodyPr/>
          <a:lstStyle/>
          <a:p>
            <a:r>
              <a:rPr lang="en-US" dirty="0"/>
              <a:t>SAREF4BLDG – example (II)</a:t>
            </a:r>
          </a:p>
        </p:txBody>
      </p:sp>
      <p:sp>
        <p:nvSpPr>
          <p:cNvPr id="3" name="Slide Number Placeholder 2"/>
          <p:cNvSpPr>
            <a:spLocks noGrp="1"/>
          </p:cNvSpPr>
          <p:nvPr>
            <p:ph type="sldNum" sz="quarter" idx="4"/>
          </p:nvPr>
        </p:nvSpPr>
        <p:spPr/>
        <p:txBody>
          <a:bodyPr/>
          <a:lstStyle/>
          <a:p>
            <a:fld id="{EBC262BB-4310-134F-8D24-58475080D942}" type="slidenum">
              <a:rPr lang="en-US" smtClean="0"/>
              <a:pPr/>
              <a:t>66</a:t>
            </a:fld>
            <a:endParaRPr lang="en-US" dirty="0"/>
          </a:p>
        </p:txBody>
      </p:sp>
      <p:sp>
        <p:nvSpPr>
          <p:cNvPr id="113" name="Rectangle 112"/>
          <p:cNvSpPr/>
          <p:nvPr/>
        </p:nvSpPr>
        <p:spPr>
          <a:xfrm>
            <a:off x="7060051" y="1540492"/>
            <a:ext cx="1324151" cy="283546"/>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Geo: SpatialThing</a:t>
            </a:r>
          </a:p>
        </p:txBody>
      </p:sp>
      <p:sp>
        <p:nvSpPr>
          <p:cNvPr id="114" name="Rectangle 113"/>
          <p:cNvSpPr/>
          <p:nvPr/>
        </p:nvSpPr>
        <p:spPr>
          <a:xfrm>
            <a:off x="9166486" y="2098522"/>
            <a:ext cx="948055" cy="283546"/>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40.405013</a:t>
            </a:r>
          </a:p>
        </p:txBody>
      </p:sp>
      <p:sp>
        <p:nvSpPr>
          <p:cNvPr id="116" name="Rectangle 115"/>
          <p:cNvSpPr/>
          <p:nvPr/>
        </p:nvSpPr>
        <p:spPr>
          <a:xfrm>
            <a:off x="9166486" y="2687923"/>
            <a:ext cx="948055" cy="283546"/>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3.839349</a:t>
            </a:r>
          </a:p>
        </p:txBody>
      </p:sp>
      <p:sp>
        <p:nvSpPr>
          <p:cNvPr id="117" name="Rectangle 116"/>
          <p:cNvSpPr/>
          <p:nvPr/>
        </p:nvSpPr>
        <p:spPr>
          <a:xfrm>
            <a:off x="9166486" y="3464211"/>
            <a:ext cx="948055" cy="283546"/>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40.405152</a:t>
            </a:r>
          </a:p>
        </p:txBody>
      </p:sp>
      <p:sp>
        <p:nvSpPr>
          <p:cNvPr id="119" name="Rectangle 118"/>
          <p:cNvSpPr/>
          <p:nvPr/>
        </p:nvSpPr>
        <p:spPr>
          <a:xfrm>
            <a:off x="8008503" y="2098522"/>
            <a:ext cx="948055" cy="283546"/>
          </a:xfrm>
          <a:prstGeom prst="rect">
            <a:avLst/>
          </a:prstGeom>
          <a:noFill/>
          <a:ln w="12700" cap="flat" cmpd="sng" algn="ctr">
            <a:noFill/>
            <a:prstDash val="solid"/>
            <a:miter lim="800000"/>
          </a:ln>
          <a:effectLst/>
          <a:extLs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Geo: latitude</a:t>
            </a:r>
          </a:p>
        </p:txBody>
      </p:sp>
      <p:sp>
        <p:nvSpPr>
          <p:cNvPr id="120" name="Rectangle 119"/>
          <p:cNvSpPr/>
          <p:nvPr/>
        </p:nvSpPr>
        <p:spPr>
          <a:xfrm>
            <a:off x="8008503" y="2687923"/>
            <a:ext cx="948055" cy="283546"/>
          </a:xfrm>
          <a:prstGeom prst="rect">
            <a:avLst/>
          </a:prstGeom>
          <a:noFill/>
          <a:ln w="12700" cap="flat" cmpd="sng" algn="ctr">
            <a:noFill/>
            <a:prstDash val="solid"/>
            <a:miter lim="800000"/>
          </a:ln>
          <a:effectLst/>
          <a:extLs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Geo: longitude</a:t>
            </a:r>
          </a:p>
        </p:txBody>
      </p:sp>
      <p:sp>
        <p:nvSpPr>
          <p:cNvPr id="122" name="Rectangle 121"/>
          <p:cNvSpPr/>
          <p:nvPr/>
        </p:nvSpPr>
        <p:spPr>
          <a:xfrm>
            <a:off x="8008503" y="3461088"/>
            <a:ext cx="948055" cy="283546"/>
          </a:xfrm>
          <a:prstGeom prst="rect">
            <a:avLst/>
          </a:prstGeom>
          <a:noFill/>
          <a:ln w="12700" cap="flat" cmpd="sng" algn="ctr">
            <a:noFill/>
            <a:prstDash val="solid"/>
            <a:miter lim="800000"/>
          </a:ln>
          <a:effectLst/>
          <a:extLs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Geo: latitude</a:t>
            </a:r>
          </a:p>
        </p:txBody>
      </p:sp>
      <p:sp>
        <p:nvSpPr>
          <p:cNvPr id="123" name="Rectangle 122"/>
          <p:cNvSpPr/>
          <p:nvPr/>
        </p:nvSpPr>
        <p:spPr>
          <a:xfrm>
            <a:off x="9166486" y="4073430"/>
            <a:ext cx="948055" cy="283546"/>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3.839209</a:t>
            </a:r>
          </a:p>
        </p:txBody>
      </p:sp>
      <p:sp>
        <p:nvSpPr>
          <p:cNvPr id="124" name="Rectangle 123"/>
          <p:cNvSpPr/>
          <p:nvPr/>
        </p:nvSpPr>
        <p:spPr>
          <a:xfrm>
            <a:off x="8008503" y="4070307"/>
            <a:ext cx="948055" cy="283546"/>
          </a:xfrm>
          <a:prstGeom prst="rect">
            <a:avLst/>
          </a:prstGeom>
          <a:noFill/>
          <a:ln w="12700" cap="flat" cmpd="sng" algn="ctr">
            <a:noFill/>
            <a:prstDash val="solid"/>
            <a:miter lim="800000"/>
          </a:ln>
          <a:effectLst/>
          <a:extLs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Geo: longitude</a:t>
            </a:r>
          </a:p>
        </p:txBody>
      </p:sp>
      <p:sp>
        <p:nvSpPr>
          <p:cNvPr id="126" name="Rectangle 125"/>
          <p:cNvSpPr/>
          <p:nvPr/>
        </p:nvSpPr>
        <p:spPr>
          <a:xfrm>
            <a:off x="9166486" y="4647115"/>
            <a:ext cx="948055" cy="283546"/>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40.405155</a:t>
            </a:r>
          </a:p>
        </p:txBody>
      </p:sp>
      <p:sp>
        <p:nvSpPr>
          <p:cNvPr id="127" name="Rectangle 126"/>
          <p:cNvSpPr/>
          <p:nvPr/>
        </p:nvSpPr>
        <p:spPr>
          <a:xfrm>
            <a:off x="8008503" y="4643992"/>
            <a:ext cx="948055" cy="283546"/>
          </a:xfrm>
          <a:prstGeom prst="rect">
            <a:avLst/>
          </a:prstGeom>
          <a:noFill/>
          <a:ln w="12700" cap="flat" cmpd="sng" algn="ctr">
            <a:noFill/>
            <a:prstDash val="solid"/>
            <a:miter lim="800000"/>
          </a:ln>
          <a:effectLst/>
          <a:extLs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Geo: latitude</a:t>
            </a:r>
          </a:p>
        </p:txBody>
      </p:sp>
      <p:sp>
        <p:nvSpPr>
          <p:cNvPr id="129" name="Rectangle 128"/>
          <p:cNvSpPr/>
          <p:nvPr/>
        </p:nvSpPr>
        <p:spPr>
          <a:xfrm>
            <a:off x="9166486" y="5248942"/>
            <a:ext cx="948055" cy="283546"/>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3.839203</a:t>
            </a:r>
          </a:p>
        </p:txBody>
      </p:sp>
      <p:sp>
        <p:nvSpPr>
          <p:cNvPr id="130" name="Rectangle 129"/>
          <p:cNvSpPr/>
          <p:nvPr/>
        </p:nvSpPr>
        <p:spPr>
          <a:xfrm>
            <a:off x="8008503" y="5245819"/>
            <a:ext cx="948055" cy="283546"/>
          </a:xfrm>
          <a:prstGeom prst="rect">
            <a:avLst/>
          </a:prstGeom>
          <a:noFill/>
          <a:ln w="12700" cap="flat" cmpd="sng" algn="ctr">
            <a:noFill/>
            <a:prstDash val="solid"/>
            <a:miter lim="800000"/>
          </a:ln>
          <a:effectLst/>
          <a:extLs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Geo: longitude</a:t>
            </a:r>
          </a:p>
        </p:txBody>
      </p:sp>
      <p:sp>
        <p:nvSpPr>
          <p:cNvPr id="134" name="Rectangle 133"/>
          <p:cNvSpPr/>
          <p:nvPr/>
        </p:nvSpPr>
        <p:spPr>
          <a:xfrm>
            <a:off x="5896478" y="4883106"/>
            <a:ext cx="1695901" cy="419143"/>
          </a:xfrm>
          <a:prstGeom prst="rect">
            <a:avLst/>
          </a:prstGeom>
          <a:solidFill>
            <a:srgbClr val="C8E4CA"/>
          </a:solidFill>
          <a:ln w="12700" cap="flat" cmpd="sng" algn="ctr">
            <a:solidFill>
              <a:srgbClr val="5AAE6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Ex: LocationCompressor</a:t>
            </a:r>
            <a:br>
              <a:rPr lang="en-US" sz="800" dirty="0">
                <a:solidFill>
                  <a:schemeClr val="tx1"/>
                </a:solidFill>
              </a:rPr>
            </a:br>
            <a:r>
              <a:rPr lang="en-US" sz="800" dirty="0">
                <a:solidFill>
                  <a:schemeClr val="tx1"/>
                </a:solidFill>
              </a:rPr>
              <a:t>001SIERRA02-0434C3</a:t>
            </a:r>
          </a:p>
        </p:txBody>
      </p:sp>
      <p:sp>
        <p:nvSpPr>
          <p:cNvPr id="135" name="Rectangle 134"/>
          <p:cNvSpPr/>
          <p:nvPr/>
        </p:nvSpPr>
        <p:spPr>
          <a:xfrm>
            <a:off x="5500753" y="3712884"/>
            <a:ext cx="2091626" cy="419143"/>
          </a:xfrm>
          <a:prstGeom prst="rect">
            <a:avLst/>
          </a:prstGeom>
          <a:solidFill>
            <a:srgbClr val="C8E4CA"/>
          </a:solidFill>
          <a:ln w="12700" cap="flat" cmpd="sng" algn="ctr">
            <a:solidFill>
              <a:srgbClr val="5AAE6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Ex: LocationRefrigerationStore</a:t>
            </a:r>
            <a:br>
              <a:rPr lang="en-US" sz="800" dirty="0">
                <a:solidFill>
                  <a:schemeClr val="tx1"/>
                </a:solidFill>
              </a:rPr>
            </a:br>
            <a:r>
              <a:rPr lang="en-US" sz="800" dirty="0">
                <a:solidFill>
                  <a:schemeClr val="tx1"/>
                </a:solidFill>
              </a:rPr>
              <a:t>ComputerScienceBuilding1</a:t>
            </a:r>
          </a:p>
        </p:txBody>
      </p:sp>
      <p:sp>
        <p:nvSpPr>
          <p:cNvPr id="137" name="Rectangle 136"/>
          <p:cNvSpPr/>
          <p:nvPr/>
        </p:nvSpPr>
        <p:spPr>
          <a:xfrm>
            <a:off x="6015412" y="2346495"/>
            <a:ext cx="1576967" cy="419143"/>
          </a:xfrm>
          <a:prstGeom prst="rect">
            <a:avLst/>
          </a:prstGeom>
          <a:solidFill>
            <a:srgbClr val="C8E4CA"/>
          </a:solidFill>
          <a:ln w="12700" cap="flat" cmpd="sng" algn="ctr">
            <a:solidFill>
              <a:srgbClr val="5AAE6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Ex: LocationComputer</a:t>
            </a:r>
            <a:br>
              <a:rPr lang="en-US" sz="800" dirty="0">
                <a:solidFill>
                  <a:schemeClr val="tx1"/>
                </a:solidFill>
              </a:rPr>
            </a:br>
            <a:r>
              <a:rPr lang="en-US" sz="800" dirty="0">
                <a:solidFill>
                  <a:schemeClr val="tx1"/>
                </a:solidFill>
              </a:rPr>
              <a:t>ScienceBuilding1</a:t>
            </a:r>
          </a:p>
        </p:txBody>
      </p:sp>
      <p:sp>
        <p:nvSpPr>
          <p:cNvPr id="138" name="Rectangle 137"/>
          <p:cNvSpPr/>
          <p:nvPr/>
        </p:nvSpPr>
        <p:spPr>
          <a:xfrm>
            <a:off x="3283760" y="3105150"/>
            <a:ext cx="2085029" cy="285462"/>
          </a:xfrm>
          <a:prstGeom prst="rect">
            <a:avLst/>
          </a:prstGeom>
          <a:solidFill>
            <a:srgbClr val="C8E4CA"/>
          </a:solidFill>
          <a:ln w="12700" cap="flat" cmpd="sng" algn="ctr">
            <a:solidFill>
              <a:srgbClr val="5AAE6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Ex: ComputerScienceBuilding1</a:t>
            </a:r>
          </a:p>
        </p:txBody>
      </p:sp>
      <p:sp>
        <p:nvSpPr>
          <p:cNvPr id="139" name="Rectangle 138"/>
          <p:cNvSpPr/>
          <p:nvPr/>
        </p:nvSpPr>
        <p:spPr>
          <a:xfrm>
            <a:off x="3785222" y="1540492"/>
            <a:ext cx="1583566" cy="285462"/>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S4bldg: Compressor</a:t>
            </a:r>
          </a:p>
        </p:txBody>
      </p:sp>
      <p:sp>
        <p:nvSpPr>
          <p:cNvPr id="140" name="Rectangle 139"/>
          <p:cNvSpPr/>
          <p:nvPr/>
        </p:nvSpPr>
        <p:spPr>
          <a:xfrm>
            <a:off x="1006063" y="2043113"/>
            <a:ext cx="2640597" cy="303382"/>
          </a:xfrm>
          <a:prstGeom prst="rect">
            <a:avLst/>
          </a:prstGeom>
          <a:solidFill>
            <a:srgbClr val="AEA0C1"/>
          </a:solidFill>
          <a:ln w="12700" cap="flat" cmpd="sng" algn="ctr">
            <a:solidFill>
              <a:srgbClr val="5F4D77"/>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rgbClr val="FFFFFF"/>
                </a:solidFill>
              </a:rPr>
              <a:t>Ex: Compressor001SIERRA02-0434C3</a:t>
            </a:r>
          </a:p>
        </p:txBody>
      </p:sp>
      <p:sp>
        <p:nvSpPr>
          <p:cNvPr id="141" name="Rectangle 140"/>
          <p:cNvSpPr/>
          <p:nvPr/>
        </p:nvSpPr>
        <p:spPr>
          <a:xfrm>
            <a:off x="2197697" y="2630527"/>
            <a:ext cx="1171839" cy="285462"/>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S4bldg: Building</a:t>
            </a:r>
          </a:p>
        </p:txBody>
      </p:sp>
      <p:sp>
        <p:nvSpPr>
          <p:cNvPr id="143" name="Rectangle 142"/>
          <p:cNvSpPr/>
          <p:nvPr/>
        </p:nvSpPr>
        <p:spPr>
          <a:xfrm>
            <a:off x="1328497" y="3535228"/>
            <a:ext cx="1259153" cy="401772"/>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S4bldg: BuildingSpace</a:t>
            </a:r>
          </a:p>
        </p:txBody>
      </p:sp>
      <p:sp>
        <p:nvSpPr>
          <p:cNvPr id="144" name="Rectangle 143"/>
          <p:cNvSpPr/>
          <p:nvPr/>
        </p:nvSpPr>
        <p:spPr>
          <a:xfrm>
            <a:off x="2200995" y="4180748"/>
            <a:ext cx="1973520" cy="401772"/>
          </a:xfrm>
          <a:prstGeom prst="rect">
            <a:avLst/>
          </a:prstGeom>
          <a:solidFill>
            <a:srgbClr val="C8E4CA"/>
          </a:solidFill>
          <a:ln w="12700" cap="flat" cmpd="sng" algn="ctr">
            <a:solidFill>
              <a:srgbClr val="5AAE6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Ex: RefrigerationStoreComputer</a:t>
            </a:r>
            <a:br>
              <a:rPr lang="en-US" sz="800" dirty="0">
                <a:solidFill>
                  <a:schemeClr val="tx1"/>
                </a:solidFill>
              </a:rPr>
            </a:br>
            <a:r>
              <a:rPr lang="en-US" sz="800" dirty="0">
                <a:solidFill>
                  <a:schemeClr val="tx1"/>
                </a:solidFill>
              </a:rPr>
              <a:t>ScienceBuilding1</a:t>
            </a:r>
          </a:p>
        </p:txBody>
      </p:sp>
      <p:sp>
        <p:nvSpPr>
          <p:cNvPr id="147" name="Rectangle 146"/>
          <p:cNvSpPr/>
          <p:nvPr/>
        </p:nvSpPr>
        <p:spPr>
          <a:xfrm>
            <a:off x="4730414" y="4368400"/>
            <a:ext cx="955088" cy="214120"/>
          </a:xfrm>
          <a:prstGeom prst="rect">
            <a:avLst/>
          </a:prstGeom>
          <a:noFill/>
          <a:ln w="12700" cap="flat" cmpd="sng" algn="ctr">
            <a:noFill/>
            <a:prstDash val="solid"/>
            <a:miter lim="800000"/>
          </a:ln>
          <a:effectLst/>
          <a:extLs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Geo: location</a:t>
            </a:r>
          </a:p>
        </p:txBody>
      </p:sp>
      <p:sp>
        <p:nvSpPr>
          <p:cNvPr id="148" name="Rectangle 147"/>
          <p:cNvSpPr/>
          <p:nvPr/>
        </p:nvSpPr>
        <p:spPr>
          <a:xfrm>
            <a:off x="3651561" y="3693336"/>
            <a:ext cx="1349428" cy="214120"/>
          </a:xfrm>
          <a:prstGeom prst="rect">
            <a:avLst/>
          </a:prstGeom>
          <a:noFill/>
          <a:ln w="12700" cap="flat" cmpd="sng" algn="ctr">
            <a:noFill/>
            <a:prstDash val="solid"/>
            <a:miter lim="800000"/>
          </a:ln>
          <a:effectLst/>
          <a:extLs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S4bldg: isSpaceOf</a:t>
            </a:r>
          </a:p>
        </p:txBody>
      </p:sp>
      <p:sp>
        <p:nvSpPr>
          <p:cNvPr id="150" name="Rectangle 149"/>
          <p:cNvSpPr/>
          <p:nvPr/>
        </p:nvSpPr>
        <p:spPr>
          <a:xfrm>
            <a:off x="5556790" y="3105150"/>
            <a:ext cx="935343" cy="285462"/>
          </a:xfrm>
          <a:prstGeom prst="rect">
            <a:avLst/>
          </a:prstGeom>
          <a:noFill/>
          <a:ln w="12700" cap="flat" cmpd="sng" algn="ctr">
            <a:noFill/>
            <a:prstDash val="solid"/>
            <a:miter lim="800000"/>
          </a:ln>
          <a:effectLst/>
          <a:extLs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Geo: Location</a:t>
            </a:r>
          </a:p>
        </p:txBody>
      </p:sp>
      <p:sp>
        <p:nvSpPr>
          <p:cNvPr id="151" name="Rectangle 150"/>
          <p:cNvSpPr/>
          <p:nvPr/>
        </p:nvSpPr>
        <p:spPr>
          <a:xfrm>
            <a:off x="1037578" y="4985617"/>
            <a:ext cx="935343" cy="214120"/>
          </a:xfrm>
          <a:prstGeom prst="rect">
            <a:avLst/>
          </a:prstGeom>
          <a:noFill/>
          <a:ln w="12700" cap="flat" cmpd="sng" algn="ctr">
            <a:noFill/>
            <a:prstDash val="solid"/>
            <a:miter lim="800000"/>
          </a:ln>
          <a:effectLst/>
          <a:extLs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Geo: location</a:t>
            </a:r>
          </a:p>
        </p:txBody>
      </p:sp>
      <p:sp>
        <p:nvSpPr>
          <p:cNvPr id="153" name="Rectangle 152"/>
          <p:cNvSpPr/>
          <p:nvPr/>
        </p:nvSpPr>
        <p:spPr>
          <a:xfrm>
            <a:off x="991217" y="2467844"/>
            <a:ext cx="918469" cy="375369"/>
          </a:xfrm>
          <a:prstGeom prst="rect">
            <a:avLst/>
          </a:prstGeom>
          <a:noFill/>
          <a:ln w="12700" cap="flat" cmpd="sng" algn="ctr">
            <a:noFill/>
            <a:prstDash val="solid"/>
            <a:miter lim="800000"/>
          </a:ln>
          <a:effectLst/>
          <a:extLs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S4bldg: isContainedln</a:t>
            </a:r>
          </a:p>
        </p:txBody>
      </p:sp>
      <p:sp>
        <p:nvSpPr>
          <p:cNvPr id="5" name="Rectangle 4"/>
          <p:cNvSpPr/>
          <p:nvPr/>
        </p:nvSpPr>
        <p:spPr>
          <a:xfrm>
            <a:off x="3979209" y="1765300"/>
            <a:ext cx="95014" cy="60654"/>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54" name="Elbow Connector 35"/>
          <p:cNvCxnSpPr>
            <a:stCxn id="140" idx="3"/>
            <a:endCxn id="5" idx="2"/>
          </p:cNvCxnSpPr>
          <p:nvPr/>
        </p:nvCxnSpPr>
        <p:spPr>
          <a:xfrm flipV="1">
            <a:off x="3646660" y="1825954"/>
            <a:ext cx="380056" cy="368850"/>
          </a:xfrm>
          <a:prstGeom prst="bentConnector2">
            <a:avLst/>
          </a:prstGeom>
          <a:ln>
            <a:prstDash val="dash"/>
            <a:tailEnd type="stealth"/>
          </a:ln>
        </p:spPr>
        <p:style>
          <a:lnRef idx="1">
            <a:schemeClr val="accent1"/>
          </a:lnRef>
          <a:fillRef idx="0">
            <a:schemeClr val="accent1"/>
          </a:fillRef>
          <a:effectRef idx="0">
            <a:schemeClr val="accent1"/>
          </a:effectRef>
          <a:fontRef idx="minor">
            <a:schemeClr val="tx1"/>
          </a:fontRef>
        </p:style>
      </p:cxnSp>
      <p:cxnSp>
        <p:nvCxnSpPr>
          <p:cNvPr id="155" name="Elbow Connector 84"/>
          <p:cNvCxnSpPr>
            <a:stCxn id="159" idx="2"/>
            <a:endCxn id="162" idx="1"/>
          </p:cNvCxnSpPr>
          <p:nvPr/>
        </p:nvCxnSpPr>
        <p:spPr>
          <a:xfrm rot="16200000" flipH="1">
            <a:off x="844941" y="3167971"/>
            <a:ext cx="1680812" cy="1031297"/>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57" name="Elbow Connector 35"/>
          <p:cNvCxnSpPr>
            <a:stCxn id="138" idx="1"/>
            <a:endCxn id="141" idx="2"/>
          </p:cNvCxnSpPr>
          <p:nvPr/>
        </p:nvCxnSpPr>
        <p:spPr>
          <a:xfrm rot="10800000">
            <a:off x="2783617" y="2915989"/>
            <a:ext cx="500143" cy="331892"/>
          </a:xfrm>
          <a:prstGeom prst="bentConnector2">
            <a:avLst/>
          </a:prstGeom>
          <a:ln>
            <a:prstDash val="dash"/>
            <a:tailEnd type="stealth"/>
          </a:ln>
        </p:spPr>
        <p:style>
          <a:lnRef idx="1">
            <a:schemeClr val="accent1"/>
          </a:lnRef>
          <a:fillRef idx="0">
            <a:schemeClr val="accent1"/>
          </a:fillRef>
          <a:effectRef idx="0">
            <a:schemeClr val="accent1"/>
          </a:effectRef>
          <a:fontRef idx="minor">
            <a:schemeClr val="tx1"/>
          </a:fontRef>
        </p:style>
      </p:cxnSp>
      <p:cxnSp>
        <p:nvCxnSpPr>
          <p:cNvPr id="158" name="Elbow Connector 35"/>
          <p:cNvCxnSpPr>
            <a:stCxn id="144" idx="1"/>
            <a:endCxn id="143" idx="2"/>
          </p:cNvCxnSpPr>
          <p:nvPr/>
        </p:nvCxnSpPr>
        <p:spPr>
          <a:xfrm rot="10800000">
            <a:off x="1958074" y="3937000"/>
            <a:ext cx="242922" cy="444634"/>
          </a:xfrm>
          <a:prstGeom prst="bentConnector2">
            <a:avLst/>
          </a:prstGeom>
          <a:ln>
            <a:prstDash val="dash"/>
            <a:tailEnd type="stealth"/>
          </a:ln>
        </p:spPr>
        <p:style>
          <a:lnRef idx="1">
            <a:schemeClr val="accent1"/>
          </a:lnRef>
          <a:fillRef idx="0">
            <a:schemeClr val="accent1"/>
          </a:fillRef>
          <a:effectRef idx="0">
            <a:schemeClr val="accent1"/>
          </a:effectRef>
          <a:fontRef idx="minor">
            <a:schemeClr val="tx1"/>
          </a:fontRef>
        </p:style>
      </p:cxnSp>
      <p:sp>
        <p:nvSpPr>
          <p:cNvPr id="159" name="Rectangle 158"/>
          <p:cNvSpPr/>
          <p:nvPr/>
        </p:nvSpPr>
        <p:spPr>
          <a:xfrm>
            <a:off x="1122192" y="2782559"/>
            <a:ext cx="95014" cy="60654"/>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2" name="Rectangle 161"/>
          <p:cNvSpPr/>
          <p:nvPr/>
        </p:nvSpPr>
        <p:spPr>
          <a:xfrm>
            <a:off x="2200995" y="4493698"/>
            <a:ext cx="95014" cy="60654"/>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64" name="Elbow Connector 84"/>
          <p:cNvCxnSpPr>
            <a:stCxn id="153" idx="0"/>
            <a:endCxn id="166" idx="2"/>
          </p:cNvCxnSpPr>
          <p:nvPr/>
        </p:nvCxnSpPr>
        <p:spPr>
          <a:xfrm flipV="1">
            <a:off x="1450451" y="2346495"/>
            <a:ext cx="0" cy="121349"/>
          </a:xfrm>
          <a:prstGeom prst="straightConnector1">
            <a:avLst/>
          </a:prstGeom>
          <a:ln>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6" name="Rectangle 165"/>
          <p:cNvSpPr/>
          <p:nvPr/>
        </p:nvSpPr>
        <p:spPr>
          <a:xfrm>
            <a:off x="1402944" y="2285841"/>
            <a:ext cx="95014" cy="60654"/>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67" name="Elbow Connector 84"/>
          <p:cNvCxnSpPr>
            <a:stCxn id="147" idx="3"/>
            <a:endCxn id="169" idx="2"/>
          </p:cNvCxnSpPr>
          <p:nvPr/>
        </p:nvCxnSpPr>
        <p:spPr>
          <a:xfrm flipV="1">
            <a:off x="5685502" y="4132027"/>
            <a:ext cx="517078" cy="343433"/>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sp>
        <p:nvSpPr>
          <p:cNvPr id="169" name="Rectangle 168"/>
          <p:cNvSpPr/>
          <p:nvPr/>
        </p:nvSpPr>
        <p:spPr>
          <a:xfrm>
            <a:off x="6155073" y="4071373"/>
            <a:ext cx="95014" cy="60654"/>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74" name="Elbow Connector 84"/>
          <p:cNvCxnSpPr>
            <a:stCxn id="177" idx="3"/>
            <a:endCxn id="147" idx="1"/>
          </p:cNvCxnSpPr>
          <p:nvPr/>
        </p:nvCxnSpPr>
        <p:spPr>
          <a:xfrm flipV="1">
            <a:off x="4163267" y="4475460"/>
            <a:ext cx="567147" cy="1"/>
          </a:xfrm>
          <a:prstGeom prst="straightConnector1">
            <a:avLst/>
          </a:prstGeom>
          <a:ln>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7" name="Rectangle 176"/>
          <p:cNvSpPr/>
          <p:nvPr/>
        </p:nvSpPr>
        <p:spPr>
          <a:xfrm>
            <a:off x="4068253" y="4445134"/>
            <a:ext cx="95014" cy="60654"/>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9" name="Rectangle 178"/>
          <p:cNvSpPr/>
          <p:nvPr/>
        </p:nvSpPr>
        <p:spPr>
          <a:xfrm>
            <a:off x="4068253" y="4180748"/>
            <a:ext cx="95014" cy="60654"/>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80" name="Elbow Connector 84"/>
          <p:cNvCxnSpPr>
            <a:stCxn id="179" idx="3"/>
            <a:endCxn id="148" idx="2"/>
          </p:cNvCxnSpPr>
          <p:nvPr/>
        </p:nvCxnSpPr>
        <p:spPr>
          <a:xfrm flipV="1">
            <a:off x="4163267" y="3907456"/>
            <a:ext cx="163009" cy="303619"/>
          </a:xfrm>
          <a:prstGeom prst="bentConnector2">
            <a:avLst/>
          </a:prstGeom>
          <a:ln>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5" name="Elbow Connector 84"/>
          <p:cNvCxnSpPr>
            <a:stCxn id="148" idx="0"/>
            <a:endCxn id="138" idx="2"/>
          </p:cNvCxnSpPr>
          <p:nvPr/>
        </p:nvCxnSpPr>
        <p:spPr>
          <a:xfrm flipH="1" flipV="1">
            <a:off x="4326274" y="3390612"/>
            <a:ext cx="1" cy="302724"/>
          </a:xfrm>
          <a:prstGeom prst="straightConnector1">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88" name="Elbow Connector 84"/>
          <p:cNvCxnSpPr>
            <a:stCxn id="138" idx="3"/>
            <a:endCxn id="150" idx="1"/>
          </p:cNvCxnSpPr>
          <p:nvPr/>
        </p:nvCxnSpPr>
        <p:spPr>
          <a:xfrm>
            <a:off x="5368789" y="3247881"/>
            <a:ext cx="188001" cy="0"/>
          </a:xfrm>
          <a:prstGeom prst="straightConnector1">
            <a:avLst/>
          </a:prstGeom>
          <a:ln>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4" name="Elbow Connector 84"/>
          <p:cNvCxnSpPr>
            <a:stCxn id="150" idx="3"/>
            <a:endCxn id="137" idx="2"/>
          </p:cNvCxnSpPr>
          <p:nvPr/>
        </p:nvCxnSpPr>
        <p:spPr>
          <a:xfrm flipV="1">
            <a:off x="6492133" y="2765638"/>
            <a:ext cx="311763" cy="482243"/>
          </a:xfrm>
          <a:prstGeom prst="bentConnector2">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00" name="Elbow Connector 84"/>
          <p:cNvCxnSpPr>
            <a:stCxn id="119" idx="3"/>
            <a:endCxn id="114" idx="1"/>
          </p:cNvCxnSpPr>
          <p:nvPr/>
        </p:nvCxnSpPr>
        <p:spPr>
          <a:xfrm>
            <a:off x="8956558" y="2240295"/>
            <a:ext cx="209927" cy="0"/>
          </a:xfrm>
          <a:prstGeom prst="straightConnector1">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01" name="Elbow Connector 84"/>
          <p:cNvCxnSpPr>
            <a:stCxn id="120" idx="3"/>
            <a:endCxn id="116" idx="1"/>
          </p:cNvCxnSpPr>
          <p:nvPr/>
        </p:nvCxnSpPr>
        <p:spPr>
          <a:xfrm>
            <a:off x="8956558" y="2829696"/>
            <a:ext cx="209927" cy="0"/>
          </a:xfrm>
          <a:prstGeom prst="straightConnector1">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06" name="Elbow Connector 84"/>
          <p:cNvCxnSpPr>
            <a:stCxn id="122" idx="3"/>
            <a:endCxn id="117" idx="1"/>
          </p:cNvCxnSpPr>
          <p:nvPr/>
        </p:nvCxnSpPr>
        <p:spPr>
          <a:xfrm>
            <a:off x="8956558" y="3602861"/>
            <a:ext cx="209927" cy="3123"/>
          </a:xfrm>
          <a:prstGeom prst="straightConnector1">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07" name="Elbow Connector 84"/>
          <p:cNvCxnSpPr>
            <a:stCxn id="124" idx="3"/>
            <a:endCxn id="123" idx="1"/>
          </p:cNvCxnSpPr>
          <p:nvPr/>
        </p:nvCxnSpPr>
        <p:spPr>
          <a:xfrm>
            <a:off x="8956558" y="4212080"/>
            <a:ext cx="209927" cy="3123"/>
          </a:xfrm>
          <a:prstGeom prst="straightConnector1">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11" name="Elbow Connector 84"/>
          <p:cNvCxnSpPr>
            <a:stCxn id="127" idx="3"/>
            <a:endCxn id="126" idx="1"/>
          </p:cNvCxnSpPr>
          <p:nvPr/>
        </p:nvCxnSpPr>
        <p:spPr>
          <a:xfrm>
            <a:off x="8956558" y="4785765"/>
            <a:ext cx="209927" cy="3123"/>
          </a:xfrm>
          <a:prstGeom prst="straightConnector1">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14" name="Elbow Connector 84"/>
          <p:cNvCxnSpPr>
            <a:stCxn id="130" idx="3"/>
            <a:endCxn id="129" idx="1"/>
          </p:cNvCxnSpPr>
          <p:nvPr/>
        </p:nvCxnSpPr>
        <p:spPr>
          <a:xfrm>
            <a:off x="8956558" y="5387592"/>
            <a:ext cx="209927" cy="3123"/>
          </a:xfrm>
          <a:prstGeom prst="straightConnector1">
            <a:avLst/>
          </a:prstGeom>
          <a:ln>
            <a:prstDash val="solid"/>
            <a:tailEnd type="stealth"/>
          </a:ln>
        </p:spPr>
        <p:style>
          <a:lnRef idx="1">
            <a:schemeClr val="accent1"/>
          </a:lnRef>
          <a:fillRef idx="0">
            <a:schemeClr val="accent1"/>
          </a:fillRef>
          <a:effectRef idx="0">
            <a:schemeClr val="accent1"/>
          </a:effectRef>
          <a:fontRef idx="minor">
            <a:schemeClr val="tx1"/>
          </a:fontRef>
        </p:style>
      </p:cxnSp>
      <p:sp>
        <p:nvSpPr>
          <p:cNvPr id="218" name="Rectangle 217"/>
          <p:cNvSpPr/>
          <p:nvPr/>
        </p:nvSpPr>
        <p:spPr>
          <a:xfrm>
            <a:off x="7497364" y="4883106"/>
            <a:ext cx="95014" cy="60654"/>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19" name="Elbow Connector 35"/>
          <p:cNvCxnSpPr>
            <a:stCxn id="218" idx="3"/>
            <a:endCxn id="113" idx="2"/>
          </p:cNvCxnSpPr>
          <p:nvPr/>
        </p:nvCxnSpPr>
        <p:spPr>
          <a:xfrm flipV="1">
            <a:off x="7592378" y="1824038"/>
            <a:ext cx="129749" cy="3089395"/>
          </a:xfrm>
          <a:prstGeom prst="bentConnector2">
            <a:avLst/>
          </a:prstGeom>
          <a:ln>
            <a:prstDash val="dash"/>
            <a:tailEnd type="stealth"/>
          </a:ln>
        </p:spPr>
        <p:style>
          <a:lnRef idx="1">
            <a:schemeClr val="accent1"/>
          </a:lnRef>
          <a:fillRef idx="0">
            <a:schemeClr val="accent1"/>
          </a:fillRef>
          <a:effectRef idx="0">
            <a:schemeClr val="accent1"/>
          </a:effectRef>
          <a:fontRef idx="minor">
            <a:schemeClr val="tx1"/>
          </a:fontRef>
        </p:style>
      </p:cxnSp>
      <p:sp>
        <p:nvSpPr>
          <p:cNvPr id="224" name="Rectangle 223"/>
          <p:cNvSpPr/>
          <p:nvPr/>
        </p:nvSpPr>
        <p:spPr>
          <a:xfrm>
            <a:off x="7497364" y="3712884"/>
            <a:ext cx="95014" cy="60654"/>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25" name="Elbow Connector 35"/>
          <p:cNvCxnSpPr>
            <a:stCxn id="224" idx="3"/>
            <a:endCxn id="113" idx="2"/>
          </p:cNvCxnSpPr>
          <p:nvPr/>
        </p:nvCxnSpPr>
        <p:spPr>
          <a:xfrm flipV="1">
            <a:off x="7592378" y="1824038"/>
            <a:ext cx="129749" cy="1919173"/>
          </a:xfrm>
          <a:prstGeom prst="bentConnector2">
            <a:avLst/>
          </a:prstGeom>
          <a:ln>
            <a:prstDash val="dash"/>
            <a:tailEnd type="stealth"/>
          </a:ln>
        </p:spPr>
        <p:style>
          <a:lnRef idx="1">
            <a:schemeClr val="accent1"/>
          </a:lnRef>
          <a:fillRef idx="0">
            <a:schemeClr val="accent1"/>
          </a:fillRef>
          <a:effectRef idx="0">
            <a:schemeClr val="accent1"/>
          </a:effectRef>
          <a:fontRef idx="minor">
            <a:schemeClr val="tx1"/>
          </a:fontRef>
        </p:style>
      </p:cxnSp>
      <p:sp>
        <p:nvSpPr>
          <p:cNvPr id="228" name="Rectangle 227"/>
          <p:cNvSpPr/>
          <p:nvPr/>
        </p:nvSpPr>
        <p:spPr>
          <a:xfrm>
            <a:off x="7497364" y="2346495"/>
            <a:ext cx="95014" cy="60654"/>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29" name="Elbow Connector 35"/>
          <p:cNvCxnSpPr>
            <a:stCxn id="228" idx="3"/>
            <a:endCxn id="113" idx="2"/>
          </p:cNvCxnSpPr>
          <p:nvPr/>
        </p:nvCxnSpPr>
        <p:spPr>
          <a:xfrm flipV="1">
            <a:off x="7592378" y="1824038"/>
            <a:ext cx="129749" cy="552784"/>
          </a:xfrm>
          <a:prstGeom prst="bentConnector2">
            <a:avLst/>
          </a:prstGeom>
          <a:ln>
            <a:prstDash val="dash"/>
            <a:tailEnd type="stealth"/>
          </a:ln>
        </p:spPr>
        <p:style>
          <a:lnRef idx="1">
            <a:schemeClr val="accent1"/>
          </a:lnRef>
          <a:fillRef idx="0">
            <a:schemeClr val="accent1"/>
          </a:fillRef>
          <a:effectRef idx="0">
            <a:schemeClr val="accent1"/>
          </a:effectRef>
          <a:fontRef idx="minor">
            <a:schemeClr val="tx1"/>
          </a:fontRef>
        </p:style>
      </p:cxnSp>
      <p:cxnSp>
        <p:nvCxnSpPr>
          <p:cNvPr id="232" name="Elbow Connector 84"/>
          <p:cNvCxnSpPr>
            <a:stCxn id="137" idx="3"/>
            <a:endCxn id="119" idx="1"/>
          </p:cNvCxnSpPr>
          <p:nvPr/>
        </p:nvCxnSpPr>
        <p:spPr>
          <a:xfrm flipV="1">
            <a:off x="7592379" y="2240295"/>
            <a:ext cx="416124" cy="315772"/>
          </a:xfrm>
          <a:prstGeom prst="bentConnector3">
            <a:avLst>
              <a:gd name="adj1" fmla="val 50000"/>
            </a:avLst>
          </a:prstGeom>
          <a:ln>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5" name="Elbow Connector 84"/>
          <p:cNvCxnSpPr>
            <a:stCxn id="137" idx="3"/>
            <a:endCxn id="120" idx="1"/>
          </p:cNvCxnSpPr>
          <p:nvPr/>
        </p:nvCxnSpPr>
        <p:spPr>
          <a:xfrm>
            <a:off x="7592379" y="2556067"/>
            <a:ext cx="416124" cy="273629"/>
          </a:xfrm>
          <a:prstGeom prst="bentConnector3">
            <a:avLst>
              <a:gd name="adj1" fmla="val 50000"/>
            </a:avLst>
          </a:prstGeom>
          <a:ln>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9" name="Elbow Connector 84"/>
          <p:cNvCxnSpPr>
            <a:stCxn id="135" idx="3"/>
            <a:endCxn id="124" idx="1"/>
          </p:cNvCxnSpPr>
          <p:nvPr/>
        </p:nvCxnSpPr>
        <p:spPr>
          <a:xfrm>
            <a:off x="7592379" y="3922456"/>
            <a:ext cx="416124" cy="289624"/>
          </a:xfrm>
          <a:prstGeom prst="bentConnector3">
            <a:avLst>
              <a:gd name="adj1" fmla="val 50000"/>
            </a:avLst>
          </a:prstGeom>
          <a:ln>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3" name="Elbow Connector 84"/>
          <p:cNvCxnSpPr>
            <a:stCxn id="135" idx="3"/>
            <a:endCxn id="122" idx="1"/>
          </p:cNvCxnSpPr>
          <p:nvPr/>
        </p:nvCxnSpPr>
        <p:spPr>
          <a:xfrm flipV="1">
            <a:off x="7592379" y="3602861"/>
            <a:ext cx="416124" cy="319595"/>
          </a:xfrm>
          <a:prstGeom prst="bentConnector3">
            <a:avLst>
              <a:gd name="adj1" fmla="val 50000"/>
            </a:avLst>
          </a:prstGeom>
          <a:ln>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0" name="Elbow Connector 84"/>
          <p:cNvCxnSpPr>
            <a:stCxn id="134" idx="3"/>
            <a:endCxn id="127" idx="1"/>
          </p:cNvCxnSpPr>
          <p:nvPr/>
        </p:nvCxnSpPr>
        <p:spPr>
          <a:xfrm flipV="1">
            <a:off x="7592379" y="4785765"/>
            <a:ext cx="416124" cy="306913"/>
          </a:xfrm>
          <a:prstGeom prst="bentConnector3">
            <a:avLst>
              <a:gd name="adj1" fmla="val 50000"/>
            </a:avLst>
          </a:prstGeom>
          <a:ln>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3" name="Elbow Connector 84"/>
          <p:cNvCxnSpPr>
            <a:stCxn id="134" idx="3"/>
            <a:endCxn id="130" idx="1"/>
          </p:cNvCxnSpPr>
          <p:nvPr/>
        </p:nvCxnSpPr>
        <p:spPr>
          <a:xfrm>
            <a:off x="7592379" y="5092678"/>
            <a:ext cx="416124" cy="294914"/>
          </a:xfrm>
          <a:prstGeom prst="bentConnector3">
            <a:avLst>
              <a:gd name="adj1" fmla="val 50000"/>
            </a:avLst>
          </a:prstGeom>
          <a:ln>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4" name="Elbow Connector 84"/>
          <p:cNvCxnSpPr>
            <a:stCxn id="151" idx="3"/>
            <a:endCxn id="134" idx="1"/>
          </p:cNvCxnSpPr>
          <p:nvPr/>
        </p:nvCxnSpPr>
        <p:spPr>
          <a:xfrm>
            <a:off x="1972921" y="5092677"/>
            <a:ext cx="3923557" cy="1"/>
          </a:xfrm>
          <a:prstGeom prst="straightConnector1">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59" name="Elbow Connector 84"/>
          <p:cNvCxnSpPr>
            <a:stCxn id="140" idx="1"/>
            <a:endCxn id="151" idx="1"/>
          </p:cNvCxnSpPr>
          <p:nvPr/>
        </p:nvCxnSpPr>
        <p:spPr>
          <a:xfrm rot="10800000" flipH="1" flipV="1">
            <a:off x="1006062" y="2194803"/>
            <a:ext cx="31515" cy="2897873"/>
          </a:xfrm>
          <a:prstGeom prst="bentConnector3">
            <a:avLst>
              <a:gd name="adj1" fmla="val -463976"/>
            </a:avLst>
          </a:prstGeom>
          <a:ln>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0" name="ee4pFootnotes">
            <a:extLst>
              <a:ext uri="{FF2B5EF4-FFF2-40B4-BE49-F238E27FC236}">
                <a16:creationId xmlns:a16="http://schemas.microsoft.com/office/drawing/2014/main" id="{19E323D0-7397-4FA2-9693-F742C72DA415}"/>
              </a:ext>
            </a:extLst>
          </p:cNvPr>
          <p:cNvSpPr>
            <a:spLocks noChangeArrowheads="1"/>
          </p:cNvSpPr>
          <p:nvPr/>
        </p:nvSpPr>
        <p:spPr bwMode="auto">
          <a:xfrm>
            <a:off x="2493640" y="6405554"/>
            <a:ext cx="7641096"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cs typeface="Arial" pitchFamily="34" charset="0"/>
              </a:rPr>
              <a:t>Source: ETSI TS 103 410-3 V1.1.1 </a:t>
            </a:r>
            <a:endParaRPr lang="pt-BR" sz="1000" dirty="0">
              <a:cs typeface="Arial" pitchFamily="34" charset="0"/>
            </a:endParaRPr>
          </a:p>
          <a:p>
            <a:pPr>
              <a:lnSpc>
                <a:spcPct val="90000"/>
              </a:lnSpc>
            </a:pPr>
            <a:r>
              <a:rPr lang="pt-BR" sz="1000" dirty="0">
                <a:cs typeface="Arial" pitchFamily="34" charset="0"/>
              </a:rPr>
              <a:t>Adapted from figure by Maria Poveda-Villalon &amp; Raul Garcia Castro (UPM) </a:t>
            </a:r>
            <a:endParaRPr lang="en-US" sz="1000" dirty="0">
              <a:cs typeface="Arial" pitchFamily="34" charset="0"/>
            </a:endParaRPr>
          </a:p>
        </p:txBody>
      </p:sp>
      <p:pic>
        <p:nvPicPr>
          <p:cNvPr id="71" name="Picture 1" descr="image002">
            <a:extLst>
              <a:ext uri="{FF2B5EF4-FFF2-40B4-BE49-F238E27FC236}">
                <a16:creationId xmlns:a16="http://schemas.microsoft.com/office/drawing/2014/main" id="{3A4072F1-8829-417A-BE88-04D2D967C6BA}"/>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2" name="Picture 71">
            <a:extLst>
              <a:ext uri="{FF2B5EF4-FFF2-40B4-BE49-F238E27FC236}">
                <a16:creationId xmlns:a16="http://schemas.microsoft.com/office/drawing/2014/main" id="{15026F38-3E97-481A-96C9-CB0B3F28798C}"/>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5050" t="25548" r="5027" b="22927"/>
          <a:stretch/>
        </p:blipFill>
        <p:spPr>
          <a:xfrm>
            <a:off x="7981248" y="313232"/>
            <a:ext cx="1270327" cy="406262"/>
          </a:xfrm>
          <a:prstGeom prst="rect">
            <a:avLst/>
          </a:prstGeom>
        </p:spPr>
      </p:pic>
    </p:spTree>
    <p:extLst>
      <p:ext uri="{BB962C8B-B14F-4D97-AF65-F5344CB8AC3E}">
        <p14:creationId xmlns:p14="http://schemas.microsoft.com/office/powerpoint/2010/main" val="362670875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991217" y="362663"/>
            <a:ext cx="9123324" cy="826313"/>
          </a:xfrm>
        </p:spPr>
        <p:txBody>
          <a:bodyPr/>
          <a:lstStyle/>
          <a:p>
            <a:r>
              <a:rPr lang="en-US" dirty="0"/>
              <a:t>SAREF4BLDG – example (III)</a:t>
            </a:r>
          </a:p>
        </p:txBody>
      </p:sp>
      <p:sp>
        <p:nvSpPr>
          <p:cNvPr id="3" name="Slide Number Placeholder 2"/>
          <p:cNvSpPr>
            <a:spLocks noGrp="1"/>
          </p:cNvSpPr>
          <p:nvPr>
            <p:ph type="sldNum" sz="quarter" idx="4"/>
          </p:nvPr>
        </p:nvSpPr>
        <p:spPr/>
        <p:txBody>
          <a:bodyPr/>
          <a:lstStyle/>
          <a:p>
            <a:fld id="{EBC262BB-4310-134F-8D24-58475080D942}" type="slidenum">
              <a:rPr lang="en-US" smtClean="0"/>
              <a:pPr/>
              <a:t>67</a:t>
            </a:fld>
            <a:endParaRPr lang="en-US" dirty="0"/>
          </a:p>
        </p:txBody>
      </p:sp>
      <p:sp>
        <p:nvSpPr>
          <p:cNvPr id="72" name="Rectangle 71"/>
          <p:cNvSpPr/>
          <p:nvPr/>
        </p:nvSpPr>
        <p:spPr>
          <a:xfrm>
            <a:off x="8851038" y="1787252"/>
            <a:ext cx="1263503" cy="251098"/>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Saref: PowerUnit</a:t>
            </a:r>
          </a:p>
        </p:txBody>
      </p:sp>
      <p:sp>
        <p:nvSpPr>
          <p:cNvPr id="73" name="Rectangle 72"/>
          <p:cNvSpPr/>
          <p:nvPr/>
        </p:nvSpPr>
        <p:spPr>
          <a:xfrm>
            <a:off x="8851038" y="2336527"/>
            <a:ext cx="1263503" cy="251098"/>
          </a:xfrm>
          <a:prstGeom prst="rect">
            <a:avLst/>
          </a:prstGeom>
          <a:solidFill>
            <a:srgbClr val="F5BEC1"/>
          </a:solidFill>
          <a:ln w="12700" cap="flat" cmpd="sng" algn="ctr">
            <a:solidFill>
              <a:srgbClr val="C41E2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Wurvoc: watt</a:t>
            </a:r>
          </a:p>
        </p:txBody>
      </p:sp>
      <p:sp>
        <p:nvSpPr>
          <p:cNvPr id="74" name="Rectangle 73"/>
          <p:cNvSpPr/>
          <p:nvPr/>
        </p:nvSpPr>
        <p:spPr>
          <a:xfrm>
            <a:off x="7459218" y="2336527"/>
            <a:ext cx="1301789" cy="27014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902.0”^^xsd: float</a:t>
            </a:r>
          </a:p>
        </p:txBody>
      </p:sp>
      <p:sp>
        <p:nvSpPr>
          <p:cNvPr id="75" name="Rectangle 74"/>
          <p:cNvSpPr/>
          <p:nvPr/>
        </p:nvSpPr>
        <p:spPr>
          <a:xfrm>
            <a:off x="7518390" y="2804794"/>
            <a:ext cx="1183445" cy="184515"/>
          </a:xfrm>
          <a:prstGeom prst="rect">
            <a:avLst/>
          </a:prstGeom>
          <a:noFill/>
          <a:ln w="12700" cap="flat" cmpd="sng" algn="ctr">
            <a:noFill/>
            <a:prstDash val="solid"/>
            <a:miter lim="800000"/>
          </a:ln>
          <a:effectLst/>
          <a:extLs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Saref: hasValue</a:t>
            </a:r>
          </a:p>
        </p:txBody>
      </p:sp>
      <p:sp>
        <p:nvSpPr>
          <p:cNvPr id="76" name="Rectangle 75"/>
          <p:cNvSpPr/>
          <p:nvPr/>
        </p:nvSpPr>
        <p:spPr>
          <a:xfrm>
            <a:off x="8544373" y="3010738"/>
            <a:ext cx="1381876" cy="184515"/>
          </a:xfrm>
          <a:prstGeom prst="rect">
            <a:avLst/>
          </a:prstGeom>
          <a:noFill/>
          <a:ln w="12700" cap="flat" cmpd="sng" algn="ctr">
            <a:noFill/>
            <a:prstDash val="solid"/>
            <a:miter lim="800000"/>
          </a:ln>
          <a:effectLst/>
          <a:extLs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Saref: isMeasuredln</a:t>
            </a:r>
          </a:p>
        </p:txBody>
      </p:sp>
      <p:sp>
        <p:nvSpPr>
          <p:cNvPr id="77" name="Rectangle 76"/>
          <p:cNvSpPr/>
          <p:nvPr/>
        </p:nvSpPr>
        <p:spPr>
          <a:xfrm>
            <a:off x="5349862" y="2908300"/>
            <a:ext cx="1910527" cy="389390"/>
          </a:xfrm>
          <a:prstGeom prst="rect">
            <a:avLst/>
          </a:prstGeom>
          <a:solidFill>
            <a:srgbClr val="9EBEDB"/>
          </a:solidFill>
          <a:ln w="12700" cap="flat" cmpd="sng" algn="ctr">
            <a:solidFill>
              <a:srgbClr val="36669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Ex: PowerCompressor001SIERRA02-0434C3</a:t>
            </a:r>
          </a:p>
        </p:txBody>
      </p:sp>
      <p:sp>
        <p:nvSpPr>
          <p:cNvPr id="80" name="Rectangle 79"/>
          <p:cNvSpPr/>
          <p:nvPr/>
        </p:nvSpPr>
        <p:spPr>
          <a:xfrm>
            <a:off x="5654232" y="2336527"/>
            <a:ext cx="1301789" cy="270148"/>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S4ener: Power</a:t>
            </a:r>
          </a:p>
        </p:txBody>
      </p:sp>
      <p:sp>
        <p:nvSpPr>
          <p:cNvPr id="82" name="Rectangle 81"/>
          <p:cNvSpPr/>
          <p:nvPr/>
        </p:nvSpPr>
        <p:spPr>
          <a:xfrm>
            <a:off x="3522090" y="1559542"/>
            <a:ext cx="1537397" cy="265959"/>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S4bldg: Compressor</a:t>
            </a:r>
          </a:p>
        </p:txBody>
      </p:sp>
      <p:sp>
        <p:nvSpPr>
          <p:cNvPr id="83" name="Rectangle 82"/>
          <p:cNvSpPr/>
          <p:nvPr/>
        </p:nvSpPr>
        <p:spPr>
          <a:xfrm>
            <a:off x="991217" y="1981449"/>
            <a:ext cx="2609801" cy="265959"/>
          </a:xfrm>
          <a:prstGeom prst="rect">
            <a:avLst/>
          </a:prstGeom>
          <a:solidFill>
            <a:srgbClr val="AEA0C1"/>
          </a:solidFill>
          <a:ln w="12700" cap="flat" cmpd="sng" algn="ctr">
            <a:solidFill>
              <a:srgbClr val="5F4D77"/>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rgbClr val="FFFFFF"/>
                </a:solidFill>
              </a:rPr>
              <a:t>Ex: Compressor001SIERRA02-0434C3</a:t>
            </a:r>
          </a:p>
        </p:txBody>
      </p:sp>
      <p:sp>
        <p:nvSpPr>
          <p:cNvPr id="84" name="Rectangle 83"/>
          <p:cNvSpPr/>
          <p:nvPr/>
        </p:nvSpPr>
        <p:spPr>
          <a:xfrm>
            <a:off x="1269910" y="2897051"/>
            <a:ext cx="2052415" cy="376374"/>
          </a:xfrm>
          <a:prstGeom prst="rect">
            <a:avLst/>
          </a:prstGeom>
          <a:solidFill>
            <a:srgbClr val="9EBEDB"/>
          </a:solidFill>
          <a:ln w="12700" cap="flat" cmpd="sng" algn="ctr">
            <a:solidFill>
              <a:srgbClr val="36669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Ex: PowerProfileCompressor</a:t>
            </a:r>
            <a:br>
              <a:rPr lang="en-US" sz="800" dirty="0">
                <a:solidFill>
                  <a:schemeClr val="tx1"/>
                </a:solidFill>
              </a:rPr>
            </a:br>
            <a:r>
              <a:rPr lang="en-US" sz="800" dirty="0">
                <a:solidFill>
                  <a:schemeClr val="tx1"/>
                </a:solidFill>
              </a:rPr>
              <a:t>001SIERRA02-0434C3</a:t>
            </a:r>
          </a:p>
        </p:txBody>
      </p:sp>
      <p:sp>
        <p:nvSpPr>
          <p:cNvPr id="85" name="Rectangle 84"/>
          <p:cNvSpPr/>
          <p:nvPr/>
        </p:nvSpPr>
        <p:spPr>
          <a:xfrm>
            <a:off x="1781362" y="2482707"/>
            <a:ext cx="1029509" cy="179046"/>
          </a:xfrm>
          <a:prstGeom prst="rect">
            <a:avLst/>
          </a:prstGeom>
          <a:noFill/>
          <a:ln w="12700" cap="flat" cmpd="sng" algn="ctr">
            <a:noFill/>
            <a:prstDash val="solid"/>
            <a:miter lim="800000"/>
          </a:ln>
          <a:effectLst/>
          <a:extLs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S4ener: exposes</a:t>
            </a:r>
          </a:p>
        </p:txBody>
      </p:sp>
      <p:sp>
        <p:nvSpPr>
          <p:cNvPr id="86" name="Rectangle 85"/>
          <p:cNvSpPr/>
          <p:nvPr/>
        </p:nvSpPr>
        <p:spPr>
          <a:xfrm>
            <a:off x="3556634" y="3120820"/>
            <a:ext cx="1436069" cy="179046"/>
          </a:xfrm>
          <a:prstGeom prst="rect">
            <a:avLst/>
          </a:prstGeom>
          <a:noFill/>
          <a:ln w="12700" cap="flat" cmpd="sng" algn="ctr">
            <a:noFill/>
            <a:prstDash val="solid"/>
            <a:miter lim="800000"/>
          </a:ln>
          <a:effectLst/>
          <a:extLs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Saref: hasComsumption</a:t>
            </a:r>
          </a:p>
        </p:txBody>
      </p:sp>
      <p:cxnSp>
        <p:nvCxnSpPr>
          <p:cNvPr id="87" name="Elbow Connector 84"/>
          <p:cNvCxnSpPr>
            <a:stCxn id="75" idx="0"/>
            <a:endCxn id="74" idx="2"/>
          </p:cNvCxnSpPr>
          <p:nvPr/>
        </p:nvCxnSpPr>
        <p:spPr>
          <a:xfrm flipV="1">
            <a:off x="8110113" y="2606675"/>
            <a:ext cx="0" cy="198119"/>
          </a:xfrm>
          <a:prstGeom prst="straightConnector1">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88" name="Elbow Connector 35"/>
          <p:cNvCxnSpPr>
            <a:stCxn id="77" idx="0"/>
            <a:endCxn id="80" idx="2"/>
          </p:cNvCxnSpPr>
          <p:nvPr/>
        </p:nvCxnSpPr>
        <p:spPr>
          <a:xfrm flipV="1">
            <a:off x="6305125" y="2606675"/>
            <a:ext cx="1" cy="301625"/>
          </a:xfrm>
          <a:prstGeom prst="straightConnector1">
            <a:avLst/>
          </a:prstGeom>
          <a:ln>
            <a:prstDash val="dash"/>
            <a:tailEnd type="stealth"/>
          </a:ln>
        </p:spPr>
        <p:style>
          <a:lnRef idx="1">
            <a:schemeClr val="accent1"/>
          </a:lnRef>
          <a:fillRef idx="0">
            <a:schemeClr val="accent1"/>
          </a:fillRef>
          <a:effectRef idx="0">
            <a:schemeClr val="accent1"/>
          </a:effectRef>
          <a:fontRef idx="minor">
            <a:schemeClr val="tx1"/>
          </a:fontRef>
        </p:style>
      </p:cxnSp>
      <p:cxnSp>
        <p:nvCxnSpPr>
          <p:cNvPr id="91" name="Elbow Connector 35"/>
          <p:cNvCxnSpPr>
            <a:stCxn id="83" idx="3"/>
            <a:endCxn id="82" idx="2"/>
          </p:cNvCxnSpPr>
          <p:nvPr/>
        </p:nvCxnSpPr>
        <p:spPr>
          <a:xfrm flipV="1">
            <a:off x="3601018" y="1825501"/>
            <a:ext cx="689771" cy="288928"/>
          </a:xfrm>
          <a:prstGeom prst="bentConnector2">
            <a:avLst/>
          </a:prstGeom>
          <a:ln>
            <a:prstDash val="dash"/>
            <a:tailEnd type="stealth"/>
          </a:ln>
        </p:spPr>
        <p:style>
          <a:lnRef idx="1">
            <a:schemeClr val="accent1"/>
          </a:lnRef>
          <a:fillRef idx="0">
            <a:schemeClr val="accent1"/>
          </a:fillRef>
          <a:effectRef idx="0">
            <a:schemeClr val="accent1"/>
          </a:effectRef>
          <a:fontRef idx="minor">
            <a:schemeClr val="tx1"/>
          </a:fontRef>
        </p:style>
      </p:cxnSp>
      <p:cxnSp>
        <p:nvCxnSpPr>
          <p:cNvPr id="94" name="Elbow Connector 35"/>
          <p:cNvCxnSpPr>
            <a:stCxn id="73" idx="0"/>
            <a:endCxn id="72" idx="2"/>
          </p:cNvCxnSpPr>
          <p:nvPr/>
        </p:nvCxnSpPr>
        <p:spPr>
          <a:xfrm flipV="1">
            <a:off x="9482790" y="2038350"/>
            <a:ext cx="0" cy="298177"/>
          </a:xfrm>
          <a:prstGeom prst="straightConnector1">
            <a:avLst/>
          </a:prstGeom>
          <a:ln>
            <a:prstDash val="dash"/>
            <a:tailEnd type="stealth"/>
          </a:ln>
        </p:spPr>
        <p:style>
          <a:lnRef idx="1">
            <a:schemeClr val="accent1"/>
          </a:lnRef>
          <a:fillRef idx="0">
            <a:schemeClr val="accent1"/>
          </a:fillRef>
          <a:effectRef idx="0">
            <a:schemeClr val="accent1"/>
          </a:effectRef>
          <a:fontRef idx="minor">
            <a:schemeClr val="tx1"/>
          </a:fontRef>
        </p:style>
      </p:cxnSp>
      <p:cxnSp>
        <p:nvCxnSpPr>
          <p:cNvPr id="101" name="Elbow Connector 84"/>
          <p:cNvCxnSpPr>
            <a:stCxn id="18" idx="0"/>
            <a:endCxn id="73" idx="2"/>
          </p:cNvCxnSpPr>
          <p:nvPr/>
        </p:nvCxnSpPr>
        <p:spPr>
          <a:xfrm flipH="1" flipV="1">
            <a:off x="9482790" y="2587625"/>
            <a:ext cx="2" cy="423113"/>
          </a:xfrm>
          <a:prstGeom prst="straightConnector1">
            <a:avLst/>
          </a:prstGeom>
          <a:ln>
            <a:prstDash val="solid"/>
            <a:tailEnd type="stealth"/>
          </a:ln>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9441285" y="3010738"/>
            <a:ext cx="83012" cy="6409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07" name="Elbow Connector 84"/>
          <p:cNvCxnSpPr>
            <a:stCxn id="86" idx="3"/>
            <a:endCxn id="115" idx="1"/>
          </p:cNvCxnSpPr>
          <p:nvPr/>
        </p:nvCxnSpPr>
        <p:spPr>
          <a:xfrm>
            <a:off x="4992703" y="3210343"/>
            <a:ext cx="357159" cy="0"/>
          </a:xfrm>
          <a:prstGeom prst="straightConnector1">
            <a:avLst/>
          </a:prstGeom>
          <a:ln>
            <a:prstDash val="solid"/>
            <a:tailEnd type="stealth"/>
          </a:ln>
        </p:spPr>
        <p:style>
          <a:lnRef idx="1">
            <a:schemeClr val="accent1"/>
          </a:lnRef>
          <a:fillRef idx="0">
            <a:schemeClr val="accent1"/>
          </a:fillRef>
          <a:effectRef idx="0">
            <a:schemeClr val="accent1"/>
          </a:effectRef>
          <a:fontRef idx="minor">
            <a:schemeClr val="tx1"/>
          </a:fontRef>
        </p:style>
      </p:cxnSp>
      <p:sp>
        <p:nvSpPr>
          <p:cNvPr id="112" name="Rectangle 111"/>
          <p:cNvSpPr/>
          <p:nvPr/>
        </p:nvSpPr>
        <p:spPr>
          <a:xfrm>
            <a:off x="3239312" y="2983911"/>
            <a:ext cx="83012" cy="6409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5" name="Rectangle 114"/>
          <p:cNvSpPr/>
          <p:nvPr/>
        </p:nvSpPr>
        <p:spPr>
          <a:xfrm>
            <a:off x="5349862" y="3178297"/>
            <a:ext cx="83012" cy="6409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18" name="Elbow Connector 35"/>
          <p:cNvCxnSpPr>
            <a:stCxn id="112" idx="3"/>
            <a:endCxn id="121" idx="2"/>
          </p:cNvCxnSpPr>
          <p:nvPr/>
        </p:nvCxnSpPr>
        <p:spPr>
          <a:xfrm flipV="1">
            <a:off x="3322324" y="2606675"/>
            <a:ext cx="659805" cy="409282"/>
          </a:xfrm>
          <a:prstGeom prst="bentConnector2">
            <a:avLst/>
          </a:prstGeom>
          <a:ln>
            <a:prstDash val="dash"/>
            <a:tailEnd type="stealth"/>
          </a:ln>
        </p:spPr>
        <p:style>
          <a:lnRef idx="1">
            <a:schemeClr val="accent1"/>
          </a:lnRef>
          <a:fillRef idx="0">
            <a:schemeClr val="accent1"/>
          </a:fillRef>
          <a:effectRef idx="0">
            <a:schemeClr val="accent1"/>
          </a:effectRef>
          <a:fontRef idx="minor">
            <a:schemeClr val="tx1"/>
          </a:fontRef>
        </p:style>
      </p:cxnSp>
      <p:grpSp>
        <p:nvGrpSpPr>
          <p:cNvPr id="44" name="Group 43"/>
          <p:cNvGrpSpPr/>
          <p:nvPr/>
        </p:nvGrpSpPr>
        <p:grpSpPr>
          <a:xfrm>
            <a:off x="3749769" y="2336527"/>
            <a:ext cx="1405408" cy="270148"/>
            <a:chOff x="3832479" y="2453029"/>
            <a:chExt cx="1352295" cy="265959"/>
          </a:xfrm>
        </p:grpSpPr>
        <p:sp>
          <p:nvSpPr>
            <p:cNvPr id="81" name="Rectangle 80"/>
            <p:cNvSpPr/>
            <p:nvPr/>
          </p:nvSpPr>
          <p:spPr>
            <a:xfrm>
              <a:off x="3832479" y="2453029"/>
              <a:ext cx="1352295" cy="265959"/>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tx1"/>
                  </a:solidFill>
                </a:rPr>
                <a:t>S4ener: PowerProfile</a:t>
              </a:r>
            </a:p>
          </p:txBody>
        </p:sp>
        <p:sp>
          <p:nvSpPr>
            <p:cNvPr id="121" name="Rectangle 120"/>
            <p:cNvSpPr/>
            <p:nvPr/>
          </p:nvSpPr>
          <p:spPr>
            <a:xfrm>
              <a:off x="4016120" y="2654897"/>
              <a:ext cx="79875" cy="6409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125" name="Elbow Connector 35"/>
          <p:cNvCxnSpPr>
            <a:stCxn id="85" idx="2"/>
            <a:endCxn id="84" idx="0"/>
          </p:cNvCxnSpPr>
          <p:nvPr/>
        </p:nvCxnSpPr>
        <p:spPr>
          <a:xfrm>
            <a:off x="2296117" y="2661753"/>
            <a:ext cx="1" cy="235298"/>
          </a:xfrm>
          <a:prstGeom prst="straightConnector1">
            <a:avLst/>
          </a:prstGeom>
          <a:ln>
            <a:prstDash val="dash"/>
            <a:tailEnd type="stealth"/>
          </a:ln>
        </p:spPr>
        <p:style>
          <a:lnRef idx="1">
            <a:schemeClr val="accent1"/>
          </a:lnRef>
          <a:fillRef idx="0">
            <a:schemeClr val="accent1"/>
          </a:fillRef>
          <a:effectRef idx="0">
            <a:schemeClr val="accent1"/>
          </a:effectRef>
          <a:fontRef idx="minor">
            <a:schemeClr val="tx1"/>
          </a:fontRef>
        </p:style>
      </p:cxnSp>
      <p:cxnSp>
        <p:nvCxnSpPr>
          <p:cNvPr id="131" name="Elbow Connector 84"/>
          <p:cNvCxnSpPr>
            <a:stCxn id="77" idx="3"/>
            <a:endCxn id="75" idx="2"/>
          </p:cNvCxnSpPr>
          <p:nvPr/>
        </p:nvCxnSpPr>
        <p:spPr>
          <a:xfrm flipV="1">
            <a:off x="7260389" y="2989309"/>
            <a:ext cx="849724" cy="113686"/>
          </a:xfrm>
          <a:prstGeom prst="bentConnector2">
            <a:avLst/>
          </a:prstGeom>
          <a:ln>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2" name="Elbow Connector 84"/>
          <p:cNvCxnSpPr>
            <a:stCxn id="76" idx="1"/>
            <a:endCxn id="75" idx="2"/>
          </p:cNvCxnSpPr>
          <p:nvPr/>
        </p:nvCxnSpPr>
        <p:spPr>
          <a:xfrm rot="10800000">
            <a:off x="8110114" y="2989310"/>
            <a:ext cx="434261" cy="113687"/>
          </a:xfrm>
          <a:prstGeom prst="bentConnector2">
            <a:avLst/>
          </a:prstGeom>
          <a:ln>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3" name="Elbow Connector 84"/>
          <p:cNvCxnSpPr>
            <a:stCxn id="136" idx="3"/>
            <a:endCxn id="86" idx="1"/>
          </p:cNvCxnSpPr>
          <p:nvPr/>
        </p:nvCxnSpPr>
        <p:spPr>
          <a:xfrm>
            <a:off x="3322324" y="3210343"/>
            <a:ext cx="234310" cy="0"/>
          </a:xfrm>
          <a:prstGeom prst="straightConnector1">
            <a:avLst/>
          </a:prstGeom>
          <a:ln>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6" name="Rectangle 135"/>
          <p:cNvSpPr/>
          <p:nvPr/>
        </p:nvSpPr>
        <p:spPr>
          <a:xfrm>
            <a:off x="3239312" y="3178297"/>
            <a:ext cx="83012" cy="64091"/>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2" name="Elbow Connector 84"/>
          <p:cNvCxnSpPr>
            <a:stCxn id="85" idx="0"/>
            <a:endCxn id="83" idx="2"/>
          </p:cNvCxnSpPr>
          <p:nvPr/>
        </p:nvCxnSpPr>
        <p:spPr>
          <a:xfrm flipV="1">
            <a:off x="2296117" y="2247408"/>
            <a:ext cx="1" cy="235299"/>
          </a:xfrm>
          <a:prstGeom prst="straightConnector1">
            <a:avLst/>
          </a:prstGeom>
          <a:ln>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6" name="ee4pFootnotes">
            <a:extLst>
              <a:ext uri="{FF2B5EF4-FFF2-40B4-BE49-F238E27FC236}">
                <a16:creationId xmlns:a16="http://schemas.microsoft.com/office/drawing/2014/main" id="{23579E82-C4F0-49AD-800A-2A34D3F9DD55}"/>
              </a:ext>
            </a:extLst>
          </p:cNvPr>
          <p:cNvSpPr>
            <a:spLocks noChangeArrowheads="1"/>
          </p:cNvSpPr>
          <p:nvPr/>
        </p:nvSpPr>
        <p:spPr bwMode="auto">
          <a:xfrm>
            <a:off x="2493640" y="6405554"/>
            <a:ext cx="7641096"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cs typeface="Arial" pitchFamily="34" charset="0"/>
              </a:rPr>
              <a:t>Source: ETSI TS 103 410-3 V1.1.1 </a:t>
            </a:r>
            <a:endParaRPr lang="pt-BR" sz="1000" dirty="0">
              <a:cs typeface="Arial" pitchFamily="34" charset="0"/>
            </a:endParaRPr>
          </a:p>
          <a:p>
            <a:pPr>
              <a:lnSpc>
                <a:spcPct val="90000"/>
              </a:lnSpc>
            </a:pPr>
            <a:r>
              <a:rPr lang="pt-BR" sz="1000" dirty="0">
                <a:cs typeface="Arial" pitchFamily="34" charset="0"/>
              </a:rPr>
              <a:t>Adapted from figure by Maria Poveda-Villalon &amp; Raul Garcia Castro (UPM) </a:t>
            </a:r>
            <a:endParaRPr lang="en-US" sz="1000" dirty="0">
              <a:cs typeface="Arial" pitchFamily="34" charset="0"/>
            </a:endParaRPr>
          </a:p>
        </p:txBody>
      </p:sp>
      <p:pic>
        <p:nvPicPr>
          <p:cNvPr id="37" name="Picture 1" descr="image002">
            <a:extLst>
              <a:ext uri="{FF2B5EF4-FFF2-40B4-BE49-F238E27FC236}">
                <a16:creationId xmlns:a16="http://schemas.microsoft.com/office/drawing/2014/main" id="{2116E774-F081-4BC0-A900-C40ED85CE28A}"/>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37">
            <a:extLst>
              <a:ext uri="{FF2B5EF4-FFF2-40B4-BE49-F238E27FC236}">
                <a16:creationId xmlns:a16="http://schemas.microsoft.com/office/drawing/2014/main" id="{C19D5721-448E-4CF4-A7A3-A8568A1FA7B4}"/>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5050" t="25548" r="5027" b="22927"/>
          <a:stretch/>
        </p:blipFill>
        <p:spPr>
          <a:xfrm>
            <a:off x="7981248" y="313232"/>
            <a:ext cx="1270327" cy="406262"/>
          </a:xfrm>
          <a:prstGeom prst="rect">
            <a:avLst/>
          </a:prstGeom>
        </p:spPr>
      </p:pic>
    </p:spTree>
    <p:extLst>
      <p:ext uri="{BB962C8B-B14F-4D97-AF65-F5344CB8AC3E}">
        <p14:creationId xmlns:p14="http://schemas.microsoft.com/office/powerpoint/2010/main" val="309598619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SAREF4ENER</a:t>
            </a:r>
          </a:p>
        </p:txBody>
      </p:sp>
      <p:sp>
        <p:nvSpPr>
          <p:cNvPr id="3" name="Slide Number Placeholder 2"/>
          <p:cNvSpPr>
            <a:spLocks noGrp="1"/>
          </p:cNvSpPr>
          <p:nvPr>
            <p:ph type="sldNum" sz="quarter" idx="4"/>
          </p:nvPr>
        </p:nvSpPr>
        <p:spPr>
          <a:prstGeom prst="rect">
            <a:avLst/>
          </a:prstGeom>
        </p:spPr>
        <p:txBody>
          <a:bodyPr/>
          <a:lstStyle/>
          <a:p>
            <a:fld id="{EBC262BB-4310-134F-8D24-58475080D942}" type="slidenum">
              <a:rPr lang="en-US" smtClean="0"/>
              <a:pPr/>
              <a:t>68</a:t>
            </a:fld>
            <a:endParaRPr lang="en-US" dirty="0"/>
          </a:p>
        </p:txBody>
      </p:sp>
    </p:spTree>
    <p:extLst>
      <p:ext uri="{BB962C8B-B14F-4D97-AF65-F5344CB8AC3E}">
        <p14:creationId xmlns:p14="http://schemas.microsoft.com/office/powerpoint/2010/main" val="116029620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B71C370-D5AD-4285-B597-DF811FF69E0D}"/>
              </a:ext>
            </a:extLst>
          </p:cNvPr>
          <p:cNvSpPr>
            <a:spLocks noGrp="1"/>
          </p:cNvSpPr>
          <p:nvPr>
            <p:ph type="body" sz="quarter" idx="11"/>
          </p:nvPr>
        </p:nvSpPr>
        <p:spPr/>
        <p:txBody>
          <a:bodyPr/>
          <a:lstStyle/>
          <a:p>
            <a:r>
              <a:rPr lang="en-US" dirty="0"/>
              <a:t>SAREF4ENER - General information</a:t>
            </a:r>
          </a:p>
        </p:txBody>
      </p:sp>
      <p:sp>
        <p:nvSpPr>
          <p:cNvPr id="4" name="Slide Number Placeholder 3">
            <a:extLst>
              <a:ext uri="{FF2B5EF4-FFF2-40B4-BE49-F238E27FC236}">
                <a16:creationId xmlns:a16="http://schemas.microsoft.com/office/drawing/2014/main" id="{0BC0E82D-E994-409C-ADF9-120374BDE6FD}"/>
              </a:ext>
            </a:extLst>
          </p:cNvPr>
          <p:cNvSpPr>
            <a:spLocks noGrp="1"/>
          </p:cNvSpPr>
          <p:nvPr>
            <p:ph type="sldNum" sz="quarter" idx="4"/>
          </p:nvPr>
        </p:nvSpPr>
        <p:spPr/>
        <p:txBody>
          <a:bodyPr/>
          <a:lstStyle/>
          <a:p>
            <a:fld id="{EBC262BB-4310-134F-8D24-58475080D942}" type="slidenum">
              <a:rPr lang="en-US" smtClean="0"/>
              <a:pPr/>
              <a:t>69</a:t>
            </a:fld>
            <a:endParaRPr lang="en-US" dirty="0"/>
          </a:p>
        </p:txBody>
      </p:sp>
      <p:sp>
        <p:nvSpPr>
          <p:cNvPr id="13" name="Text Placeholder 2">
            <a:extLst>
              <a:ext uri="{FF2B5EF4-FFF2-40B4-BE49-F238E27FC236}">
                <a16:creationId xmlns:a16="http://schemas.microsoft.com/office/drawing/2014/main" id="{8B931C60-B751-4D40-A679-4B6147277B01}"/>
              </a:ext>
            </a:extLst>
          </p:cNvPr>
          <p:cNvSpPr txBox="1">
            <a:spLocks/>
          </p:cNvSpPr>
          <p:nvPr/>
        </p:nvSpPr>
        <p:spPr>
          <a:xfrm>
            <a:off x="985764" y="1690406"/>
            <a:ext cx="9123324" cy="1446550"/>
          </a:xfrm>
          <a:prstGeom prst="rect">
            <a:avLst/>
          </a:prstGeom>
        </p:spPr>
        <p:txBody>
          <a:bodyPr lIns="0" tIns="0" rIns="0" b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600"/>
              </a:spcBef>
              <a:buNone/>
            </a:pPr>
            <a:r>
              <a:rPr lang="en-US" sz="1400" dirty="0"/>
              <a:t>SAREF4ENER has been developed based on the data models of the Energy@Home and EEBUS associations. </a:t>
            </a:r>
          </a:p>
          <a:p>
            <a:pPr marL="0" indent="0">
              <a:lnSpc>
                <a:spcPct val="100000"/>
              </a:lnSpc>
              <a:spcBef>
                <a:spcPts val="600"/>
              </a:spcBef>
              <a:buNone/>
            </a:pPr>
            <a:endParaRPr lang="en-US" sz="1400" dirty="0"/>
          </a:p>
          <a:p>
            <a:pPr marL="0" indent="0">
              <a:lnSpc>
                <a:spcPct val="100000"/>
              </a:lnSpc>
              <a:spcBef>
                <a:spcPts val="600"/>
              </a:spcBef>
              <a:buNone/>
            </a:pPr>
            <a:r>
              <a:rPr lang="en-US" sz="1400" dirty="0"/>
              <a:t>More info on the current specification of SAREF4ENER can be found at</a:t>
            </a:r>
          </a:p>
          <a:p>
            <a:pPr marL="0" indent="0">
              <a:lnSpc>
                <a:spcPct val="100000"/>
              </a:lnSpc>
              <a:spcBef>
                <a:spcPts val="600"/>
              </a:spcBef>
              <a:buNone/>
            </a:pPr>
            <a:r>
              <a:rPr lang="en-US" sz="1400" dirty="0">
                <a:hlinkClick r:id="rId3"/>
              </a:rPr>
              <a:t>https://saref.etsi.org/extensions.html#SAREF4ENER</a:t>
            </a:r>
            <a:r>
              <a:rPr lang="en-US" sz="1400" dirty="0"/>
              <a:t> </a:t>
            </a:r>
          </a:p>
        </p:txBody>
      </p:sp>
      <p:sp>
        <p:nvSpPr>
          <p:cNvPr id="14" name="Text Placeholder 2">
            <a:extLst>
              <a:ext uri="{FF2B5EF4-FFF2-40B4-BE49-F238E27FC236}">
                <a16:creationId xmlns:a16="http://schemas.microsoft.com/office/drawing/2014/main" id="{8B931C60-B751-4D40-A679-4B6147277B01}"/>
              </a:ext>
            </a:extLst>
          </p:cNvPr>
          <p:cNvSpPr txBox="1">
            <a:spLocks/>
          </p:cNvSpPr>
          <p:nvPr/>
        </p:nvSpPr>
        <p:spPr>
          <a:xfrm>
            <a:off x="985764" y="3326105"/>
            <a:ext cx="9123324" cy="2972460"/>
          </a:xfrm>
          <a:prstGeom prst="rect">
            <a:avLst/>
          </a:prstGeom>
        </p:spPr>
        <p:txBody>
          <a:bodyPr lIns="0" tIns="0" rIns="0" b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500"/>
              </a:spcBef>
              <a:buFont typeface="Arial" panose="020B0604020202020204" pitchFamily="34" charset="0"/>
              <a:buNone/>
            </a:pPr>
            <a:r>
              <a:rPr lang="en-US" sz="1200" dirty="0"/>
              <a:t>SAREF4ENER: Extension for the Energy domain</a:t>
            </a:r>
          </a:p>
          <a:p>
            <a:pPr marL="342900" indent="-342900">
              <a:lnSpc>
                <a:spcPct val="100000"/>
              </a:lnSpc>
              <a:spcBef>
                <a:spcPts val="500"/>
              </a:spcBef>
              <a:buClr>
                <a:srgbClr val="EDAE00"/>
              </a:buClr>
              <a:buFont typeface="Arial" charset="0"/>
              <a:buChar char="•"/>
            </a:pPr>
            <a:r>
              <a:rPr lang="en-US" sz="1200" dirty="0"/>
              <a:t>IRI: </a:t>
            </a:r>
            <a:r>
              <a:rPr lang="en-US" sz="1200" dirty="0">
                <a:hlinkClick r:id="rId4"/>
              </a:rPr>
              <a:t>https://saref.etsi.org/saref4ener/</a:t>
            </a:r>
            <a:endParaRPr lang="en-US" sz="1200" dirty="0"/>
          </a:p>
          <a:p>
            <a:pPr marL="342900" indent="-342900">
              <a:lnSpc>
                <a:spcPct val="100000"/>
              </a:lnSpc>
              <a:spcBef>
                <a:spcPts val="500"/>
              </a:spcBef>
              <a:buClr>
                <a:srgbClr val="EDAE00"/>
              </a:buClr>
              <a:buFont typeface="Arial" charset="0"/>
              <a:buChar char="•"/>
            </a:pPr>
            <a:r>
              <a:rPr lang="en-US" sz="1200" dirty="0"/>
              <a:t>ETSI Technical Specification: </a:t>
            </a:r>
            <a:r>
              <a:rPr lang="en-US" sz="1200" dirty="0">
                <a:hlinkClick r:id="rId5"/>
              </a:rPr>
              <a:t>ETSI TS 103 410-1 V1.1.2 (2020-05): “SmartM2M; Extension to SAREF; Part 1: Energy Domain”</a:t>
            </a:r>
            <a:endParaRPr lang="en-US" sz="1200" dirty="0"/>
          </a:p>
          <a:p>
            <a:pPr marL="342900" indent="-342900">
              <a:lnSpc>
                <a:spcPct val="100000"/>
              </a:lnSpc>
              <a:spcBef>
                <a:spcPts val="500"/>
              </a:spcBef>
              <a:buClr>
                <a:srgbClr val="EDAE00"/>
              </a:buClr>
              <a:buFont typeface="Arial" charset="0"/>
              <a:buChar char="•"/>
            </a:pPr>
            <a:r>
              <a:rPr lang="en-US" sz="1200" dirty="0"/>
              <a:t>Sources: </a:t>
            </a:r>
            <a:r>
              <a:rPr lang="en-US" sz="1200" dirty="0">
                <a:hlinkClick r:id="rId6"/>
              </a:rPr>
              <a:t>https://saref.etsi.org/sources/saref4ener/</a:t>
            </a:r>
            <a:r>
              <a:rPr lang="en-US" sz="1200" dirty="0"/>
              <a:t> </a:t>
            </a:r>
          </a:p>
          <a:p>
            <a:pPr marL="342900" indent="-342900">
              <a:lnSpc>
                <a:spcPct val="100000"/>
              </a:lnSpc>
              <a:spcBef>
                <a:spcPts val="500"/>
              </a:spcBef>
              <a:buClr>
                <a:srgbClr val="EDAE00"/>
              </a:buClr>
              <a:buFont typeface="Arial" charset="0"/>
              <a:buChar char="•"/>
            </a:pPr>
            <a:r>
              <a:rPr lang="en-US" sz="1200" dirty="0"/>
              <a:t>All versions</a:t>
            </a:r>
          </a:p>
          <a:p>
            <a:pPr marL="630238" indent="-342900">
              <a:lnSpc>
                <a:spcPct val="100000"/>
              </a:lnSpc>
              <a:spcBef>
                <a:spcPts val="500"/>
              </a:spcBef>
              <a:buClr>
                <a:schemeClr val="tx1"/>
              </a:buClr>
              <a:buFont typeface="Arial" charset="0"/>
              <a:buChar char="•"/>
            </a:pPr>
            <a:r>
              <a:rPr lang="en-US" sz="1200" dirty="0"/>
              <a:t>V1.1.2</a:t>
            </a:r>
          </a:p>
          <a:p>
            <a:pPr marL="1030288" indent="-342900">
              <a:lnSpc>
                <a:spcPct val="100000"/>
              </a:lnSpc>
              <a:spcBef>
                <a:spcPts val="500"/>
              </a:spcBef>
              <a:buClr>
                <a:schemeClr val="tx1"/>
              </a:buClr>
              <a:buFont typeface="Arial" charset="0"/>
              <a:buChar char="•"/>
            </a:pPr>
            <a:r>
              <a:rPr lang="en-US" sz="1200" dirty="0"/>
              <a:t>Version IRI: </a:t>
            </a:r>
            <a:r>
              <a:rPr lang="en-US" sz="1200" dirty="0">
                <a:hlinkClick r:id="rId7"/>
              </a:rPr>
              <a:t>https://saref.etsi.org/saref4bldg/V1.1.2/</a:t>
            </a:r>
            <a:endParaRPr lang="en-US" sz="1200" dirty="0"/>
          </a:p>
          <a:p>
            <a:pPr marL="1030288" indent="-342900">
              <a:lnSpc>
                <a:spcPct val="100000"/>
              </a:lnSpc>
              <a:spcBef>
                <a:spcPts val="500"/>
              </a:spcBef>
              <a:buClr>
                <a:schemeClr val="tx1"/>
              </a:buClr>
              <a:buFont typeface="Arial" charset="0"/>
              <a:buChar char="•"/>
            </a:pPr>
            <a:r>
              <a:rPr lang="en-US" sz="1200" dirty="0"/>
              <a:t>ETSI Technical Specification: </a:t>
            </a:r>
            <a:r>
              <a:rPr lang="en-US" sz="1200" dirty="0">
                <a:hlinkClick r:id="rId8"/>
              </a:rPr>
              <a:t>ETSI TS 103 410-1 V1.1.2 (2020-05): “SmartM2M; Extension to SAREF; Part 1: Energy Domain”</a:t>
            </a:r>
            <a:endParaRPr lang="en-US" sz="1200" dirty="0"/>
          </a:p>
          <a:p>
            <a:pPr marL="630238" indent="-342900">
              <a:lnSpc>
                <a:spcPct val="100000"/>
              </a:lnSpc>
              <a:spcBef>
                <a:spcPts val="500"/>
              </a:spcBef>
              <a:buClr>
                <a:schemeClr val="tx1"/>
              </a:buClr>
              <a:buFont typeface="Arial" charset="0"/>
              <a:buChar char="•"/>
            </a:pPr>
            <a:r>
              <a:rPr lang="en-US" sz="1200" dirty="0"/>
              <a:t>V1.1.1</a:t>
            </a:r>
          </a:p>
          <a:p>
            <a:pPr marL="1030288" indent="-342900">
              <a:lnSpc>
                <a:spcPct val="100000"/>
              </a:lnSpc>
              <a:spcBef>
                <a:spcPts val="500"/>
              </a:spcBef>
              <a:buClr>
                <a:schemeClr val="tx1"/>
              </a:buClr>
              <a:buFont typeface="Arial" charset="0"/>
              <a:buChar char="•"/>
            </a:pPr>
            <a:r>
              <a:rPr lang="en-US" sz="1200" dirty="0"/>
              <a:t>ETSI Technical Specification: </a:t>
            </a:r>
            <a:r>
              <a:rPr lang="en-US" sz="1200" dirty="0">
                <a:hlinkClick r:id="rId9"/>
              </a:rPr>
              <a:t>ETSI TS 103 410-1 V1.1.1 (2017-01): “SmartM2M; Extension to SAREF; Part 1: Energy Domain”</a:t>
            </a:r>
            <a:endParaRPr lang="en-US" sz="1200" dirty="0"/>
          </a:p>
        </p:txBody>
      </p:sp>
      <p:pic>
        <p:nvPicPr>
          <p:cNvPr id="7" name="Picture 1" descr="image002">
            <a:extLst>
              <a:ext uri="{FF2B5EF4-FFF2-40B4-BE49-F238E27FC236}">
                <a16:creationId xmlns:a16="http://schemas.microsoft.com/office/drawing/2014/main" id="{5027356D-B394-4A36-859B-5FC77C26542A}"/>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a:extLst>
              <a:ext uri="{FF2B5EF4-FFF2-40B4-BE49-F238E27FC236}">
                <a16:creationId xmlns:a16="http://schemas.microsoft.com/office/drawing/2014/main" id="{502695E8-ED0F-4D39-8B40-F18CE01272E0}"/>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5050" t="25548" r="5027" b="22927"/>
          <a:stretch/>
        </p:blipFill>
        <p:spPr>
          <a:xfrm>
            <a:off x="7981248" y="313232"/>
            <a:ext cx="1270327" cy="406262"/>
          </a:xfrm>
          <a:prstGeom prst="rect">
            <a:avLst/>
          </a:prstGeom>
        </p:spPr>
      </p:pic>
    </p:spTree>
    <p:extLst>
      <p:ext uri="{BB962C8B-B14F-4D97-AF65-F5344CB8AC3E}">
        <p14:creationId xmlns:p14="http://schemas.microsoft.com/office/powerpoint/2010/main" val="9743359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What are we going to talk about?</a:t>
            </a:r>
          </a:p>
        </p:txBody>
      </p:sp>
      <p:sp>
        <p:nvSpPr>
          <p:cNvPr id="3" name="Slide Number Placeholder 2"/>
          <p:cNvSpPr>
            <a:spLocks noGrp="1"/>
          </p:cNvSpPr>
          <p:nvPr>
            <p:ph type="sldNum" sz="quarter" idx="4"/>
          </p:nvPr>
        </p:nvSpPr>
        <p:spPr>
          <a:prstGeom prst="rect">
            <a:avLst/>
          </a:prstGeom>
        </p:spPr>
        <p:txBody>
          <a:bodyPr/>
          <a:lstStyle/>
          <a:p>
            <a:fld id="{EBC262BB-4310-134F-8D24-58475080D942}" type="slidenum">
              <a:rPr lang="en-US" smtClean="0"/>
              <a:pPr/>
              <a:t>7</a:t>
            </a:fld>
            <a:endParaRPr lang="en-US" dirty="0"/>
          </a:p>
        </p:txBody>
      </p:sp>
    </p:spTree>
    <p:extLst>
      <p:ext uri="{BB962C8B-B14F-4D97-AF65-F5344CB8AC3E}">
        <p14:creationId xmlns:p14="http://schemas.microsoft.com/office/powerpoint/2010/main" val="172450083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5" imgW="286" imgH="286" progId="TCLayout.ActiveDocument.1">
                  <p:embed/>
                </p:oleObj>
              </mc:Choice>
              <mc:Fallback>
                <p:oleObj name="think-cell Slide" r:id="rId5" imgW="286" imgH="286"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17" name="Rectangle 316"/>
          <p:cNvSpPr/>
          <p:nvPr/>
        </p:nvSpPr>
        <p:spPr>
          <a:xfrm>
            <a:off x="2550318" y="3655220"/>
            <a:ext cx="154781" cy="328612"/>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ext Placeholder 1">
            <a:extLst>
              <a:ext uri="{FF2B5EF4-FFF2-40B4-BE49-F238E27FC236}">
                <a16:creationId xmlns:a16="http://schemas.microsoft.com/office/drawing/2014/main" id="{9B71C370-D5AD-4285-B597-DF811FF69E0D}"/>
              </a:ext>
            </a:extLst>
          </p:cNvPr>
          <p:cNvSpPr>
            <a:spLocks noGrp="1"/>
          </p:cNvSpPr>
          <p:nvPr>
            <p:ph type="body" sz="quarter" idx="11"/>
          </p:nvPr>
        </p:nvSpPr>
        <p:spPr/>
        <p:txBody>
          <a:bodyPr/>
          <a:lstStyle/>
          <a:p>
            <a:r>
              <a:rPr lang="en-US" sz="1600" dirty="0"/>
              <a:t>SAREF4ENER: Overview</a:t>
            </a:r>
          </a:p>
        </p:txBody>
      </p:sp>
      <p:sp>
        <p:nvSpPr>
          <p:cNvPr id="4" name="Slide Number Placeholder 3">
            <a:extLst>
              <a:ext uri="{FF2B5EF4-FFF2-40B4-BE49-F238E27FC236}">
                <a16:creationId xmlns:a16="http://schemas.microsoft.com/office/drawing/2014/main" id="{0BC0E82D-E994-409C-ADF9-120374BDE6FD}"/>
              </a:ext>
            </a:extLst>
          </p:cNvPr>
          <p:cNvSpPr>
            <a:spLocks noGrp="1"/>
          </p:cNvSpPr>
          <p:nvPr>
            <p:ph type="sldNum" sz="quarter" idx="4"/>
          </p:nvPr>
        </p:nvSpPr>
        <p:spPr/>
        <p:txBody>
          <a:bodyPr/>
          <a:lstStyle/>
          <a:p>
            <a:fld id="{EBC262BB-4310-134F-8D24-58475080D942}" type="slidenum">
              <a:rPr lang="en-US" sz="900" smtClean="0">
                <a:latin typeface="+mn-lt"/>
              </a:rPr>
              <a:pPr/>
              <a:t>70</a:t>
            </a:fld>
            <a:endParaRPr lang="en-US" sz="900" dirty="0">
              <a:latin typeface="+mn-lt"/>
            </a:endParaRPr>
          </a:p>
        </p:txBody>
      </p:sp>
      <p:sp>
        <p:nvSpPr>
          <p:cNvPr id="9" name="ee4pFootnotes"/>
          <p:cNvSpPr>
            <a:spLocks noChangeArrowheads="1"/>
          </p:cNvSpPr>
          <p:nvPr/>
        </p:nvSpPr>
        <p:spPr bwMode="auto">
          <a:xfrm>
            <a:off x="2457266" y="6396012"/>
            <a:ext cx="7641096"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cs typeface="Arial" pitchFamily="34" charset="0"/>
              </a:rPr>
              <a:t>Source: </a:t>
            </a:r>
            <a:r>
              <a:rPr lang="fi-FI" sz="1000" dirty="0">
                <a:cs typeface="Arial" pitchFamily="34" charset="0"/>
              </a:rPr>
              <a:t>ETSI TS 103 410-1 V1.1.1</a:t>
            </a:r>
          </a:p>
          <a:p>
            <a:pPr>
              <a:lnSpc>
                <a:spcPct val="90000"/>
              </a:lnSpc>
            </a:pPr>
            <a:r>
              <a:rPr lang="pt-BR" sz="1000" dirty="0">
                <a:cs typeface="Arial" pitchFamily="34" charset="0"/>
              </a:rPr>
              <a:t>Figure by Laura Daniele (TNO) </a:t>
            </a:r>
            <a:endParaRPr lang="en-US" sz="1000" dirty="0">
              <a:cs typeface="Arial" pitchFamily="34" charset="0"/>
            </a:endParaRPr>
          </a:p>
        </p:txBody>
      </p:sp>
      <p:grpSp>
        <p:nvGrpSpPr>
          <p:cNvPr id="25" name="Group 24"/>
          <p:cNvGrpSpPr/>
          <p:nvPr/>
        </p:nvGrpSpPr>
        <p:grpSpPr>
          <a:xfrm>
            <a:off x="5618243" y="2708103"/>
            <a:ext cx="999494" cy="137900"/>
            <a:chOff x="5618243" y="2708103"/>
            <a:chExt cx="999494" cy="137900"/>
          </a:xfrm>
        </p:grpSpPr>
        <p:sp>
          <p:nvSpPr>
            <p:cNvPr id="16" name="Rectangle 15"/>
            <p:cNvSpPr/>
            <p:nvPr/>
          </p:nvSpPr>
          <p:spPr>
            <a:xfrm>
              <a:off x="5618243" y="2708103"/>
              <a:ext cx="999494"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Resume Cost Estimated</a:t>
              </a:r>
            </a:p>
          </p:txBody>
        </p:sp>
        <p:sp>
          <p:nvSpPr>
            <p:cNvPr id="17" name="Rectangle 16"/>
            <p:cNvSpPr/>
            <p:nvPr/>
          </p:nvSpPr>
          <p:spPr>
            <a:xfrm>
              <a:off x="5618243" y="2777053"/>
              <a:ext cx="999494"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26" name="Group 25"/>
          <p:cNvGrpSpPr/>
          <p:nvPr/>
        </p:nvGrpSpPr>
        <p:grpSpPr>
          <a:xfrm>
            <a:off x="5846885" y="2455850"/>
            <a:ext cx="542210" cy="137900"/>
            <a:chOff x="5843618" y="2455850"/>
            <a:chExt cx="542210" cy="137900"/>
          </a:xfrm>
        </p:grpSpPr>
        <p:sp>
          <p:nvSpPr>
            <p:cNvPr id="27" name="Rectangle 26"/>
            <p:cNvSpPr/>
            <p:nvPr/>
          </p:nvSpPr>
          <p:spPr>
            <a:xfrm>
              <a:off x="5843618" y="2455850"/>
              <a:ext cx="542210" cy="68950"/>
            </a:xfrm>
            <a:prstGeom prst="rect">
              <a:avLst/>
            </a:prstGeom>
            <a:noFill/>
            <a:ln w="12700" cap="flat" cmpd="sng" algn="ctr">
              <a:solidFill>
                <a:schemeClr val="accent2">
                  <a:lumMod val="60000"/>
                  <a:lumOff val="40000"/>
                </a:schemeClr>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aref: Price</a:t>
              </a:r>
            </a:p>
          </p:txBody>
        </p:sp>
        <p:sp>
          <p:nvSpPr>
            <p:cNvPr id="28" name="Rectangle 27"/>
            <p:cNvSpPr/>
            <p:nvPr/>
          </p:nvSpPr>
          <p:spPr>
            <a:xfrm>
              <a:off x="5843618" y="2524800"/>
              <a:ext cx="542210" cy="68950"/>
            </a:xfrm>
            <a:prstGeom prst="rect">
              <a:avLst/>
            </a:prstGeom>
            <a:noFill/>
            <a:ln w="12700" cap="flat" cmpd="sng" algn="ctr">
              <a:solidFill>
                <a:schemeClr val="accent2">
                  <a:lumMod val="60000"/>
                  <a:lumOff val="40000"/>
                </a:schemeClr>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103" name="Group 102"/>
          <p:cNvGrpSpPr/>
          <p:nvPr/>
        </p:nvGrpSpPr>
        <p:grpSpPr>
          <a:xfrm>
            <a:off x="4475031" y="3912768"/>
            <a:ext cx="2570593" cy="137900"/>
            <a:chOff x="4475031" y="3908130"/>
            <a:chExt cx="2570593" cy="137900"/>
          </a:xfrm>
        </p:grpSpPr>
        <p:grpSp>
          <p:nvGrpSpPr>
            <p:cNvPr id="76" name="Group 75"/>
            <p:cNvGrpSpPr/>
            <p:nvPr/>
          </p:nvGrpSpPr>
          <p:grpSpPr>
            <a:xfrm>
              <a:off x="6243742" y="3908130"/>
              <a:ext cx="801882" cy="137900"/>
              <a:chOff x="6243742" y="3889528"/>
              <a:chExt cx="801882" cy="137900"/>
            </a:xfrm>
          </p:grpSpPr>
          <p:sp>
            <p:nvSpPr>
              <p:cNvPr id="46" name="Rectangle 45"/>
              <p:cNvSpPr/>
              <p:nvPr/>
            </p:nvSpPr>
            <p:spPr>
              <a:xfrm>
                <a:off x="6243742" y="3889528"/>
                <a:ext cx="801882"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Latest End Time</a:t>
                </a:r>
              </a:p>
            </p:txBody>
          </p:sp>
          <p:sp>
            <p:nvSpPr>
              <p:cNvPr id="47" name="Rectangle 46"/>
              <p:cNvSpPr/>
              <p:nvPr/>
            </p:nvSpPr>
            <p:spPr>
              <a:xfrm>
                <a:off x="6243742" y="3958478"/>
                <a:ext cx="801882"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51" name="Group 50"/>
            <p:cNvGrpSpPr/>
            <p:nvPr/>
          </p:nvGrpSpPr>
          <p:grpSpPr>
            <a:xfrm>
              <a:off x="4475031" y="3908130"/>
              <a:ext cx="905589" cy="137900"/>
              <a:chOff x="4475031" y="3908130"/>
              <a:chExt cx="905589" cy="137900"/>
            </a:xfrm>
          </p:grpSpPr>
          <p:sp>
            <p:nvSpPr>
              <p:cNvPr id="61" name="Rectangle 60"/>
              <p:cNvSpPr/>
              <p:nvPr/>
            </p:nvSpPr>
            <p:spPr>
              <a:xfrm>
                <a:off x="4475031" y="3908130"/>
                <a:ext cx="905589"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Active Duration Min</a:t>
                </a:r>
              </a:p>
            </p:txBody>
          </p:sp>
          <p:sp>
            <p:nvSpPr>
              <p:cNvPr id="62" name="Rectangle 61"/>
              <p:cNvSpPr/>
              <p:nvPr/>
            </p:nvSpPr>
            <p:spPr>
              <a:xfrm>
                <a:off x="4475031" y="3977080"/>
                <a:ext cx="905589"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grpSp>
        <p:nvGrpSpPr>
          <p:cNvPr id="100" name="Group 99"/>
          <p:cNvGrpSpPr/>
          <p:nvPr/>
        </p:nvGrpSpPr>
        <p:grpSpPr>
          <a:xfrm>
            <a:off x="4181062" y="3734022"/>
            <a:ext cx="2864562" cy="137900"/>
            <a:chOff x="4181062" y="3739490"/>
            <a:chExt cx="2864562" cy="137900"/>
          </a:xfrm>
        </p:grpSpPr>
        <p:grpSp>
          <p:nvGrpSpPr>
            <p:cNvPr id="77" name="Group 76"/>
            <p:cNvGrpSpPr/>
            <p:nvPr/>
          </p:nvGrpSpPr>
          <p:grpSpPr>
            <a:xfrm>
              <a:off x="6410324" y="3739490"/>
              <a:ext cx="635300" cy="137900"/>
              <a:chOff x="6410324" y="3714257"/>
              <a:chExt cx="635300" cy="137900"/>
            </a:xfrm>
          </p:grpSpPr>
          <p:sp>
            <p:nvSpPr>
              <p:cNvPr id="43" name="Rectangle 42"/>
              <p:cNvSpPr/>
              <p:nvPr/>
            </p:nvSpPr>
            <p:spPr>
              <a:xfrm>
                <a:off x="6410324" y="3714257"/>
                <a:ext cx="635300"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End Time</a:t>
                </a:r>
              </a:p>
            </p:txBody>
          </p:sp>
          <p:sp>
            <p:nvSpPr>
              <p:cNvPr id="44" name="Rectangle 43"/>
              <p:cNvSpPr/>
              <p:nvPr/>
            </p:nvSpPr>
            <p:spPr>
              <a:xfrm>
                <a:off x="6410324" y="3783207"/>
                <a:ext cx="635300"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48" name="Group 47"/>
            <p:cNvGrpSpPr/>
            <p:nvPr/>
          </p:nvGrpSpPr>
          <p:grpSpPr>
            <a:xfrm>
              <a:off x="4181062" y="3739490"/>
              <a:ext cx="905589" cy="137900"/>
              <a:chOff x="4181062" y="3739490"/>
              <a:chExt cx="905589" cy="137900"/>
            </a:xfrm>
          </p:grpSpPr>
          <p:sp>
            <p:nvSpPr>
              <p:cNvPr id="64" name="Rectangle 63"/>
              <p:cNvSpPr/>
              <p:nvPr/>
            </p:nvSpPr>
            <p:spPr>
              <a:xfrm>
                <a:off x="4181062" y="3739490"/>
                <a:ext cx="905589"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Active Duration Max</a:t>
                </a:r>
              </a:p>
            </p:txBody>
          </p:sp>
          <p:sp>
            <p:nvSpPr>
              <p:cNvPr id="65" name="Rectangle 64"/>
              <p:cNvSpPr/>
              <p:nvPr/>
            </p:nvSpPr>
            <p:spPr>
              <a:xfrm>
                <a:off x="4181062" y="3808440"/>
                <a:ext cx="905589"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grpSp>
        <p:nvGrpSpPr>
          <p:cNvPr id="99" name="Group 98"/>
          <p:cNvGrpSpPr/>
          <p:nvPr/>
        </p:nvGrpSpPr>
        <p:grpSpPr>
          <a:xfrm>
            <a:off x="4083072" y="3555276"/>
            <a:ext cx="3067073" cy="137900"/>
            <a:chOff x="4083072" y="3579512"/>
            <a:chExt cx="3067073" cy="137900"/>
          </a:xfrm>
        </p:grpSpPr>
        <p:grpSp>
          <p:nvGrpSpPr>
            <p:cNvPr id="80" name="Group 79"/>
            <p:cNvGrpSpPr/>
            <p:nvPr/>
          </p:nvGrpSpPr>
          <p:grpSpPr>
            <a:xfrm>
              <a:off x="6296003" y="3579512"/>
              <a:ext cx="854142" cy="137900"/>
              <a:chOff x="6296003" y="3545391"/>
              <a:chExt cx="854142" cy="137900"/>
            </a:xfrm>
          </p:grpSpPr>
          <p:sp>
            <p:nvSpPr>
              <p:cNvPr id="40" name="Rectangle 39"/>
              <p:cNvSpPr/>
              <p:nvPr/>
            </p:nvSpPr>
            <p:spPr>
              <a:xfrm>
                <a:off x="6296003" y="3545391"/>
                <a:ext cx="854142"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Earliest Start time</a:t>
                </a:r>
              </a:p>
            </p:txBody>
          </p:sp>
          <p:sp>
            <p:nvSpPr>
              <p:cNvPr id="41" name="Rectangle 40"/>
              <p:cNvSpPr/>
              <p:nvPr/>
            </p:nvSpPr>
            <p:spPr>
              <a:xfrm>
                <a:off x="6296003" y="3614341"/>
                <a:ext cx="854142"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45" name="Group 44"/>
            <p:cNvGrpSpPr/>
            <p:nvPr/>
          </p:nvGrpSpPr>
          <p:grpSpPr>
            <a:xfrm>
              <a:off x="4083072" y="3579512"/>
              <a:ext cx="930085" cy="137900"/>
              <a:chOff x="4083072" y="3579512"/>
              <a:chExt cx="930085" cy="137900"/>
            </a:xfrm>
          </p:grpSpPr>
          <p:sp>
            <p:nvSpPr>
              <p:cNvPr id="71" name="Rectangle 70"/>
              <p:cNvSpPr/>
              <p:nvPr/>
            </p:nvSpPr>
            <p:spPr>
              <a:xfrm>
                <a:off x="4083072" y="3579512"/>
                <a:ext cx="930085"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Remaining Slot Time</a:t>
                </a:r>
              </a:p>
            </p:txBody>
          </p:sp>
          <p:sp>
            <p:nvSpPr>
              <p:cNvPr id="72" name="Rectangle 71"/>
              <p:cNvSpPr/>
              <p:nvPr/>
            </p:nvSpPr>
            <p:spPr>
              <a:xfrm>
                <a:off x="4083072" y="3648462"/>
                <a:ext cx="930085"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grpSp>
        <p:nvGrpSpPr>
          <p:cNvPr id="109" name="Group 108"/>
          <p:cNvGrpSpPr/>
          <p:nvPr/>
        </p:nvGrpSpPr>
        <p:grpSpPr>
          <a:xfrm>
            <a:off x="4070825" y="3376530"/>
            <a:ext cx="3013994" cy="137900"/>
            <a:chOff x="4070825" y="3376530"/>
            <a:chExt cx="3013994" cy="137900"/>
          </a:xfrm>
        </p:grpSpPr>
        <p:grpSp>
          <p:nvGrpSpPr>
            <p:cNvPr id="83" name="Group 82"/>
            <p:cNvGrpSpPr/>
            <p:nvPr/>
          </p:nvGrpSpPr>
          <p:grpSpPr>
            <a:xfrm>
              <a:off x="6441354" y="3376530"/>
              <a:ext cx="643465" cy="137900"/>
              <a:chOff x="6441354" y="3376530"/>
              <a:chExt cx="643465" cy="137900"/>
            </a:xfrm>
          </p:grpSpPr>
          <p:sp>
            <p:nvSpPr>
              <p:cNvPr id="37" name="Rectangle 36"/>
              <p:cNvSpPr/>
              <p:nvPr/>
            </p:nvSpPr>
            <p:spPr>
              <a:xfrm>
                <a:off x="6441354" y="3376530"/>
                <a:ext cx="643465"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Start Time</a:t>
                </a:r>
              </a:p>
            </p:txBody>
          </p:sp>
          <p:sp>
            <p:nvSpPr>
              <p:cNvPr id="38" name="Rectangle 37"/>
              <p:cNvSpPr/>
              <p:nvPr/>
            </p:nvSpPr>
            <p:spPr>
              <a:xfrm>
                <a:off x="6441354" y="3445480"/>
                <a:ext cx="643465"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42" name="Group 41"/>
            <p:cNvGrpSpPr/>
            <p:nvPr/>
          </p:nvGrpSpPr>
          <p:grpSpPr>
            <a:xfrm>
              <a:off x="4070825" y="3376530"/>
              <a:ext cx="844345" cy="137900"/>
              <a:chOff x="4070825" y="3376530"/>
              <a:chExt cx="844345" cy="137900"/>
            </a:xfrm>
          </p:grpSpPr>
          <p:sp>
            <p:nvSpPr>
              <p:cNvPr id="78" name="Rectangle 77"/>
              <p:cNvSpPr/>
              <p:nvPr/>
            </p:nvSpPr>
            <p:spPr>
              <a:xfrm>
                <a:off x="4070825" y="3376530"/>
                <a:ext cx="844345"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Elapse Slot Time</a:t>
                </a:r>
              </a:p>
            </p:txBody>
          </p:sp>
          <p:sp>
            <p:nvSpPr>
              <p:cNvPr id="79" name="Rectangle 78"/>
              <p:cNvSpPr/>
              <p:nvPr/>
            </p:nvSpPr>
            <p:spPr>
              <a:xfrm>
                <a:off x="4070825" y="3445480"/>
                <a:ext cx="844345"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grpSp>
        <p:nvGrpSpPr>
          <p:cNvPr id="155" name="Group 154"/>
          <p:cNvGrpSpPr/>
          <p:nvPr/>
        </p:nvGrpSpPr>
        <p:grpSpPr>
          <a:xfrm>
            <a:off x="4293134" y="2566120"/>
            <a:ext cx="541808" cy="137900"/>
            <a:chOff x="4302318" y="2566120"/>
            <a:chExt cx="541808" cy="137900"/>
          </a:xfrm>
        </p:grpSpPr>
        <p:sp>
          <p:nvSpPr>
            <p:cNvPr id="84" name="Rectangle 83"/>
            <p:cNvSpPr/>
            <p:nvPr/>
          </p:nvSpPr>
          <p:spPr>
            <a:xfrm>
              <a:off x="4302318" y="2566120"/>
              <a:ext cx="541808"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State</a:t>
              </a:r>
            </a:p>
          </p:txBody>
        </p:sp>
        <p:sp>
          <p:nvSpPr>
            <p:cNvPr id="85" name="Rectangle 84"/>
            <p:cNvSpPr/>
            <p:nvPr/>
          </p:nvSpPr>
          <p:spPr>
            <a:xfrm>
              <a:off x="4302318" y="2635070"/>
              <a:ext cx="541808"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29" name="Group 28"/>
          <p:cNvGrpSpPr/>
          <p:nvPr/>
        </p:nvGrpSpPr>
        <p:grpSpPr>
          <a:xfrm>
            <a:off x="4535458" y="1989346"/>
            <a:ext cx="884357" cy="137900"/>
            <a:chOff x="4535458" y="1989346"/>
            <a:chExt cx="884357" cy="137900"/>
          </a:xfrm>
        </p:grpSpPr>
        <p:sp>
          <p:nvSpPr>
            <p:cNvPr id="91" name="Rectangle 90"/>
            <p:cNvSpPr/>
            <p:nvPr/>
          </p:nvSpPr>
          <p:spPr>
            <a:xfrm>
              <a:off x="4535458" y="1989346"/>
              <a:ext cx="884357"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Alternative Group</a:t>
              </a:r>
            </a:p>
          </p:txBody>
        </p:sp>
        <p:sp>
          <p:nvSpPr>
            <p:cNvPr id="92" name="Rectangle 91"/>
            <p:cNvSpPr/>
            <p:nvPr/>
          </p:nvSpPr>
          <p:spPr>
            <a:xfrm>
              <a:off x="4535458" y="2058296"/>
              <a:ext cx="884357"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30" name="Group 29"/>
          <p:cNvGrpSpPr/>
          <p:nvPr/>
        </p:nvGrpSpPr>
        <p:grpSpPr>
          <a:xfrm>
            <a:off x="4343154" y="1572399"/>
            <a:ext cx="749621" cy="137900"/>
            <a:chOff x="4354179" y="1572399"/>
            <a:chExt cx="749621" cy="137900"/>
          </a:xfrm>
        </p:grpSpPr>
        <p:sp>
          <p:nvSpPr>
            <p:cNvPr id="94" name="Rectangle 93"/>
            <p:cNvSpPr/>
            <p:nvPr/>
          </p:nvSpPr>
          <p:spPr>
            <a:xfrm>
              <a:off x="4354179" y="1572399"/>
              <a:ext cx="749621"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Power Profile</a:t>
              </a:r>
            </a:p>
          </p:txBody>
        </p:sp>
        <p:sp>
          <p:nvSpPr>
            <p:cNvPr id="95" name="Rectangle 94"/>
            <p:cNvSpPr/>
            <p:nvPr/>
          </p:nvSpPr>
          <p:spPr>
            <a:xfrm>
              <a:off x="4354179" y="1641349"/>
              <a:ext cx="749621"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31" name="Group 30"/>
          <p:cNvGrpSpPr/>
          <p:nvPr/>
        </p:nvGrpSpPr>
        <p:grpSpPr>
          <a:xfrm>
            <a:off x="4425221" y="1123951"/>
            <a:ext cx="585487" cy="137900"/>
            <a:chOff x="4425221" y="1123951"/>
            <a:chExt cx="585487" cy="137900"/>
          </a:xfrm>
        </p:grpSpPr>
        <p:sp>
          <p:nvSpPr>
            <p:cNvPr id="101" name="Rectangle 100"/>
            <p:cNvSpPr/>
            <p:nvPr/>
          </p:nvSpPr>
          <p:spPr>
            <a:xfrm>
              <a:off x="4425221" y="1123951"/>
              <a:ext cx="585487" cy="68950"/>
            </a:xfrm>
            <a:prstGeom prst="rect">
              <a:avLst/>
            </a:prstGeom>
            <a:noFill/>
            <a:ln w="12700" cap="flat" cmpd="sng" algn="ctr">
              <a:solidFill>
                <a:schemeClr val="accent2">
                  <a:lumMod val="60000"/>
                  <a:lumOff val="40000"/>
                </a:schemeClr>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aref:Profile</a:t>
              </a:r>
            </a:p>
          </p:txBody>
        </p:sp>
        <p:sp>
          <p:nvSpPr>
            <p:cNvPr id="102" name="Rectangle 101"/>
            <p:cNvSpPr/>
            <p:nvPr/>
          </p:nvSpPr>
          <p:spPr>
            <a:xfrm>
              <a:off x="4425221" y="1192901"/>
              <a:ext cx="585487" cy="68950"/>
            </a:xfrm>
            <a:prstGeom prst="rect">
              <a:avLst/>
            </a:prstGeom>
            <a:noFill/>
            <a:ln w="12700" cap="flat" cmpd="sng" algn="ctr">
              <a:solidFill>
                <a:schemeClr val="accent2">
                  <a:lumMod val="60000"/>
                  <a:lumOff val="40000"/>
                </a:schemeClr>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32" name="Group 31"/>
          <p:cNvGrpSpPr/>
          <p:nvPr/>
        </p:nvGrpSpPr>
        <p:grpSpPr>
          <a:xfrm>
            <a:off x="2161664" y="1123951"/>
            <a:ext cx="649180" cy="137900"/>
            <a:chOff x="2161664" y="1123951"/>
            <a:chExt cx="649180" cy="137900"/>
          </a:xfrm>
        </p:grpSpPr>
        <p:sp>
          <p:nvSpPr>
            <p:cNvPr id="104" name="Rectangle 103"/>
            <p:cNvSpPr/>
            <p:nvPr/>
          </p:nvSpPr>
          <p:spPr>
            <a:xfrm>
              <a:off x="2161664" y="1123951"/>
              <a:ext cx="649180" cy="68950"/>
            </a:xfrm>
            <a:prstGeom prst="rect">
              <a:avLst/>
            </a:prstGeom>
            <a:noFill/>
            <a:ln w="12700" cap="flat" cmpd="sng" algn="ctr">
              <a:solidFill>
                <a:schemeClr val="accent2">
                  <a:lumMod val="60000"/>
                  <a:lumOff val="40000"/>
                </a:schemeClr>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aref:Device</a:t>
              </a:r>
            </a:p>
          </p:txBody>
        </p:sp>
        <p:sp>
          <p:nvSpPr>
            <p:cNvPr id="105" name="Rectangle 104"/>
            <p:cNvSpPr/>
            <p:nvPr/>
          </p:nvSpPr>
          <p:spPr>
            <a:xfrm>
              <a:off x="2161664" y="1192901"/>
              <a:ext cx="649180" cy="68950"/>
            </a:xfrm>
            <a:prstGeom prst="rect">
              <a:avLst/>
            </a:prstGeom>
            <a:noFill/>
            <a:ln w="12700" cap="flat" cmpd="sng" algn="ctr">
              <a:solidFill>
                <a:schemeClr val="accent2">
                  <a:lumMod val="60000"/>
                  <a:lumOff val="40000"/>
                </a:schemeClr>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33" name="Group 32"/>
          <p:cNvGrpSpPr/>
          <p:nvPr/>
        </p:nvGrpSpPr>
        <p:grpSpPr>
          <a:xfrm>
            <a:off x="2191061" y="1569851"/>
            <a:ext cx="578138" cy="137900"/>
            <a:chOff x="2191061" y="1569851"/>
            <a:chExt cx="578138" cy="137900"/>
          </a:xfrm>
        </p:grpSpPr>
        <p:sp>
          <p:nvSpPr>
            <p:cNvPr id="107" name="Rectangle 106"/>
            <p:cNvSpPr/>
            <p:nvPr/>
          </p:nvSpPr>
          <p:spPr>
            <a:xfrm>
              <a:off x="2191061" y="1569851"/>
              <a:ext cx="578138"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Device</a:t>
              </a:r>
            </a:p>
          </p:txBody>
        </p:sp>
        <p:sp>
          <p:nvSpPr>
            <p:cNvPr id="108" name="Rectangle 107"/>
            <p:cNvSpPr/>
            <p:nvPr/>
          </p:nvSpPr>
          <p:spPr>
            <a:xfrm>
              <a:off x="2191061" y="1638801"/>
              <a:ext cx="578138"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23" name="Group 22"/>
          <p:cNvGrpSpPr/>
          <p:nvPr/>
        </p:nvGrpSpPr>
        <p:grpSpPr>
          <a:xfrm>
            <a:off x="8500767" y="2566120"/>
            <a:ext cx="635299" cy="137900"/>
            <a:chOff x="8500767" y="2566120"/>
            <a:chExt cx="635299" cy="137900"/>
          </a:xfrm>
        </p:grpSpPr>
        <p:sp>
          <p:nvSpPr>
            <p:cNvPr id="110" name="Rectangle 109"/>
            <p:cNvSpPr/>
            <p:nvPr/>
          </p:nvSpPr>
          <p:spPr>
            <a:xfrm>
              <a:off x="8500767" y="2566120"/>
              <a:ext cx="635299"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aref: Energy</a:t>
              </a:r>
            </a:p>
          </p:txBody>
        </p:sp>
        <p:sp>
          <p:nvSpPr>
            <p:cNvPr id="111" name="Rectangle 110"/>
            <p:cNvSpPr/>
            <p:nvPr/>
          </p:nvSpPr>
          <p:spPr>
            <a:xfrm>
              <a:off x="8500767" y="2635070"/>
              <a:ext cx="635299"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24" name="Group 23"/>
          <p:cNvGrpSpPr/>
          <p:nvPr/>
        </p:nvGrpSpPr>
        <p:grpSpPr>
          <a:xfrm>
            <a:off x="6924769" y="2879325"/>
            <a:ext cx="1061554" cy="137900"/>
            <a:chOff x="6924769" y="2900902"/>
            <a:chExt cx="1061554" cy="137900"/>
          </a:xfrm>
        </p:grpSpPr>
        <p:sp>
          <p:nvSpPr>
            <p:cNvPr id="34" name="Rectangle 33"/>
            <p:cNvSpPr/>
            <p:nvPr/>
          </p:nvSpPr>
          <p:spPr>
            <a:xfrm>
              <a:off x="6924769" y="2900902"/>
              <a:ext cx="1061554"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Resume Energy Estimated</a:t>
              </a:r>
            </a:p>
          </p:txBody>
        </p:sp>
        <p:sp>
          <p:nvSpPr>
            <p:cNvPr id="35" name="Rectangle 34"/>
            <p:cNvSpPr/>
            <p:nvPr/>
          </p:nvSpPr>
          <p:spPr>
            <a:xfrm>
              <a:off x="6924769" y="2969852"/>
              <a:ext cx="1061554"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39" name="Group 38"/>
          <p:cNvGrpSpPr/>
          <p:nvPr/>
        </p:nvGrpSpPr>
        <p:grpSpPr>
          <a:xfrm>
            <a:off x="4083071" y="2879325"/>
            <a:ext cx="961934" cy="137900"/>
            <a:chOff x="4083071" y="2927224"/>
            <a:chExt cx="961934" cy="137900"/>
          </a:xfrm>
        </p:grpSpPr>
        <p:sp>
          <p:nvSpPr>
            <p:cNvPr id="81" name="Rectangle 80"/>
            <p:cNvSpPr/>
            <p:nvPr/>
          </p:nvSpPr>
          <p:spPr>
            <a:xfrm>
              <a:off x="4083071" y="2927224"/>
              <a:ext cx="961934"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Power Sequence State</a:t>
              </a:r>
            </a:p>
          </p:txBody>
        </p:sp>
        <p:sp>
          <p:nvSpPr>
            <p:cNvPr id="82" name="Rectangle 81"/>
            <p:cNvSpPr/>
            <p:nvPr/>
          </p:nvSpPr>
          <p:spPr>
            <a:xfrm>
              <a:off x="4083071" y="2996174"/>
              <a:ext cx="961934"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22" name="Group 21"/>
          <p:cNvGrpSpPr/>
          <p:nvPr/>
        </p:nvGrpSpPr>
        <p:grpSpPr>
          <a:xfrm>
            <a:off x="8500767" y="2879325"/>
            <a:ext cx="635299" cy="137900"/>
            <a:chOff x="8500767" y="2826017"/>
            <a:chExt cx="635299" cy="137900"/>
          </a:xfrm>
        </p:grpSpPr>
        <p:sp>
          <p:nvSpPr>
            <p:cNvPr id="113" name="Rectangle 112"/>
            <p:cNvSpPr/>
            <p:nvPr/>
          </p:nvSpPr>
          <p:spPr>
            <a:xfrm>
              <a:off x="8500767" y="2826017"/>
              <a:ext cx="635299"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Energy</a:t>
              </a:r>
            </a:p>
          </p:txBody>
        </p:sp>
        <p:sp>
          <p:nvSpPr>
            <p:cNvPr id="114" name="Rectangle 113"/>
            <p:cNvSpPr/>
            <p:nvPr/>
          </p:nvSpPr>
          <p:spPr>
            <a:xfrm>
              <a:off x="8500767" y="2894967"/>
              <a:ext cx="635299"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21" name="Group 20"/>
          <p:cNvGrpSpPr/>
          <p:nvPr/>
        </p:nvGrpSpPr>
        <p:grpSpPr>
          <a:xfrm>
            <a:off x="9512507" y="2879325"/>
            <a:ext cx="588755" cy="137900"/>
            <a:chOff x="9512507" y="2815825"/>
            <a:chExt cx="588755" cy="137900"/>
          </a:xfrm>
        </p:grpSpPr>
        <p:sp>
          <p:nvSpPr>
            <p:cNvPr id="119" name="Rectangle 118"/>
            <p:cNvSpPr/>
            <p:nvPr/>
          </p:nvSpPr>
          <p:spPr>
            <a:xfrm>
              <a:off x="9512507" y="2815825"/>
              <a:ext cx="588755"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aref: Power</a:t>
              </a:r>
            </a:p>
          </p:txBody>
        </p:sp>
        <p:sp>
          <p:nvSpPr>
            <p:cNvPr id="120" name="Rectangle 119"/>
            <p:cNvSpPr/>
            <p:nvPr/>
          </p:nvSpPr>
          <p:spPr>
            <a:xfrm>
              <a:off x="9512507" y="2884775"/>
              <a:ext cx="588755"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86" name="Group 85"/>
          <p:cNvGrpSpPr/>
          <p:nvPr/>
        </p:nvGrpSpPr>
        <p:grpSpPr>
          <a:xfrm>
            <a:off x="5324274" y="3134318"/>
            <a:ext cx="874557" cy="137900"/>
            <a:chOff x="5324274" y="3146360"/>
            <a:chExt cx="874557" cy="137900"/>
          </a:xfrm>
        </p:grpSpPr>
        <p:sp>
          <p:nvSpPr>
            <p:cNvPr id="11" name="Rectangle 10"/>
            <p:cNvSpPr/>
            <p:nvPr/>
          </p:nvSpPr>
          <p:spPr>
            <a:xfrm>
              <a:off x="5324274" y="3146360"/>
              <a:ext cx="874557"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Power Sequence</a:t>
              </a:r>
            </a:p>
          </p:txBody>
        </p:sp>
        <p:sp>
          <p:nvSpPr>
            <p:cNvPr id="12" name="Rectangle 11"/>
            <p:cNvSpPr/>
            <p:nvPr/>
          </p:nvSpPr>
          <p:spPr>
            <a:xfrm>
              <a:off x="5324274" y="3215310"/>
              <a:ext cx="874557"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19" name="Group 18"/>
          <p:cNvGrpSpPr/>
          <p:nvPr/>
        </p:nvGrpSpPr>
        <p:grpSpPr>
          <a:xfrm>
            <a:off x="8086762" y="3134318"/>
            <a:ext cx="522611" cy="137900"/>
            <a:chOff x="8086762" y="3136873"/>
            <a:chExt cx="522611" cy="137900"/>
          </a:xfrm>
        </p:grpSpPr>
        <p:sp>
          <p:nvSpPr>
            <p:cNvPr id="116" name="Rectangle 115"/>
            <p:cNvSpPr/>
            <p:nvPr/>
          </p:nvSpPr>
          <p:spPr>
            <a:xfrm>
              <a:off x="8086762" y="3136873"/>
              <a:ext cx="522611"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Slot</a:t>
              </a:r>
            </a:p>
          </p:txBody>
        </p:sp>
        <p:sp>
          <p:nvSpPr>
            <p:cNvPr id="117" name="Rectangle 116"/>
            <p:cNvSpPr/>
            <p:nvPr/>
          </p:nvSpPr>
          <p:spPr>
            <a:xfrm>
              <a:off x="8086762" y="3205823"/>
              <a:ext cx="522611"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20" name="Group 19"/>
          <p:cNvGrpSpPr/>
          <p:nvPr/>
        </p:nvGrpSpPr>
        <p:grpSpPr>
          <a:xfrm>
            <a:off x="9512507" y="3134318"/>
            <a:ext cx="588755" cy="137900"/>
            <a:chOff x="9512507" y="3134318"/>
            <a:chExt cx="588755" cy="137900"/>
          </a:xfrm>
        </p:grpSpPr>
        <p:sp>
          <p:nvSpPr>
            <p:cNvPr id="122" name="Rectangle 121"/>
            <p:cNvSpPr/>
            <p:nvPr/>
          </p:nvSpPr>
          <p:spPr>
            <a:xfrm>
              <a:off x="9512507" y="3134318"/>
              <a:ext cx="588755"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aref: Power</a:t>
              </a:r>
            </a:p>
          </p:txBody>
        </p:sp>
        <p:sp>
          <p:nvSpPr>
            <p:cNvPr id="123" name="Rectangle 122"/>
            <p:cNvSpPr/>
            <p:nvPr/>
          </p:nvSpPr>
          <p:spPr>
            <a:xfrm>
              <a:off x="9512507" y="3203268"/>
              <a:ext cx="588755"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15" name="Group 14"/>
          <p:cNvGrpSpPr/>
          <p:nvPr/>
        </p:nvGrpSpPr>
        <p:grpSpPr>
          <a:xfrm>
            <a:off x="8659999" y="3521615"/>
            <a:ext cx="1005211" cy="137900"/>
            <a:chOff x="8659999" y="3521615"/>
            <a:chExt cx="1005211" cy="137900"/>
          </a:xfrm>
        </p:grpSpPr>
        <p:sp>
          <p:nvSpPr>
            <p:cNvPr id="125" name="Rectangle 124"/>
            <p:cNvSpPr/>
            <p:nvPr/>
          </p:nvSpPr>
          <p:spPr>
            <a:xfrm>
              <a:off x="8659999" y="3521615"/>
              <a:ext cx="1005211"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Remaining Pause Time</a:t>
              </a:r>
            </a:p>
          </p:txBody>
        </p:sp>
        <p:sp>
          <p:nvSpPr>
            <p:cNvPr id="126" name="Rectangle 125"/>
            <p:cNvSpPr/>
            <p:nvPr/>
          </p:nvSpPr>
          <p:spPr>
            <a:xfrm>
              <a:off x="8659999" y="3590565"/>
              <a:ext cx="1005211"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93" name="Group 92"/>
          <p:cNvGrpSpPr/>
          <p:nvPr/>
        </p:nvGrpSpPr>
        <p:grpSpPr>
          <a:xfrm>
            <a:off x="4746951" y="4270259"/>
            <a:ext cx="4011856" cy="137901"/>
            <a:chOff x="4746951" y="4270259"/>
            <a:chExt cx="4011856" cy="137901"/>
          </a:xfrm>
        </p:grpSpPr>
        <p:grpSp>
          <p:nvGrpSpPr>
            <p:cNvPr id="90" name="Group 89"/>
            <p:cNvGrpSpPr/>
            <p:nvPr/>
          </p:nvGrpSpPr>
          <p:grpSpPr>
            <a:xfrm>
              <a:off x="4746951" y="4270260"/>
              <a:ext cx="1981841" cy="137900"/>
              <a:chOff x="4746951" y="4308279"/>
              <a:chExt cx="1981841" cy="137900"/>
            </a:xfrm>
          </p:grpSpPr>
          <p:grpSp>
            <p:nvGrpSpPr>
              <p:cNvPr id="7" name="Group 6"/>
              <p:cNvGrpSpPr/>
              <p:nvPr/>
            </p:nvGrpSpPr>
            <p:grpSpPr>
              <a:xfrm>
                <a:off x="5828102" y="4308279"/>
                <a:ext cx="900690" cy="137900"/>
                <a:chOff x="5828102" y="4244779"/>
                <a:chExt cx="900690" cy="137900"/>
              </a:xfrm>
            </p:grpSpPr>
            <p:sp>
              <p:nvSpPr>
                <p:cNvPr id="52" name="Rectangle 51"/>
                <p:cNvSpPr/>
                <p:nvPr/>
              </p:nvSpPr>
              <p:spPr>
                <a:xfrm>
                  <a:off x="5828102" y="4244779"/>
                  <a:ext cx="900690"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Pause Duration Min</a:t>
                  </a:r>
                </a:p>
              </p:txBody>
            </p:sp>
            <p:sp>
              <p:nvSpPr>
                <p:cNvPr id="53" name="Rectangle 52"/>
                <p:cNvSpPr/>
                <p:nvPr/>
              </p:nvSpPr>
              <p:spPr>
                <a:xfrm>
                  <a:off x="5828102" y="4313729"/>
                  <a:ext cx="900690"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6" name="Group 5"/>
              <p:cNvGrpSpPr/>
              <p:nvPr/>
            </p:nvGrpSpPr>
            <p:grpSpPr>
              <a:xfrm>
                <a:off x="4746951" y="4308279"/>
                <a:ext cx="1031342" cy="137900"/>
                <a:chOff x="4746951" y="4231190"/>
                <a:chExt cx="1031342" cy="137900"/>
              </a:xfrm>
            </p:grpSpPr>
            <p:sp>
              <p:nvSpPr>
                <p:cNvPr id="55" name="Rectangle 54"/>
                <p:cNvSpPr/>
                <p:nvPr/>
              </p:nvSpPr>
              <p:spPr>
                <a:xfrm>
                  <a:off x="4746951" y="4231190"/>
                  <a:ext cx="1031342"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Active Duration Sum Min</a:t>
                  </a:r>
                </a:p>
              </p:txBody>
            </p:sp>
            <p:sp>
              <p:nvSpPr>
                <p:cNvPr id="56" name="Rectangle 55"/>
                <p:cNvSpPr/>
                <p:nvPr/>
              </p:nvSpPr>
              <p:spPr>
                <a:xfrm>
                  <a:off x="4746951" y="4300140"/>
                  <a:ext cx="1031342"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grpSp>
          <p:nvGrpSpPr>
            <p:cNvPr id="8" name="Group 7"/>
            <p:cNvGrpSpPr/>
            <p:nvPr/>
          </p:nvGrpSpPr>
          <p:grpSpPr>
            <a:xfrm>
              <a:off x="8020619" y="4270259"/>
              <a:ext cx="738188" cy="137900"/>
              <a:chOff x="8020619" y="4270259"/>
              <a:chExt cx="738188" cy="137900"/>
            </a:xfrm>
          </p:grpSpPr>
          <p:sp>
            <p:nvSpPr>
              <p:cNvPr id="137" name="Rectangle 136"/>
              <p:cNvSpPr/>
              <p:nvPr/>
            </p:nvSpPr>
            <p:spPr>
              <a:xfrm>
                <a:off x="8020619" y="4270259"/>
                <a:ext cx="738188"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Max Duration</a:t>
                </a:r>
              </a:p>
            </p:txBody>
          </p:sp>
          <p:sp>
            <p:nvSpPr>
              <p:cNvPr id="138" name="Rectangle 137"/>
              <p:cNvSpPr/>
              <p:nvPr/>
            </p:nvSpPr>
            <p:spPr>
              <a:xfrm>
                <a:off x="8020619" y="4339209"/>
                <a:ext cx="738188"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grpSp>
        <p:nvGrpSpPr>
          <p:cNvPr id="63" name="Group 62"/>
          <p:cNvGrpSpPr/>
          <p:nvPr/>
        </p:nvGrpSpPr>
        <p:grpSpPr>
          <a:xfrm>
            <a:off x="3130936" y="4693514"/>
            <a:ext cx="1004400" cy="137900"/>
            <a:chOff x="3130936" y="4653071"/>
            <a:chExt cx="1004400" cy="137900"/>
          </a:xfrm>
        </p:grpSpPr>
        <p:sp>
          <p:nvSpPr>
            <p:cNvPr id="144" name="Rectangle 143"/>
            <p:cNvSpPr/>
            <p:nvPr/>
          </p:nvSpPr>
          <p:spPr>
            <a:xfrm>
              <a:off x="3130936" y="4653071"/>
              <a:ext cx="1004400"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Load Control Event Data</a:t>
              </a:r>
            </a:p>
          </p:txBody>
        </p:sp>
        <p:sp>
          <p:nvSpPr>
            <p:cNvPr id="145" name="Rectangle 144"/>
            <p:cNvSpPr/>
            <p:nvPr/>
          </p:nvSpPr>
          <p:spPr>
            <a:xfrm>
              <a:off x="3130936" y="4722021"/>
              <a:ext cx="1004400"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67" name="Group 66"/>
          <p:cNvGrpSpPr/>
          <p:nvPr/>
        </p:nvGrpSpPr>
        <p:grpSpPr>
          <a:xfrm>
            <a:off x="1528812" y="4693514"/>
            <a:ext cx="1104019" cy="137900"/>
            <a:chOff x="1528812" y="4663262"/>
            <a:chExt cx="1104019" cy="137900"/>
          </a:xfrm>
        </p:grpSpPr>
        <p:sp>
          <p:nvSpPr>
            <p:cNvPr id="147" name="Rectangle 146"/>
            <p:cNvSpPr/>
            <p:nvPr/>
          </p:nvSpPr>
          <p:spPr>
            <a:xfrm>
              <a:off x="1528812" y="4663262"/>
              <a:ext cx="1104019"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Load Control Event Action</a:t>
              </a:r>
            </a:p>
          </p:txBody>
        </p:sp>
        <p:sp>
          <p:nvSpPr>
            <p:cNvPr id="148" name="Rectangle 147"/>
            <p:cNvSpPr/>
            <p:nvPr/>
          </p:nvSpPr>
          <p:spPr>
            <a:xfrm>
              <a:off x="1528812" y="4732212"/>
              <a:ext cx="1104019"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57" name="Group 56"/>
          <p:cNvGrpSpPr/>
          <p:nvPr/>
        </p:nvGrpSpPr>
        <p:grpSpPr>
          <a:xfrm>
            <a:off x="4786147" y="4693514"/>
            <a:ext cx="832096" cy="137900"/>
            <a:chOff x="4786147" y="4693514"/>
            <a:chExt cx="832096" cy="137900"/>
          </a:xfrm>
        </p:grpSpPr>
        <p:sp>
          <p:nvSpPr>
            <p:cNvPr id="159" name="Rectangle 158"/>
            <p:cNvSpPr/>
            <p:nvPr/>
          </p:nvSpPr>
          <p:spPr>
            <a:xfrm>
              <a:off x="4786147" y="4693514"/>
              <a:ext cx="832096"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Time: Temporal Enitity</a:t>
              </a:r>
            </a:p>
          </p:txBody>
        </p:sp>
        <p:sp>
          <p:nvSpPr>
            <p:cNvPr id="160" name="Rectangle 159"/>
            <p:cNvSpPr/>
            <p:nvPr/>
          </p:nvSpPr>
          <p:spPr>
            <a:xfrm>
              <a:off x="4786147" y="4762464"/>
              <a:ext cx="832096"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68" name="Group 67"/>
          <p:cNvGrpSpPr/>
          <p:nvPr/>
        </p:nvGrpSpPr>
        <p:grpSpPr>
          <a:xfrm>
            <a:off x="1237575" y="4943702"/>
            <a:ext cx="986432" cy="137900"/>
            <a:chOff x="1016000" y="4989407"/>
            <a:chExt cx="986432" cy="137900"/>
          </a:xfrm>
        </p:grpSpPr>
        <p:sp>
          <p:nvSpPr>
            <p:cNvPr id="150" name="Rectangle 149"/>
            <p:cNvSpPr/>
            <p:nvPr/>
          </p:nvSpPr>
          <p:spPr>
            <a:xfrm>
              <a:off x="1016000" y="4989407"/>
              <a:ext cx="986432"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Event Action Consume</a:t>
              </a:r>
            </a:p>
          </p:txBody>
        </p:sp>
        <p:sp>
          <p:nvSpPr>
            <p:cNvPr id="151" name="Rectangle 150"/>
            <p:cNvSpPr/>
            <p:nvPr/>
          </p:nvSpPr>
          <p:spPr>
            <a:xfrm>
              <a:off x="1016000" y="5058357"/>
              <a:ext cx="986432"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60" name="Group 59"/>
          <p:cNvGrpSpPr/>
          <p:nvPr/>
        </p:nvGrpSpPr>
        <p:grpSpPr>
          <a:xfrm>
            <a:off x="4866990" y="4943702"/>
            <a:ext cx="717775" cy="137900"/>
            <a:chOff x="4866990" y="4943702"/>
            <a:chExt cx="717775" cy="137900"/>
          </a:xfrm>
        </p:grpSpPr>
        <p:sp>
          <p:nvSpPr>
            <p:cNvPr id="162" name="Rectangle 161"/>
            <p:cNvSpPr/>
            <p:nvPr/>
          </p:nvSpPr>
          <p:spPr>
            <a:xfrm>
              <a:off x="4866990" y="4943702"/>
              <a:ext cx="717775"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Time Period</a:t>
              </a:r>
            </a:p>
          </p:txBody>
        </p:sp>
        <p:sp>
          <p:nvSpPr>
            <p:cNvPr id="163" name="Rectangle 162"/>
            <p:cNvSpPr/>
            <p:nvPr/>
          </p:nvSpPr>
          <p:spPr>
            <a:xfrm>
              <a:off x="4866990" y="5012652"/>
              <a:ext cx="717775"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74" name="Group 73"/>
          <p:cNvGrpSpPr/>
          <p:nvPr/>
        </p:nvGrpSpPr>
        <p:grpSpPr>
          <a:xfrm>
            <a:off x="4044893" y="5551294"/>
            <a:ext cx="1021343" cy="137900"/>
            <a:chOff x="4044893" y="5551294"/>
            <a:chExt cx="1021343" cy="137900"/>
          </a:xfrm>
        </p:grpSpPr>
        <p:sp>
          <p:nvSpPr>
            <p:cNvPr id="168" name="Rectangle 167"/>
            <p:cNvSpPr/>
            <p:nvPr/>
          </p:nvSpPr>
          <p:spPr>
            <a:xfrm>
              <a:off x="4044893" y="5551294"/>
              <a:ext cx="1021343"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Load Control Event State</a:t>
              </a:r>
            </a:p>
          </p:txBody>
        </p:sp>
        <p:sp>
          <p:nvSpPr>
            <p:cNvPr id="169" name="Rectangle 168"/>
            <p:cNvSpPr/>
            <p:nvPr/>
          </p:nvSpPr>
          <p:spPr>
            <a:xfrm>
              <a:off x="4044893" y="5620244"/>
              <a:ext cx="1021343"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3" name="Group 2"/>
          <p:cNvGrpSpPr/>
          <p:nvPr/>
        </p:nvGrpSpPr>
        <p:grpSpPr>
          <a:xfrm>
            <a:off x="1671715" y="5799302"/>
            <a:ext cx="2881706" cy="137900"/>
            <a:chOff x="1671715" y="5799302"/>
            <a:chExt cx="2881706" cy="137900"/>
          </a:xfrm>
        </p:grpSpPr>
        <p:grpSp>
          <p:nvGrpSpPr>
            <p:cNvPr id="69" name="Group 68"/>
            <p:cNvGrpSpPr/>
            <p:nvPr/>
          </p:nvGrpSpPr>
          <p:grpSpPr>
            <a:xfrm>
              <a:off x="1671715" y="5799302"/>
              <a:ext cx="992146" cy="137900"/>
              <a:chOff x="1671715" y="5799302"/>
              <a:chExt cx="992146" cy="137900"/>
            </a:xfrm>
          </p:grpSpPr>
          <p:sp>
            <p:nvSpPr>
              <p:cNvPr id="156" name="Rectangle 155"/>
              <p:cNvSpPr/>
              <p:nvPr/>
            </p:nvSpPr>
            <p:spPr>
              <a:xfrm>
                <a:off x="1671715" y="5799302"/>
                <a:ext cx="992146"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Load Control State Data</a:t>
                </a:r>
              </a:p>
            </p:txBody>
          </p:sp>
          <p:sp>
            <p:nvSpPr>
              <p:cNvPr id="157" name="Rectangle 156"/>
              <p:cNvSpPr/>
              <p:nvPr/>
            </p:nvSpPr>
            <p:spPr>
              <a:xfrm>
                <a:off x="1671715" y="5868252"/>
                <a:ext cx="992146"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73" name="Group 72"/>
            <p:cNvGrpSpPr/>
            <p:nvPr/>
          </p:nvGrpSpPr>
          <p:grpSpPr>
            <a:xfrm>
              <a:off x="3659929" y="5799302"/>
              <a:ext cx="893492" cy="137900"/>
              <a:chOff x="3659929" y="5811694"/>
              <a:chExt cx="893492" cy="137900"/>
            </a:xfrm>
          </p:grpSpPr>
          <p:sp>
            <p:nvSpPr>
              <p:cNvPr id="171" name="Rectangle 170"/>
              <p:cNvSpPr/>
              <p:nvPr/>
            </p:nvSpPr>
            <p:spPr>
              <a:xfrm>
                <a:off x="3659929" y="5811694"/>
                <a:ext cx="893492"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Event State produce</a:t>
                </a:r>
              </a:p>
            </p:txBody>
          </p:sp>
          <p:sp>
            <p:nvSpPr>
              <p:cNvPr id="172" name="Rectangle 171"/>
              <p:cNvSpPr/>
              <p:nvPr/>
            </p:nvSpPr>
            <p:spPr>
              <a:xfrm>
                <a:off x="3659929" y="5880644"/>
                <a:ext cx="893492"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grpSp>
        <p:nvGrpSpPr>
          <p:cNvPr id="70" name="Group 69"/>
          <p:cNvGrpSpPr/>
          <p:nvPr/>
        </p:nvGrpSpPr>
        <p:grpSpPr>
          <a:xfrm>
            <a:off x="4522793" y="6104091"/>
            <a:ext cx="935401" cy="137900"/>
            <a:chOff x="4522793" y="6015191"/>
            <a:chExt cx="935401" cy="137900"/>
          </a:xfrm>
        </p:grpSpPr>
        <p:sp>
          <p:nvSpPr>
            <p:cNvPr id="174" name="Rectangle 173"/>
            <p:cNvSpPr/>
            <p:nvPr/>
          </p:nvSpPr>
          <p:spPr>
            <a:xfrm>
              <a:off x="4522793" y="6015191"/>
              <a:ext cx="935401"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Event State Consume</a:t>
              </a:r>
            </a:p>
          </p:txBody>
        </p:sp>
        <p:sp>
          <p:nvSpPr>
            <p:cNvPr id="175" name="Rectangle 174"/>
            <p:cNvSpPr/>
            <p:nvPr/>
          </p:nvSpPr>
          <p:spPr>
            <a:xfrm>
              <a:off x="4522793" y="6084141"/>
              <a:ext cx="935401"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sp>
        <p:nvSpPr>
          <p:cNvPr id="189" name="Rectangle 188"/>
          <p:cNvSpPr/>
          <p:nvPr/>
        </p:nvSpPr>
        <p:spPr>
          <a:xfrm>
            <a:off x="5566799" y="5646103"/>
            <a:ext cx="1070948" cy="385603"/>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182880" tIns="9144" rIns="9144" bIns="9144" rtlCol="0" anchor="t"/>
          <a:lstStyle/>
          <a:p>
            <a:r>
              <a:rPr lang="en-US" sz="400" dirty="0">
                <a:solidFill>
                  <a:schemeClr val="tx1"/>
                </a:solidFill>
              </a:rPr>
              <a:t>(“S4ener: Event Accepted”,</a:t>
            </a:r>
            <a:br>
              <a:rPr lang="en-US" sz="400" dirty="0">
                <a:solidFill>
                  <a:schemeClr val="tx1"/>
                </a:solidFill>
              </a:rPr>
            </a:br>
            <a:r>
              <a:rPr lang="en-US" sz="400" dirty="0">
                <a:solidFill>
                  <a:schemeClr val="tx1"/>
                </a:solidFill>
              </a:rPr>
              <a:t>“S4ener : Event Started”,</a:t>
            </a:r>
            <a:br>
              <a:rPr lang="en-US" sz="400" dirty="0">
                <a:solidFill>
                  <a:schemeClr val="tx1"/>
                </a:solidFill>
              </a:rPr>
            </a:br>
            <a:r>
              <a:rPr lang="en-US" sz="400" dirty="0">
                <a:solidFill>
                  <a:schemeClr val="tx1"/>
                </a:solidFill>
              </a:rPr>
              <a:t>“S4ener : Event Stopped”,</a:t>
            </a:r>
            <a:br>
              <a:rPr lang="en-US" sz="400" dirty="0">
                <a:solidFill>
                  <a:schemeClr val="tx1"/>
                </a:solidFill>
              </a:rPr>
            </a:br>
            <a:r>
              <a:rPr lang="en-US" sz="400" dirty="0">
                <a:solidFill>
                  <a:schemeClr val="tx1"/>
                </a:solidFill>
              </a:rPr>
              <a:t>“S4ener : Event Rejected”,</a:t>
            </a:r>
            <a:br>
              <a:rPr lang="en-US" sz="400" dirty="0">
                <a:solidFill>
                  <a:schemeClr val="tx1"/>
                </a:solidFill>
              </a:rPr>
            </a:br>
            <a:r>
              <a:rPr lang="en-US" sz="400" dirty="0">
                <a:solidFill>
                  <a:schemeClr val="tx1"/>
                </a:solidFill>
              </a:rPr>
              <a:t>“S4ener : Event Cancelled”,</a:t>
            </a:r>
            <a:br>
              <a:rPr lang="en-US" sz="400" dirty="0">
                <a:solidFill>
                  <a:schemeClr val="tx1"/>
                </a:solidFill>
              </a:rPr>
            </a:br>
            <a:r>
              <a:rPr lang="en-US" sz="400" dirty="0">
                <a:solidFill>
                  <a:schemeClr val="tx1"/>
                </a:solidFill>
              </a:rPr>
              <a:t>“S4ener : Event Error”,</a:t>
            </a:r>
            <a:br>
              <a:rPr lang="en-US" sz="400" dirty="0">
                <a:solidFill>
                  <a:schemeClr val="tx1"/>
                </a:solidFill>
              </a:rPr>
            </a:br>
            <a:endParaRPr lang="en-US" sz="400" dirty="0">
              <a:solidFill>
                <a:schemeClr val="tx1"/>
              </a:solidFill>
            </a:endParaRPr>
          </a:p>
        </p:txBody>
      </p:sp>
      <p:sp>
        <p:nvSpPr>
          <p:cNvPr id="184" name="Rectangle 183"/>
          <p:cNvSpPr/>
          <p:nvPr/>
        </p:nvSpPr>
        <p:spPr>
          <a:xfrm>
            <a:off x="2714892" y="2698684"/>
            <a:ext cx="1070948" cy="499182"/>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182880" tIns="9144" rIns="9144" bIns="9144" rtlCol="0" anchor="t"/>
          <a:lstStyle/>
          <a:p>
            <a:r>
              <a:rPr lang="en-US" sz="400" dirty="0">
                <a:solidFill>
                  <a:schemeClr val="tx1"/>
                </a:solidFill>
              </a:rPr>
              <a:t>(“S4ener: Running”,</a:t>
            </a:r>
            <a:br>
              <a:rPr lang="en-US" sz="400" dirty="0">
                <a:solidFill>
                  <a:schemeClr val="tx1"/>
                </a:solidFill>
              </a:rPr>
            </a:br>
            <a:r>
              <a:rPr lang="en-US" sz="400" dirty="0">
                <a:solidFill>
                  <a:schemeClr val="tx1"/>
                </a:solidFill>
              </a:rPr>
              <a:t>“S4ener : Paused”,</a:t>
            </a:r>
            <a:br>
              <a:rPr lang="en-US" sz="400" dirty="0">
                <a:solidFill>
                  <a:schemeClr val="tx1"/>
                </a:solidFill>
              </a:rPr>
            </a:br>
            <a:r>
              <a:rPr lang="en-US" sz="400" dirty="0">
                <a:solidFill>
                  <a:schemeClr val="tx1"/>
                </a:solidFill>
              </a:rPr>
              <a:t>“S4ener : Scheduled”,</a:t>
            </a:r>
            <a:br>
              <a:rPr lang="en-US" sz="400" dirty="0">
                <a:solidFill>
                  <a:schemeClr val="tx1"/>
                </a:solidFill>
              </a:rPr>
            </a:br>
            <a:r>
              <a:rPr lang="en-US" sz="400" dirty="0">
                <a:solidFill>
                  <a:schemeClr val="tx1"/>
                </a:solidFill>
              </a:rPr>
              <a:t>“S4ener : Scheduled Paused”,</a:t>
            </a:r>
            <a:br>
              <a:rPr lang="en-US" sz="400" dirty="0">
                <a:solidFill>
                  <a:schemeClr val="tx1"/>
                </a:solidFill>
              </a:rPr>
            </a:br>
            <a:r>
              <a:rPr lang="en-US" sz="400" dirty="0">
                <a:solidFill>
                  <a:schemeClr val="tx1"/>
                </a:solidFill>
              </a:rPr>
              <a:t>“S4ener : Pending”,</a:t>
            </a:r>
            <a:br>
              <a:rPr lang="en-US" sz="400" dirty="0">
                <a:solidFill>
                  <a:schemeClr val="tx1"/>
                </a:solidFill>
              </a:rPr>
            </a:br>
            <a:r>
              <a:rPr lang="en-US" sz="400" dirty="0">
                <a:solidFill>
                  <a:schemeClr val="tx1"/>
                </a:solidFill>
              </a:rPr>
              <a:t>“S4ener : Inactive”,</a:t>
            </a:r>
            <a:br>
              <a:rPr lang="en-US" sz="400" dirty="0">
                <a:solidFill>
                  <a:schemeClr val="tx1"/>
                </a:solidFill>
              </a:rPr>
            </a:br>
            <a:r>
              <a:rPr lang="en-US" sz="400" dirty="0">
                <a:solidFill>
                  <a:schemeClr val="tx1"/>
                </a:solidFill>
              </a:rPr>
              <a:t>“S4ener : Completed”,</a:t>
            </a:r>
            <a:br>
              <a:rPr lang="en-US" sz="400" dirty="0">
                <a:solidFill>
                  <a:schemeClr val="tx1"/>
                </a:solidFill>
              </a:rPr>
            </a:br>
            <a:r>
              <a:rPr lang="en-US" sz="400" dirty="0">
                <a:solidFill>
                  <a:schemeClr val="tx1"/>
                </a:solidFill>
              </a:rPr>
              <a:t>“S4ener : Invalid”,</a:t>
            </a:r>
          </a:p>
          <a:p>
            <a:endParaRPr lang="en-US" sz="400" dirty="0">
              <a:solidFill>
                <a:schemeClr val="tx1"/>
              </a:solidFill>
            </a:endParaRPr>
          </a:p>
        </p:txBody>
      </p:sp>
      <p:cxnSp>
        <p:nvCxnSpPr>
          <p:cNvPr id="170" name="Elbow Connector 35"/>
          <p:cNvCxnSpPr>
            <a:stCxn id="12" idx="2"/>
            <a:endCxn id="37" idx="1"/>
          </p:cNvCxnSpPr>
          <p:nvPr/>
        </p:nvCxnSpPr>
        <p:spPr>
          <a:xfrm rot="16200000" flipH="1">
            <a:off x="6032060" y="3001710"/>
            <a:ext cx="138787" cy="679801"/>
          </a:xfrm>
          <a:prstGeom prst="bentConnector2">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76" name="Elbow Connector 35"/>
          <p:cNvCxnSpPr>
            <a:stCxn id="12" idx="2"/>
            <a:endCxn id="40" idx="1"/>
          </p:cNvCxnSpPr>
          <p:nvPr/>
        </p:nvCxnSpPr>
        <p:spPr>
          <a:xfrm rot="16200000" flipH="1">
            <a:off x="5870012" y="3163759"/>
            <a:ext cx="317533" cy="534450"/>
          </a:xfrm>
          <a:prstGeom prst="bentConnector2">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77" name="Elbow Connector 35"/>
          <p:cNvCxnSpPr>
            <a:stCxn id="12" idx="2"/>
            <a:endCxn id="43" idx="1"/>
          </p:cNvCxnSpPr>
          <p:nvPr/>
        </p:nvCxnSpPr>
        <p:spPr>
          <a:xfrm rot="16200000" flipH="1">
            <a:off x="5837799" y="3195971"/>
            <a:ext cx="496279" cy="648771"/>
          </a:xfrm>
          <a:prstGeom prst="bentConnector2">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80" name="Elbow Connector 35"/>
          <p:cNvCxnSpPr>
            <a:stCxn id="12" idx="2"/>
            <a:endCxn id="46" idx="1"/>
          </p:cNvCxnSpPr>
          <p:nvPr/>
        </p:nvCxnSpPr>
        <p:spPr>
          <a:xfrm rot="16200000" flipH="1">
            <a:off x="5665135" y="3368635"/>
            <a:ext cx="675025" cy="482189"/>
          </a:xfrm>
          <a:prstGeom prst="bentConnector2">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83" name="Elbow Connector 35"/>
          <p:cNvCxnSpPr>
            <a:stCxn id="12" idx="2"/>
            <a:endCxn id="49" idx="1"/>
          </p:cNvCxnSpPr>
          <p:nvPr/>
        </p:nvCxnSpPr>
        <p:spPr>
          <a:xfrm rot="16200000" flipH="1">
            <a:off x="5511252" y="3522518"/>
            <a:ext cx="853771" cy="353169"/>
          </a:xfrm>
          <a:prstGeom prst="bentConnector2">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87" name="Elbow Connector 35"/>
          <p:cNvCxnSpPr>
            <a:stCxn id="104" idx="3"/>
            <a:endCxn id="101" idx="1"/>
          </p:cNvCxnSpPr>
          <p:nvPr/>
        </p:nvCxnSpPr>
        <p:spPr>
          <a:xfrm>
            <a:off x="2810844" y="1158426"/>
            <a:ext cx="1614377" cy="0"/>
          </a:xfrm>
          <a:prstGeom prst="straightConnector1">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91" name="Elbow Connector 35"/>
          <p:cNvCxnSpPr>
            <a:stCxn id="12" idx="2"/>
            <a:endCxn id="71" idx="3"/>
          </p:cNvCxnSpPr>
          <p:nvPr/>
        </p:nvCxnSpPr>
        <p:spPr>
          <a:xfrm rot="5400000">
            <a:off x="5228589" y="3056786"/>
            <a:ext cx="317533" cy="748396"/>
          </a:xfrm>
          <a:prstGeom prst="bentConnector2">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94" name="Elbow Connector 35"/>
          <p:cNvCxnSpPr>
            <a:stCxn id="12" idx="2"/>
            <a:endCxn id="64" idx="3"/>
          </p:cNvCxnSpPr>
          <p:nvPr/>
        </p:nvCxnSpPr>
        <p:spPr>
          <a:xfrm rot="5400000">
            <a:off x="5175963" y="3182906"/>
            <a:ext cx="496279" cy="674902"/>
          </a:xfrm>
          <a:prstGeom prst="bentConnector2">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97" name="Elbow Connector 35"/>
          <p:cNvCxnSpPr>
            <a:stCxn id="12" idx="2"/>
            <a:endCxn id="61" idx="3"/>
          </p:cNvCxnSpPr>
          <p:nvPr/>
        </p:nvCxnSpPr>
        <p:spPr>
          <a:xfrm rot="5400000">
            <a:off x="5233575" y="3419264"/>
            <a:ext cx="675025" cy="380933"/>
          </a:xfrm>
          <a:prstGeom prst="bentConnector2">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01" name="Elbow Connector 35"/>
          <p:cNvCxnSpPr>
            <a:stCxn id="12" idx="2"/>
            <a:endCxn id="58" idx="3"/>
          </p:cNvCxnSpPr>
          <p:nvPr/>
        </p:nvCxnSpPr>
        <p:spPr>
          <a:xfrm rot="5400000">
            <a:off x="5246273" y="3610708"/>
            <a:ext cx="853771" cy="176790"/>
          </a:xfrm>
          <a:prstGeom prst="bentConnector2">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04" name="Elbow Connector 35"/>
          <p:cNvCxnSpPr>
            <a:stCxn id="12" idx="2"/>
          </p:cNvCxnSpPr>
          <p:nvPr/>
        </p:nvCxnSpPr>
        <p:spPr>
          <a:xfrm rot="16200000" flipH="1">
            <a:off x="5375605" y="3658165"/>
            <a:ext cx="1007072" cy="235177"/>
          </a:xfrm>
          <a:prstGeom prst="bentConnector3">
            <a:avLst>
              <a:gd name="adj1" fmla="val 89251"/>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10" name="Elbow Connector 35"/>
          <p:cNvCxnSpPr>
            <a:stCxn id="12" idx="2"/>
          </p:cNvCxnSpPr>
          <p:nvPr/>
        </p:nvCxnSpPr>
        <p:spPr>
          <a:xfrm rot="5400000">
            <a:off x="5209851" y="3718558"/>
            <a:ext cx="998043" cy="105362"/>
          </a:xfrm>
          <a:prstGeom prst="bentConnector3">
            <a:avLst>
              <a:gd name="adj1" fmla="val 90083"/>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73" name="Elbow Connector 35"/>
          <p:cNvCxnSpPr>
            <a:stCxn id="107" idx="3"/>
            <a:endCxn id="94" idx="1"/>
          </p:cNvCxnSpPr>
          <p:nvPr/>
        </p:nvCxnSpPr>
        <p:spPr>
          <a:xfrm>
            <a:off x="2769199" y="1604326"/>
            <a:ext cx="1573955" cy="2548"/>
          </a:xfrm>
          <a:prstGeom prst="straightConnector1">
            <a:avLst/>
          </a:prstGeom>
          <a:ln>
            <a:solidFill>
              <a:schemeClr val="accent5">
                <a:lumMod val="40000"/>
                <a:lumOff val="60000"/>
              </a:schemeClr>
            </a:solidFill>
            <a:prstDash val="solid"/>
            <a:headEnd type="stealth"/>
            <a:tailEnd type="stealth"/>
          </a:ln>
        </p:spPr>
        <p:style>
          <a:lnRef idx="1">
            <a:schemeClr val="accent1"/>
          </a:lnRef>
          <a:fillRef idx="0">
            <a:schemeClr val="accent1"/>
          </a:fillRef>
          <a:effectRef idx="0">
            <a:schemeClr val="accent1"/>
          </a:effectRef>
          <a:fontRef idx="minor">
            <a:schemeClr val="tx1"/>
          </a:fontRef>
        </p:style>
      </p:cxnSp>
      <p:cxnSp>
        <p:nvCxnSpPr>
          <p:cNvPr id="178" name="Elbow Connector 35"/>
          <p:cNvCxnSpPr>
            <a:stCxn id="107" idx="0"/>
            <a:endCxn id="105" idx="2"/>
          </p:cNvCxnSpPr>
          <p:nvPr/>
        </p:nvCxnSpPr>
        <p:spPr>
          <a:xfrm flipV="1">
            <a:off x="2480130" y="1261851"/>
            <a:ext cx="6124" cy="308000"/>
          </a:xfrm>
          <a:prstGeom prst="straightConnector1">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79" name="Elbow Connector 35"/>
          <p:cNvCxnSpPr>
            <a:stCxn id="94" idx="0"/>
            <a:endCxn id="102" idx="2"/>
          </p:cNvCxnSpPr>
          <p:nvPr/>
        </p:nvCxnSpPr>
        <p:spPr>
          <a:xfrm flipV="1">
            <a:off x="4717965" y="1261851"/>
            <a:ext cx="0" cy="310548"/>
          </a:xfrm>
          <a:prstGeom prst="straightConnector1">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81" name="Elbow Connector 35"/>
          <p:cNvCxnSpPr>
            <a:stCxn id="91" idx="0"/>
            <a:endCxn id="95" idx="2"/>
          </p:cNvCxnSpPr>
          <p:nvPr/>
        </p:nvCxnSpPr>
        <p:spPr>
          <a:xfrm flipH="1" flipV="1">
            <a:off x="4717965" y="1710299"/>
            <a:ext cx="259672" cy="279047"/>
          </a:xfrm>
          <a:prstGeom prst="straightConnector1">
            <a:avLst/>
          </a:prstGeom>
          <a:ln>
            <a:solidFill>
              <a:schemeClr val="accent5">
                <a:lumMod val="40000"/>
                <a:lumOff val="60000"/>
              </a:schemeClr>
            </a:solidFill>
            <a:prstDash val="solid"/>
            <a:headEnd type="stealth"/>
            <a:tailEnd type="stealth"/>
          </a:ln>
        </p:spPr>
        <p:style>
          <a:lnRef idx="1">
            <a:schemeClr val="accent1"/>
          </a:lnRef>
          <a:fillRef idx="0">
            <a:schemeClr val="accent1"/>
          </a:fillRef>
          <a:effectRef idx="0">
            <a:schemeClr val="accent1"/>
          </a:effectRef>
          <a:fontRef idx="minor">
            <a:schemeClr val="tx1"/>
          </a:fontRef>
        </p:style>
      </p:cxnSp>
      <p:cxnSp>
        <p:nvCxnSpPr>
          <p:cNvPr id="182" name="Elbow Connector 35"/>
          <p:cNvCxnSpPr>
            <a:stCxn id="11" idx="0"/>
            <a:endCxn id="92" idx="2"/>
          </p:cNvCxnSpPr>
          <p:nvPr/>
        </p:nvCxnSpPr>
        <p:spPr>
          <a:xfrm flipH="1" flipV="1">
            <a:off x="4977637" y="2127246"/>
            <a:ext cx="783916" cy="1007072"/>
          </a:xfrm>
          <a:prstGeom prst="straightConnector1">
            <a:avLst/>
          </a:prstGeom>
          <a:ln>
            <a:solidFill>
              <a:schemeClr val="accent5">
                <a:lumMod val="40000"/>
                <a:lumOff val="60000"/>
              </a:schemeClr>
            </a:solidFill>
            <a:prstDash val="solid"/>
            <a:headEnd type="stealth"/>
            <a:tailEnd type="stealth"/>
          </a:ln>
        </p:spPr>
        <p:style>
          <a:lnRef idx="1">
            <a:schemeClr val="accent1"/>
          </a:lnRef>
          <a:fillRef idx="0">
            <a:schemeClr val="accent1"/>
          </a:fillRef>
          <a:effectRef idx="0">
            <a:schemeClr val="accent1"/>
          </a:effectRef>
          <a:fontRef idx="minor">
            <a:schemeClr val="tx1"/>
          </a:fontRef>
        </p:style>
      </p:cxnSp>
      <p:cxnSp>
        <p:nvCxnSpPr>
          <p:cNvPr id="185" name="Elbow Connector 35"/>
          <p:cNvCxnSpPr>
            <a:stCxn id="12" idx="2"/>
            <a:endCxn id="78" idx="3"/>
          </p:cNvCxnSpPr>
          <p:nvPr/>
        </p:nvCxnSpPr>
        <p:spPr>
          <a:xfrm rot="5400000">
            <a:off x="5268969" y="2918420"/>
            <a:ext cx="138787" cy="846383"/>
          </a:xfrm>
          <a:prstGeom prst="bentConnector2">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92" name="Elbow Connector 35"/>
          <p:cNvCxnSpPr>
            <a:stCxn id="81" idx="0"/>
            <a:endCxn id="85" idx="2"/>
          </p:cNvCxnSpPr>
          <p:nvPr/>
        </p:nvCxnSpPr>
        <p:spPr>
          <a:xfrm flipV="1">
            <a:off x="4564038" y="2704020"/>
            <a:ext cx="0" cy="175305"/>
          </a:xfrm>
          <a:prstGeom prst="straightConnector1">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93" name="Elbow Connector 35"/>
          <p:cNvCxnSpPr>
            <a:stCxn id="113" idx="0"/>
            <a:endCxn id="111" idx="2"/>
          </p:cNvCxnSpPr>
          <p:nvPr/>
        </p:nvCxnSpPr>
        <p:spPr>
          <a:xfrm flipV="1">
            <a:off x="8818417" y="2704020"/>
            <a:ext cx="0" cy="175305"/>
          </a:xfrm>
          <a:prstGeom prst="straightConnector1">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96" name="Elbow Connector 35"/>
          <p:cNvCxnSpPr>
            <a:stCxn id="16" idx="0"/>
            <a:endCxn id="28" idx="2"/>
          </p:cNvCxnSpPr>
          <p:nvPr/>
        </p:nvCxnSpPr>
        <p:spPr>
          <a:xfrm flipV="1">
            <a:off x="6117990" y="2593750"/>
            <a:ext cx="0" cy="114353"/>
          </a:xfrm>
          <a:prstGeom prst="straightConnector1">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199" name="Elbow Connector 35"/>
          <p:cNvCxnSpPr>
            <a:stCxn id="122" idx="0"/>
            <a:endCxn id="120" idx="2"/>
          </p:cNvCxnSpPr>
          <p:nvPr/>
        </p:nvCxnSpPr>
        <p:spPr>
          <a:xfrm flipV="1">
            <a:off x="9806885" y="3017225"/>
            <a:ext cx="0" cy="117093"/>
          </a:xfrm>
          <a:prstGeom prst="straightConnector1">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02" name="Elbow Connector 35"/>
          <p:cNvCxnSpPr>
            <a:stCxn id="117" idx="2"/>
            <a:endCxn id="125" idx="0"/>
          </p:cNvCxnSpPr>
          <p:nvPr/>
        </p:nvCxnSpPr>
        <p:spPr>
          <a:xfrm>
            <a:off x="8348068" y="3272218"/>
            <a:ext cx="814537" cy="249397"/>
          </a:xfrm>
          <a:prstGeom prst="straightConnector1">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05" name="Elbow Connector 35"/>
          <p:cNvCxnSpPr>
            <a:stCxn id="116" idx="3"/>
            <a:endCxn id="122" idx="1"/>
          </p:cNvCxnSpPr>
          <p:nvPr/>
        </p:nvCxnSpPr>
        <p:spPr>
          <a:xfrm>
            <a:off x="8609373" y="3168793"/>
            <a:ext cx="903134" cy="0"/>
          </a:xfrm>
          <a:prstGeom prst="straightConnector1">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08" name="Elbow Connector 35"/>
          <p:cNvCxnSpPr>
            <a:stCxn id="117" idx="2"/>
            <a:endCxn id="128" idx="0"/>
          </p:cNvCxnSpPr>
          <p:nvPr/>
        </p:nvCxnSpPr>
        <p:spPr>
          <a:xfrm>
            <a:off x="8348068" y="3272218"/>
            <a:ext cx="446463" cy="566961"/>
          </a:xfrm>
          <a:prstGeom prst="straightConnector1">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13" name="Elbow Connector 35"/>
          <p:cNvCxnSpPr>
            <a:stCxn id="117" idx="2"/>
            <a:endCxn id="131" idx="0"/>
          </p:cNvCxnSpPr>
          <p:nvPr/>
        </p:nvCxnSpPr>
        <p:spPr>
          <a:xfrm flipH="1">
            <a:off x="7795038" y="3272218"/>
            <a:ext cx="553030" cy="496732"/>
          </a:xfrm>
          <a:prstGeom prst="straightConnector1">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18" name="Elbow Connector 35"/>
          <p:cNvCxnSpPr>
            <a:stCxn id="117" idx="2"/>
          </p:cNvCxnSpPr>
          <p:nvPr/>
        </p:nvCxnSpPr>
        <p:spPr>
          <a:xfrm flipH="1">
            <a:off x="8250283" y="3272218"/>
            <a:ext cx="97785" cy="803033"/>
          </a:xfrm>
          <a:prstGeom prst="straightConnector1">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22" name="Elbow Connector 35"/>
          <p:cNvCxnSpPr>
            <a:stCxn id="117" idx="2"/>
          </p:cNvCxnSpPr>
          <p:nvPr/>
        </p:nvCxnSpPr>
        <p:spPr>
          <a:xfrm>
            <a:off x="8348068" y="3272218"/>
            <a:ext cx="186382" cy="998041"/>
          </a:xfrm>
          <a:prstGeom prst="straightConnector1">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grpSp>
        <p:nvGrpSpPr>
          <p:cNvPr id="14" name="Group 13"/>
          <p:cNvGrpSpPr/>
          <p:nvPr/>
        </p:nvGrpSpPr>
        <p:grpSpPr>
          <a:xfrm>
            <a:off x="8315811" y="3839179"/>
            <a:ext cx="957440" cy="137900"/>
            <a:chOff x="8315811" y="3839179"/>
            <a:chExt cx="957440" cy="137900"/>
          </a:xfrm>
        </p:grpSpPr>
        <p:sp>
          <p:nvSpPr>
            <p:cNvPr id="128" name="Rectangle 127"/>
            <p:cNvSpPr/>
            <p:nvPr/>
          </p:nvSpPr>
          <p:spPr>
            <a:xfrm>
              <a:off x="8315811" y="3839179"/>
              <a:ext cx="957440" cy="68950"/>
            </a:xfrm>
            <a:prstGeom prst="rect">
              <a:avLst/>
            </a:prstGeom>
            <a:solidFill>
              <a:srgbClr val="FFFFFF"/>
            </a:solidFill>
            <a:ln w="12700" cap="flat" cmpd="sng" algn="ctr">
              <a:solidFill>
                <a:schemeClr val="tx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Duration Uncertainty</a:t>
              </a:r>
            </a:p>
          </p:txBody>
        </p:sp>
        <p:sp>
          <p:nvSpPr>
            <p:cNvPr id="129" name="Rectangle 128"/>
            <p:cNvSpPr/>
            <p:nvPr/>
          </p:nvSpPr>
          <p:spPr>
            <a:xfrm>
              <a:off x="8315811" y="3908129"/>
              <a:ext cx="957440" cy="68950"/>
            </a:xfrm>
            <a:prstGeom prst="rect">
              <a:avLst/>
            </a:prstGeom>
            <a:solidFill>
              <a:srgbClr val="FFFFFF"/>
            </a:solidFill>
            <a:ln w="12700" cap="flat" cmpd="sng" algn="ctr">
              <a:solidFill>
                <a:schemeClr val="tx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cxnSp>
        <p:nvCxnSpPr>
          <p:cNvPr id="226" name="Elbow Connector 35"/>
          <p:cNvCxnSpPr>
            <a:stCxn id="116" idx="1"/>
            <a:endCxn id="11" idx="3"/>
          </p:cNvCxnSpPr>
          <p:nvPr/>
        </p:nvCxnSpPr>
        <p:spPr>
          <a:xfrm flipH="1">
            <a:off x="6198831" y="3168793"/>
            <a:ext cx="1887931" cy="0"/>
          </a:xfrm>
          <a:prstGeom prst="straightConnector1">
            <a:avLst/>
          </a:prstGeom>
          <a:ln>
            <a:solidFill>
              <a:schemeClr val="accent5">
                <a:lumMod val="40000"/>
                <a:lumOff val="60000"/>
              </a:schemeClr>
            </a:solidFill>
            <a:prstDash val="solid"/>
            <a:headEnd type="stealth"/>
            <a:tailEnd type="stealth"/>
          </a:ln>
        </p:spPr>
        <p:style>
          <a:lnRef idx="1">
            <a:schemeClr val="accent1"/>
          </a:lnRef>
          <a:fillRef idx="0">
            <a:schemeClr val="accent1"/>
          </a:fillRef>
          <a:effectRef idx="0">
            <a:schemeClr val="accent1"/>
          </a:effectRef>
          <a:fontRef idx="minor">
            <a:schemeClr val="tx1"/>
          </a:fontRef>
        </p:style>
      </p:cxnSp>
      <p:cxnSp>
        <p:nvCxnSpPr>
          <p:cNvPr id="229" name="Elbow Connector 35"/>
          <p:cNvCxnSpPr>
            <a:stCxn id="116" idx="1"/>
            <a:endCxn id="40" idx="3"/>
          </p:cNvCxnSpPr>
          <p:nvPr/>
        </p:nvCxnSpPr>
        <p:spPr>
          <a:xfrm flipH="1">
            <a:off x="7150145" y="3168793"/>
            <a:ext cx="936617" cy="420958"/>
          </a:xfrm>
          <a:prstGeom prst="straightConnector1">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32" name="Elbow Connector 35"/>
          <p:cNvCxnSpPr>
            <a:stCxn id="116" idx="1"/>
            <a:endCxn id="43" idx="3"/>
          </p:cNvCxnSpPr>
          <p:nvPr/>
        </p:nvCxnSpPr>
        <p:spPr>
          <a:xfrm flipH="1">
            <a:off x="7045624" y="3168793"/>
            <a:ext cx="1041138" cy="599704"/>
          </a:xfrm>
          <a:prstGeom prst="straightConnector1">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35" name="Elbow Connector 35"/>
          <p:cNvCxnSpPr>
            <a:stCxn id="116" idx="1"/>
            <a:endCxn id="46" idx="3"/>
          </p:cNvCxnSpPr>
          <p:nvPr/>
        </p:nvCxnSpPr>
        <p:spPr>
          <a:xfrm flipH="1">
            <a:off x="7045624" y="3168793"/>
            <a:ext cx="1041138" cy="778450"/>
          </a:xfrm>
          <a:prstGeom prst="straightConnector1">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grpSp>
        <p:nvGrpSpPr>
          <p:cNvPr id="18" name="Group 17"/>
          <p:cNvGrpSpPr/>
          <p:nvPr/>
        </p:nvGrpSpPr>
        <p:grpSpPr>
          <a:xfrm>
            <a:off x="7355514" y="3768950"/>
            <a:ext cx="879048" cy="137900"/>
            <a:chOff x="7355514" y="3768950"/>
            <a:chExt cx="879048" cy="137900"/>
          </a:xfrm>
        </p:grpSpPr>
        <p:sp>
          <p:nvSpPr>
            <p:cNvPr id="131" name="Rectangle 130"/>
            <p:cNvSpPr/>
            <p:nvPr/>
          </p:nvSpPr>
          <p:spPr>
            <a:xfrm>
              <a:off x="7355514" y="3768950"/>
              <a:ext cx="879048" cy="68950"/>
            </a:xfrm>
            <a:prstGeom prst="rect">
              <a:avLst/>
            </a:prstGeom>
            <a:solidFill>
              <a:srgbClr val="FFFFFF"/>
            </a:solidFill>
            <a:ln w="12700" cap="flat" cmpd="sng" algn="ctr">
              <a:solidFill>
                <a:schemeClr val="tx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Default Duration</a:t>
              </a:r>
            </a:p>
          </p:txBody>
        </p:sp>
        <p:sp>
          <p:nvSpPr>
            <p:cNvPr id="132" name="Rectangle 131"/>
            <p:cNvSpPr/>
            <p:nvPr/>
          </p:nvSpPr>
          <p:spPr>
            <a:xfrm>
              <a:off x="7355514" y="3837900"/>
              <a:ext cx="879048" cy="68950"/>
            </a:xfrm>
            <a:prstGeom prst="rect">
              <a:avLst/>
            </a:prstGeom>
            <a:solidFill>
              <a:srgbClr val="FFFFFF"/>
            </a:solidFill>
            <a:ln w="12700" cap="flat" cmpd="sng" algn="ctr">
              <a:solidFill>
                <a:schemeClr val="tx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106" name="Group 105"/>
          <p:cNvGrpSpPr/>
          <p:nvPr/>
        </p:nvGrpSpPr>
        <p:grpSpPr>
          <a:xfrm>
            <a:off x="4553421" y="4091514"/>
            <a:ext cx="3896719" cy="137900"/>
            <a:chOff x="4553421" y="4084846"/>
            <a:chExt cx="3896719" cy="137900"/>
          </a:xfrm>
        </p:grpSpPr>
        <p:grpSp>
          <p:nvGrpSpPr>
            <p:cNvPr id="75" name="Group 74"/>
            <p:cNvGrpSpPr/>
            <p:nvPr/>
          </p:nvGrpSpPr>
          <p:grpSpPr>
            <a:xfrm>
              <a:off x="6114722" y="4084846"/>
              <a:ext cx="894972" cy="137900"/>
              <a:chOff x="6114722" y="4062946"/>
              <a:chExt cx="894972" cy="137900"/>
            </a:xfrm>
          </p:grpSpPr>
          <p:sp>
            <p:nvSpPr>
              <p:cNvPr id="49" name="Rectangle 48"/>
              <p:cNvSpPr/>
              <p:nvPr/>
            </p:nvSpPr>
            <p:spPr>
              <a:xfrm>
                <a:off x="6114722" y="4062946"/>
                <a:ext cx="894972" cy="68950"/>
              </a:xfrm>
              <a:prstGeom prst="rect">
                <a:avLst/>
              </a:prstGeom>
              <a:solidFill>
                <a:srgbClr val="FFFFFF"/>
              </a:solidFill>
              <a:ln w="12700" cap="flat" cmpd="sng" algn="ctr">
                <a:solidFill>
                  <a:schemeClr val="tx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Pause Duration Max</a:t>
                </a:r>
              </a:p>
            </p:txBody>
          </p:sp>
          <p:sp>
            <p:nvSpPr>
              <p:cNvPr id="50" name="Rectangle 49"/>
              <p:cNvSpPr/>
              <p:nvPr/>
            </p:nvSpPr>
            <p:spPr>
              <a:xfrm>
                <a:off x="6114722" y="4131896"/>
                <a:ext cx="894972" cy="68950"/>
              </a:xfrm>
              <a:prstGeom prst="rect">
                <a:avLst/>
              </a:prstGeom>
              <a:solidFill>
                <a:srgbClr val="FFFFFF"/>
              </a:solidFill>
              <a:ln w="12700" cap="flat" cmpd="sng" algn="ctr">
                <a:solidFill>
                  <a:schemeClr val="tx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54" name="Group 53"/>
            <p:cNvGrpSpPr/>
            <p:nvPr/>
          </p:nvGrpSpPr>
          <p:grpSpPr>
            <a:xfrm>
              <a:off x="4553421" y="4084846"/>
              <a:ext cx="1031342" cy="137900"/>
              <a:chOff x="4553421" y="4071227"/>
              <a:chExt cx="1031342" cy="137900"/>
            </a:xfrm>
          </p:grpSpPr>
          <p:sp>
            <p:nvSpPr>
              <p:cNvPr id="58" name="Rectangle 57"/>
              <p:cNvSpPr/>
              <p:nvPr/>
            </p:nvSpPr>
            <p:spPr>
              <a:xfrm>
                <a:off x="4553421" y="4071227"/>
                <a:ext cx="1031342" cy="68950"/>
              </a:xfrm>
              <a:prstGeom prst="rect">
                <a:avLst/>
              </a:prstGeom>
              <a:solidFill>
                <a:srgbClr val="FFFFFF"/>
              </a:solidFill>
              <a:ln w="12700" cap="flat" cmpd="sng" algn="ctr">
                <a:solidFill>
                  <a:schemeClr val="tx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Active Duration Sum Max</a:t>
                </a:r>
              </a:p>
            </p:txBody>
          </p:sp>
          <p:sp>
            <p:nvSpPr>
              <p:cNvPr id="59" name="Rectangle 58"/>
              <p:cNvSpPr/>
              <p:nvPr/>
            </p:nvSpPr>
            <p:spPr>
              <a:xfrm>
                <a:off x="4553421" y="4140177"/>
                <a:ext cx="1031342" cy="68950"/>
              </a:xfrm>
              <a:prstGeom prst="rect">
                <a:avLst/>
              </a:prstGeom>
              <a:solidFill>
                <a:srgbClr val="FFFFFF"/>
              </a:solidFill>
              <a:ln w="12700" cap="flat" cmpd="sng" algn="ctr">
                <a:solidFill>
                  <a:schemeClr val="tx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13" name="Group 12"/>
            <p:cNvGrpSpPr/>
            <p:nvPr/>
          </p:nvGrpSpPr>
          <p:grpSpPr>
            <a:xfrm>
              <a:off x="7687862" y="4084846"/>
              <a:ext cx="762278" cy="137900"/>
              <a:chOff x="7687862" y="4056271"/>
              <a:chExt cx="762278" cy="137900"/>
            </a:xfrm>
          </p:grpSpPr>
          <p:sp>
            <p:nvSpPr>
              <p:cNvPr id="134" name="Rectangle 133"/>
              <p:cNvSpPr/>
              <p:nvPr/>
            </p:nvSpPr>
            <p:spPr>
              <a:xfrm>
                <a:off x="7687862" y="4056271"/>
                <a:ext cx="762278" cy="68950"/>
              </a:xfrm>
              <a:prstGeom prst="rect">
                <a:avLst/>
              </a:prstGeom>
              <a:solidFill>
                <a:srgbClr val="FFFFFF"/>
              </a:solidFill>
              <a:ln w="12700" cap="flat" cmpd="sng" algn="ctr">
                <a:solidFill>
                  <a:schemeClr val="tx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Min Duration</a:t>
                </a:r>
              </a:p>
            </p:txBody>
          </p:sp>
          <p:sp>
            <p:nvSpPr>
              <p:cNvPr id="135" name="Rectangle 134"/>
              <p:cNvSpPr/>
              <p:nvPr/>
            </p:nvSpPr>
            <p:spPr>
              <a:xfrm>
                <a:off x="7687862" y="4125221"/>
                <a:ext cx="762278" cy="68950"/>
              </a:xfrm>
              <a:prstGeom prst="rect">
                <a:avLst/>
              </a:prstGeom>
              <a:solidFill>
                <a:srgbClr val="FFFFFF"/>
              </a:solidFill>
              <a:ln w="12700" cap="flat" cmpd="sng" algn="ctr">
                <a:solidFill>
                  <a:schemeClr val="tx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cxnSp>
        <p:nvCxnSpPr>
          <p:cNvPr id="247" name="Elbow Connector 35"/>
          <p:cNvCxnSpPr>
            <a:stCxn id="11" idx="0"/>
            <a:endCxn id="82" idx="3"/>
          </p:cNvCxnSpPr>
          <p:nvPr/>
        </p:nvCxnSpPr>
        <p:spPr>
          <a:xfrm flipH="1" flipV="1">
            <a:off x="5045005" y="2982750"/>
            <a:ext cx="716548" cy="151568"/>
          </a:xfrm>
          <a:prstGeom prst="straightConnector1">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51" name="Elbow Connector 35"/>
          <p:cNvCxnSpPr>
            <a:stCxn id="11" idx="0"/>
            <a:endCxn id="34" idx="1"/>
          </p:cNvCxnSpPr>
          <p:nvPr/>
        </p:nvCxnSpPr>
        <p:spPr>
          <a:xfrm flipV="1">
            <a:off x="5761553" y="2913800"/>
            <a:ext cx="1163216" cy="220518"/>
          </a:xfrm>
          <a:prstGeom prst="straightConnector1">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57" name="Elbow Connector 35"/>
          <p:cNvCxnSpPr>
            <a:stCxn id="82" idx="1"/>
            <a:endCxn id="184" idx="3"/>
          </p:cNvCxnSpPr>
          <p:nvPr/>
        </p:nvCxnSpPr>
        <p:spPr>
          <a:xfrm flipH="1" flipV="1">
            <a:off x="3785840" y="2948275"/>
            <a:ext cx="297231" cy="0"/>
          </a:xfrm>
          <a:prstGeom prst="straightConnector1">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60" name="Elbow Connector 35"/>
          <p:cNvCxnSpPr>
            <a:stCxn id="162" idx="0"/>
            <a:endCxn id="160" idx="2"/>
          </p:cNvCxnSpPr>
          <p:nvPr/>
        </p:nvCxnSpPr>
        <p:spPr>
          <a:xfrm flipH="1" flipV="1">
            <a:off x="5202195" y="4831414"/>
            <a:ext cx="0" cy="112288"/>
          </a:xfrm>
          <a:prstGeom prst="straightConnector1">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63" name="Elbow Connector 35"/>
          <p:cNvCxnSpPr>
            <a:stCxn id="151" idx="2"/>
            <a:endCxn id="190" idx="0"/>
          </p:cNvCxnSpPr>
          <p:nvPr/>
        </p:nvCxnSpPr>
        <p:spPr>
          <a:xfrm flipH="1">
            <a:off x="1501578" y="5081602"/>
            <a:ext cx="229213" cy="195362"/>
          </a:xfrm>
          <a:prstGeom prst="straightConnector1">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72" name="Elbow Connector 35"/>
          <p:cNvCxnSpPr>
            <a:stCxn id="150" idx="0"/>
            <a:endCxn id="148" idx="2"/>
          </p:cNvCxnSpPr>
          <p:nvPr/>
        </p:nvCxnSpPr>
        <p:spPr>
          <a:xfrm rot="5400000" flipH="1" flipV="1">
            <a:off x="1849662" y="4712543"/>
            <a:ext cx="112288" cy="350031"/>
          </a:xfrm>
          <a:prstGeom prst="bentConnector3">
            <a:avLst>
              <a:gd name="adj1" fmla="val 50000"/>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76" name="Elbow Connector 35"/>
          <p:cNvCxnSpPr>
            <a:stCxn id="153" idx="0"/>
            <a:endCxn id="148" idx="2"/>
          </p:cNvCxnSpPr>
          <p:nvPr/>
        </p:nvCxnSpPr>
        <p:spPr>
          <a:xfrm rot="16200000" flipV="1">
            <a:off x="2233027" y="4679209"/>
            <a:ext cx="448478" cy="752887"/>
          </a:xfrm>
          <a:prstGeom prst="bentConnector3">
            <a:avLst>
              <a:gd name="adj1" fmla="val 85398"/>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80" name="Elbow Connector 35"/>
          <p:cNvCxnSpPr>
            <a:stCxn id="153" idx="1"/>
            <a:endCxn id="190" idx="3"/>
          </p:cNvCxnSpPr>
          <p:nvPr/>
        </p:nvCxnSpPr>
        <p:spPr>
          <a:xfrm rot="10800000" flipV="1">
            <a:off x="2022083" y="5314366"/>
            <a:ext cx="287383" cy="155399"/>
          </a:xfrm>
          <a:prstGeom prst="bentConnector3">
            <a:avLst>
              <a:gd name="adj1" fmla="val 50000"/>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83" name="Elbow Connector 35"/>
          <p:cNvCxnSpPr>
            <a:stCxn id="145" idx="2"/>
            <a:endCxn id="151" idx="3"/>
          </p:cNvCxnSpPr>
          <p:nvPr/>
        </p:nvCxnSpPr>
        <p:spPr>
          <a:xfrm flipH="1">
            <a:off x="2224007" y="4831414"/>
            <a:ext cx="1409129" cy="215713"/>
          </a:xfrm>
          <a:prstGeom prst="straightConnector1">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cxnSp>
        <p:nvCxnSpPr>
          <p:cNvPr id="290" name="Elbow Connector 35"/>
          <p:cNvCxnSpPr>
            <a:stCxn id="156" idx="0"/>
          </p:cNvCxnSpPr>
          <p:nvPr/>
        </p:nvCxnSpPr>
        <p:spPr>
          <a:xfrm flipH="1" flipV="1">
            <a:off x="1791201" y="5105665"/>
            <a:ext cx="376587" cy="693637"/>
          </a:xfrm>
          <a:prstGeom prst="straightConnector1">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sp>
        <p:nvSpPr>
          <p:cNvPr id="190" name="Rectangle 189"/>
          <p:cNvSpPr/>
          <p:nvPr/>
        </p:nvSpPr>
        <p:spPr>
          <a:xfrm>
            <a:off x="981074" y="5276964"/>
            <a:ext cx="1041008" cy="385603"/>
          </a:xfrm>
          <a:prstGeom prst="rect">
            <a:avLst/>
          </a:prstGeom>
          <a:solidFill>
            <a:srgbClr val="FFFFFF"/>
          </a:solidFill>
          <a:ln w="12700" cap="flat" cmpd="sng" algn="ctr">
            <a:solidFill>
              <a:schemeClr val="tx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182880" tIns="9144" rIns="9144" bIns="9144" rtlCol="0" anchor="t"/>
          <a:lstStyle/>
          <a:p>
            <a:r>
              <a:rPr lang="en-US" sz="400" dirty="0">
                <a:solidFill>
                  <a:schemeClr val="tx1"/>
                </a:solidFill>
              </a:rPr>
              <a:t>(“S4ener: Pause”,</a:t>
            </a:r>
            <a:br>
              <a:rPr lang="en-US" sz="400" dirty="0">
                <a:solidFill>
                  <a:schemeClr val="tx1"/>
                </a:solidFill>
              </a:rPr>
            </a:br>
            <a:r>
              <a:rPr lang="en-US" sz="400" dirty="0">
                <a:solidFill>
                  <a:schemeClr val="tx1"/>
                </a:solidFill>
              </a:rPr>
              <a:t>“S4ener : Resume”,</a:t>
            </a:r>
            <a:br>
              <a:rPr lang="en-US" sz="400" dirty="0">
                <a:solidFill>
                  <a:schemeClr val="tx1"/>
                </a:solidFill>
              </a:rPr>
            </a:br>
            <a:r>
              <a:rPr lang="en-US" sz="400" dirty="0">
                <a:solidFill>
                  <a:schemeClr val="tx1"/>
                </a:solidFill>
              </a:rPr>
              <a:t>“S4ener : Reduce”,</a:t>
            </a:r>
            <a:br>
              <a:rPr lang="en-US" sz="400" dirty="0">
                <a:solidFill>
                  <a:schemeClr val="tx1"/>
                </a:solidFill>
              </a:rPr>
            </a:br>
            <a:r>
              <a:rPr lang="en-US" sz="400" dirty="0">
                <a:solidFill>
                  <a:schemeClr val="tx1"/>
                </a:solidFill>
              </a:rPr>
              <a:t>“S4ener : Increase”,</a:t>
            </a:r>
            <a:br>
              <a:rPr lang="en-US" sz="400" dirty="0">
                <a:solidFill>
                  <a:schemeClr val="tx1"/>
                </a:solidFill>
              </a:rPr>
            </a:br>
            <a:r>
              <a:rPr lang="en-US" sz="400" dirty="0">
                <a:solidFill>
                  <a:schemeClr val="tx1"/>
                </a:solidFill>
              </a:rPr>
              <a:t>“S4ener : Emergency”,</a:t>
            </a:r>
            <a:br>
              <a:rPr lang="en-US" sz="400" dirty="0">
                <a:solidFill>
                  <a:schemeClr val="tx1"/>
                </a:solidFill>
              </a:rPr>
            </a:br>
            <a:r>
              <a:rPr lang="en-US" sz="400" dirty="0">
                <a:solidFill>
                  <a:schemeClr val="tx1"/>
                </a:solidFill>
              </a:rPr>
              <a:t>“S4ener : Normal”,</a:t>
            </a:r>
            <a:br>
              <a:rPr lang="en-US" sz="400" dirty="0">
                <a:solidFill>
                  <a:schemeClr val="tx1"/>
                </a:solidFill>
              </a:rPr>
            </a:br>
            <a:endParaRPr lang="en-US" sz="400" dirty="0">
              <a:solidFill>
                <a:schemeClr val="tx1"/>
              </a:solidFill>
            </a:endParaRPr>
          </a:p>
        </p:txBody>
      </p:sp>
      <p:cxnSp>
        <p:nvCxnSpPr>
          <p:cNvPr id="293" name="Elbow Connector 35"/>
          <p:cNvCxnSpPr>
            <a:stCxn id="145" idx="2"/>
            <a:endCxn id="156" idx="0"/>
          </p:cNvCxnSpPr>
          <p:nvPr/>
        </p:nvCxnSpPr>
        <p:spPr>
          <a:xfrm flipH="1">
            <a:off x="2167788" y="4831414"/>
            <a:ext cx="1465348" cy="967888"/>
          </a:xfrm>
          <a:prstGeom prst="straightConnector1">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grpSp>
        <p:nvGrpSpPr>
          <p:cNvPr id="87" name="Group 86"/>
          <p:cNvGrpSpPr/>
          <p:nvPr/>
        </p:nvGrpSpPr>
        <p:grpSpPr>
          <a:xfrm>
            <a:off x="2309465" y="5279892"/>
            <a:ext cx="2511797" cy="137900"/>
            <a:chOff x="2309465" y="5279892"/>
            <a:chExt cx="2511797" cy="137900"/>
          </a:xfrm>
        </p:grpSpPr>
        <p:grpSp>
          <p:nvGrpSpPr>
            <p:cNvPr id="188" name="Group 187"/>
            <p:cNvGrpSpPr/>
            <p:nvPr/>
          </p:nvGrpSpPr>
          <p:grpSpPr>
            <a:xfrm>
              <a:off x="2309465" y="5279892"/>
              <a:ext cx="1048487" cy="137900"/>
              <a:chOff x="2628896" y="5279892"/>
              <a:chExt cx="917579" cy="137900"/>
            </a:xfrm>
          </p:grpSpPr>
          <p:sp>
            <p:nvSpPr>
              <p:cNvPr id="153" name="Rectangle 152"/>
              <p:cNvSpPr/>
              <p:nvPr/>
            </p:nvSpPr>
            <p:spPr>
              <a:xfrm>
                <a:off x="2628896" y="5279892"/>
                <a:ext cx="917579"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Event Action Produce</a:t>
                </a:r>
              </a:p>
            </p:txBody>
          </p:sp>
          <p:sp>
            <p:nvSpPr>
              <p:cNvPr id="154" name="Rectangle 153"/>
              <p:cNvSpPr/>
              <p:nvPr/>
            </p:nvSpPr>
            <p:spPr>
              <a:xfrm>
                <a:off x="2628896" y="5348842"/>
                <a:ext cx="917579" cy="68950"/>
              </a:xfrm>
              <a:prstGeom prst="rect">
                <a:avLst/>
              </a:prstGeom>
              <a:solidFill>
                <a:srgbClr val="FFFFFF"/>
              </a:solidFill>
              <a:ln w="12700" cap="flat" cmpd="sng" algn="ctr">
                <a:solidFill>
                  <a:schemeClr val="tx2"/>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nvGrpSpPr>
            <p:cNvPr id="66" name="Group 65"/>
            <p:cNvGrpSpPr/>
            <p:nvPr/>
          </p:nvGrpSpPr>
          <p:grpSpPr>
            <a:xfrm>
              <a:off x="4292934" y="5279892"/>
              <a:ext cx="528328" cy="137900"/>
              <a:chOff x="4292934" y="5295312"/>
              <a:chExt cx="528328" cy="137900"/>
            </a:xfrm>
          </p:grpSpPr>
          <p:sp>
            <p:nvSpPr>
              <p:cNvPr id="165" name="Rectangle 164"/>
              <p:cNvSpPr/>
              <p:nvPr/>
            </p:nvSpPr>
            <p:spPr>
              <a:xfrm>
                <a:off x="4292934" y="5295312"/>
                <a:ext cx="528328"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400" dirty="0">
                    <a:solidFill>
                      <a:schemeClr val="tx1"/>
                    </a:solidFill>
                  </a:rPr>
                  <a:t>S4ener: State</a:t>
                </a:r>
              </a:p>
            </p:txBody>
          </p:sp>
          <p:sp>
            <p:nvSpPr>
              <p:cNvPr id="166" name="Rectangle 165"/>
              <p:cNvSpPr/>
              <p:nvPr/>
            </p:nvSpPr>
            <p:spPr>
              <a:xfrm>
                <a:off x="4292934" y="5364262"/>
                <a:ext cx="528328" cy="68950"/>
              </a:xfrm>
              <a:prstGeom prst="rect">
                <a:avLst/>
              </a:prstGeom>
              <a:noFill/>
              <a:ln w="12700" cap="flat" cmpd="sng" algn="ctr">
                <a:solidFill>
                  <a:schemeClr val="tx2"/>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400" dirty="0">
                  <a:solidFill>
                    <a:schemeClr val="tx1"/>
                  </a:solidFill>
                </a:endParaRPr>
              </a:p>
            </p:txBody>
          </p:sp>
        </p:grpSp>
      </p:grpSp>
      <p:cxnSp>
        <p:nvCxnSpPr>
          <p:cNvPr id="296" name="Elbow Connector 35"/>
          <p:cNvCxnSpPr>
            <a:endCxn id="162" idx="1"/>
          </p:cNvCxnSpPr>
          <p:nvPr/>
        </p:nvCxnSpPr>
        <p:spPr>
          <a:xfrm>
            <a:off x="3922758" y="4838002"/>
            <a:ext cx="944232" cy="140175"/>
          </a:xfrm>
          <a:prstGeom prst="straightConnector1">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cxnSp>
        <p:nvCxnSpPr>
          <p:cNvPr id="302" name="Elbow Connector 35"/>
          <p:cNvCxnSpPr>
            <a:stCxn id="168" idx="0"/>
            <a:endCxn id="166" idx="2"/>
          </p:cNvCxnSpPr>
          <p:nvPr/>
        </p:nvCxnSpPr>
        <p:spPr>
          <a:xfrm flipV="1">
            <a:off x="4555565" y="5417792"/>
            <a:ext cx="1533" cy="133502"/>
          </a:xfrm>
          <a:prstGeom prst="straightConnector1">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306" name="Elbow Connector 35"/>
          <p:cNvCxnSpPr>
            <a:stCxn id="171" idx="0"/>
            <a:endCxn id="169" idx="2"/>
          </p:cNvCxnSpPr>
          <p:nvPr/>
        </p:nvCxnSpPr>
        <p:spPr>
          <a:xfrm rot="5400000" flipH="1" flipV="1">
            <a:off x="4276066" y="5519803"/>
            <a:ext cx="110108" cy="448890"/>
          </a:xfrm>
          <a:prstGeom prst="bentConnector3">
            <a:avLst>
              <a:gd name="adj1" fmla="val 50000"/>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309" name="Elbow Connector 35"/>
          <p:cNvCxnSpPr>
            <a:stCxn id="174" idx="0"/>
            <a:endCxn id="169" idx="2"/>
          </p:cNvCxnSpPr>
          <p:nvPr/>
        </p:nvCxnSpPr>
        <p:spPr>
          <a:xfrm flipH="1" flipV="1">
            <a:off x="4555565" y="5689194"/>
            <a:ext cx="434929" cy="414897"/>
          </a:xfrm>
          <a:prstGeom prst="straightConnector1">
            <a:avLst/>
          </a:prstGeom>
          <a:ln>
            <a:prstDash val="solid"/>
            <a:tailEnd type="stealth"/>
          </a:ln>
        </p:spPr>
        <p:style>
          <a:lnRef idx="1">
            <a:schemeClr val="accent1"/>
          </a:lnRef>
          <a:fillRef idx="0">
            <a:schemeClr val="accent1"/>
          </a:fillRef>
          <a:effectRef idx="0">
            <a:schemeClr val="accent1"/>
          </a:effectRef>
          <a:fontRef idx="minor">
            <a:schemeClr val="tx1"/>
          </a:fontRef>
        </p:style>
      </p:cxnSp>
      <p:cxnSp>
        <p:nvCxnSpPr>
          <p:cNvPr id="313" name="Elbow Connector 35"/>
          <p:cNvCxnSpPr>
            <a:stCxn id="171" idx="3"/>
            <a:endCxn id="189" idx="1"/>
          </p:cNvCxnSpPr>
          <p:nvPr/>
        </p:nvCxnSpPr>
        <p:spPr>
          <a:xfrm>
            <a:off x="4553421" y="5833777"/>
            <a:ext cx="1013378" cy="5128"/>
          </a:xfrm>
          <a:prstGeom prst="straightConnector1">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cxnSp>
        <p:nvCxnSpPr>
          <p:cNvPr id="318" name="Elbow Connector 35"/>
          <p:cNvCxnSpPr>
            <a:stCxn id="174" idx="3"/>
            <a:endCxn id="189" idx="2"/>
          </p:cNvCxnSpPr>
          <p:nvPr/>
        </p:nvCxnSpPr>
        <p:spPr>
          <a:xfrm flipV="1">
            <a:off x="5458194" y="6031706"/>
            <a:ext cx="644079" cy="106860"/>
          </a:xfrm>
          <a:prstGeom prst="bentConnector2">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cxnSp>
        <p:nvCxnSpPr>
          <p:cNvPr id="326" name="Elbow Connector 35"/>
          <p:cNvCxnSpPr>
            <a:stCxn id="156" idx="3"/>
            <a:endCxn id="171" idx="1"/>
          </p:cNvCxnSpPr>
          <p:nvPr/>
        </p:nvCxnSpPr>
        <p:spPr>
          <a:xfrm>
            <a:off x="2663861" y="5833777"/>
            <a:ext cx="996068" cy="0"/>
          </a:xfrm>
          <a:prstGeom prst="straightConnector1">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cxnSp>
        <p:nvCxnSpPr>
          <p:cNvPr id="329" name="Elbow Connector 35"/>
          <p:cNvCxnSpPr>
            <a:stCxn id="156" idx="3"/>
            <a:endCxn id="174" idx="1"/>
          </p:cNvCxnSpPr>
          <p:nvPr/>
        </p:nvCxnSpPr>
        <p:spPr>
          <a:xfrm>
            <a:off x="2663861" y="5833777"/>
            <a:ext cx="1858932" cy="304789"/>
          </a:xfrm>
          <a:prstGeom prst="bentConnector3">
            <a:avLst>
              <a:gd name="adj1" fmla="val 16695"/>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sp>
        <p:nvSpPr>
          <p:cNvPr id="338" name="Rectangle 337"/>
          <p:cNvSpPr/>
          <p:nvPr/>
        </p:nvSpPr>
        <p:spPr>
          <a:xfrm>
            <a:off x="3816423" y="1201252"/>
            <a:ext cx="517770" cy="6155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r>
              <a:rPr lang="en-US" sz="400" dirty="0">
                <a:solidFill>
                  <a:schemeClr val="tx1"/>
                </a:solidFill>
              </a:rPr>
              <a:t>Serf: Has profile</a:t>
            </a:r>
          </a:p>
        </p:txBody>
      </p:sp>
      <p:sp>
        <p:nvSpPr>
          <p:cNvPr id="339" name="Rectangle 338"/>
          <p:cNvSpPr/>
          <p:nvPr/>
        </p:nvSpPr>
        <p:spPr>
          <a:xfrm>
            <a:off x="3816423" y="1636552"/>
            <a:ext cx="517770" cy="6155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r>
              <a:rPr lang="en-US" sz="400" dirty="0">
                <a:solidFill>
                  <a:schemeClr val="tx1"/>
                </a:solidFill>
              </a:rPr>
              <a:t>S4ener: Exposes</a:t>
            </a:r>
          </a:p>
        </p:txBody>
      </p:sp>
      <p:sp>
        <p:nvSpPr>
          <p:cNvPr id="340" name="Rectangle 339"/>
          <p:cNvSpPr/>
          <p:nvPr/>
        </p:nvSpPr>
        <p:spPr>
          <a:xfrm>
            <a:off x="2779521" y="1636552"/>
            <a:ext cx="640080" cy="6155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r>
              <a:rPr lang="en-US" sz="400" dirty="0">
                <a:solidFill>
                  <a:schemeClr val="tx1"/>
                </a:solidFill>
              </a:rPr>
              <a:t>S4ener: Belongs to</a:t>
            </a:r>
          </a:p>
        </p:txBody>
      </p:sp>
      <p:sp>
        <p:nvSpPr>
          <p:cNvPr id="341" name="Rectangle 340"/>
          <p:cNvSpPr/>
          <p:nvPr/>
        </p:nvSpPr>
        <p:spPr>
          <a:xfrm>
            <a:off x="4823050" y="1732335"/>
            <a:ext cx="640080" cy="6155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r>
              <a:rPr lang="en-US" sz="400" dirty="0">
                <a:solidFill>
                  <a:schemeClr val="tx1"/>
                </a:solidFill>
              </a:rPr>
              <a:t>S4ener: Belongs to</a:t>
            </a:r>
          </a:p>
        </p:txBody>
      </p:sp>
      <p:sp>
        <p:nvSpPr>
          <p:cNvPr id="342" name="Rectangle 341"/>
          <p:cNvSpPr/>
          <p:nvPr/>
        </p:nvSpPr>
        <p:spPr>
          <a:xfrm>
            <a:off x="4927825" y="1853272"/>
            <a:ext cx="640080" cy="6155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r>
              <a:rPr lang="en-US" sz="400" dirty="0">
                <a:solidFill>
                  <a:schemeClr val="tx1"/>
                </a:solidFill>
              </a:rPr>
              <a:t>Serf: Consist of</a:t>
            </a:r>
          </a:p>
        </p:txBody>
      </p:sp>
      <p:sp>
        <p:nvSpPr>
          <p:cNvPr id="343" name="Rectangle 342"/>
          <p:cNvSpPr/>
          <p:nvPr/>
        </p:nvSpPr>
        <p:spPr>
          <a:xfrm>
            <a:off x="2550318" y="1780387"/>
            <a:ext cx="640080" cy="6155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r>
              <a:rPr lang="en-US" sz="400" dirty="0">
                <a:solidFill>
                  <a:schemeClr val="tx1"/>
                </a:solidFill>
              </a:rPr>
              <a:t>S4ener: Has device</a:t>
            </a:r>
          </a:p>
        </p:txBody>
      </p:sp>
      <p:cxnSp>
        <p:nvCxnSpPr>
          <p:cNvPr id="344" name="Elbow Connector 35"/>
          <p:cNvCxnSpPr>
            <a:stCxn id="147" idx="0"/>
            <a:endCxn id="108" idx="2"/>
          </p:cNvCxnSpPr>
          <p:nvPr/>
        </p:nvCxnSpPr>
        <p:spPr>
          <a:xfrm rot="5400000" flipH="1" flipV="1">
            <a:off x="787595" y="3000979"/>
            <a:ext cx="2985763" cy="399308"/>
          </a:xfrm>
          <a:prstGeom prst="bentConnector3">
            <a:avLst>
              <a:gd name="adj1" fmla="val 50000"/>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sp>
        <p:nvSpPr>
          <p:cNvPr id="348" name="Rectangle 347"/>
          <p:cNvSpPr/>
          <p:nvPr/>
        </p:nvSpPr>
        <p:spPr>
          <a:xfrm>
            <a:off x="5649841" y="2885347"/>
            <a:ext cx="640080" cy="6155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r>
              <a:rPr lang="en-US" sz="400" dirty="0">
                <a:solidFill>
                  <a:schemeClr val="tx1"/>
                </a:solidFill>
              </a:rPr>
              <a:t>Serf: </a:t>
            </a:r>
            <a:br>
              <a:rPr lang="en-US" sz="400" dirty="0">
                <a:solidFill>
                  <a:schemeClr val="tx1"/>
                </a:solidFill>
              </a:rPr>
            </a:br>
            <a:r>
              <a:rPr lang="en-US" sz="400" dirty="0">
                <a:solidFill>
                  <a:schemeClr val="tx1"/>
                </a:solidFill>
              </a:rPr>
              <a:t>Consist of</a:t>
            </a:r>
          </a:p>
        </p:txBody>
      </p:sp>
      <p:sp>
        <p:nvSpPr>
          <p:cNvPr id="349" name="Rectangle 348"/>
          <p:cNvSpPr/>
          <p:nvPr/>
        </p:nvSpPr>
        <p:spPr>
          <a:xfrm>
            <a:off x="5125854" y="2928080"/>
            <a:ext cx="640080" cy="6155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r>
              <a:rPr lang="en-US" sz="400" dirty="0">
                <a:solidFill>
                  <a:schemeClr val="tx1"/>
                </a:solidFill>
              </a:rPr>
              <a:t>Serf: Has state</a:t>
            </a:r>
          </a:p>
        </p:txBody>
      </p:sp>
      <p:sp>
        <p:nvSpPr>
          <p:cNvPr id="350" name="Rectangle 349"/>
          <p:cNvSpPr/>
          <p:nvPr/>
        </p:nvSpPr>
        <p:spPr>
          <a:xfrm>
            <a:off x="6249631" y="3218760"/>
            <a:ext cx="640080" cy="6155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r>
              <a:rPr lang="en-US" sz="400" dirty="0">
                <a:solidFill>
                  <a:schemeClr val="tx1"/>
                </a:solidFill>
              </a:rPr>
              <a:t>S4ener: Belongs to</a:t>
            </a:r>
          </a:p>
        </p:txBody>
      </p:sp>
      <p:sp>
        <p:nvSpPr>
          <p:cNvPr id="351" name="Rectangle 350"/>
          <p:cNvSpPr/>
          <p:nvPr/>
        </p:nvSpPr>
        <p:spPr>
          <a:xfrm>
            <a:off x="6129937" y="2876651"/>
            <a:ext cx="640080" cy="6155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r>
              <a:rPr lang="en-US" sz="400" dirty="0">
                <a:solidFill>
                  <a:schemeClr val="tx1"/>
                </a:solidFill>
              </a:rPr>
              <a:t>Serf: Has price</a:t>
            </a:r>
          </a:p>
        </p:txBody>
      </p:sp>
      <p:cxnSp>
        <p:nvCxnSpPr>
          <p:cNvPr id="352" name="Elbow Connector 35"/>
          <p:cNvCxnSpPr>
            <a:stCxn id="11" idx="0"/>
            <a:endCxn id="17" idx="2"/>
          </p:cNvCxnSpPr>
          <p:nvPr/>
        </p:nvCxnSpPr>
        <p:spPr>
          <a:xfrm flipV="1">
            <a:off x="5761553" y="2846003"/>
            <a:ext cx="356437" cy="288315"/>
          </a:xfrm>
          <a:prstGeom prst="straightConnector1">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sp>
        <p:nvSpPr>
          <p:cNvPr id="355" name="Rectangle 354"/>
          <p:cNvSpPr/>
          <p:nvPr/>
        </p:nvSpPr>
        <p:spPr>
          <a:xfrm>
            <a:off x="6534563" y="3003685"/>
            <a:ext cx="640080" cy="6155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r>
              <a:rPr lang="en-US" sz="400" dirty="0">
                <a:solidFill>
                  <a:schemeClr val="tx1"/>
                </a:solidFill>
              </a:rPr>
              <a:t>S4ener: Has Energy</a:t>
            </a:r>
          </a:p>
        </p:txBody>
      </p:sp>
      <p:sp>
        <p:nvSpPr>
          <p:cNvPr id="356" name="Rectangle 355"/>
          <p:cNvSpPr/>
          <p:nvPr/>
        </p:nvSpPr>
        <p:spPr>
          <a:xfrm>
            <a:off x="5099775" y="2152356"/>
            <a:ext cx="640080" cy="6155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r>
              <a:rPr lang="en-US" sz="400" dirty="0">
                <a:solidFill>
                  <a:schemeClr val="tx1"/>
                </a:solidFill>
              </a:rPr>
              <a:t>S4ener: Belongs to</a:t>
            </a:r>
          </a:p>
        </p:txBody>
      </p:sp>
      <p:sp>
        <p:nvSpPr>
          <p:cNvPr id="357" name="Rectangle 356"/>
          <p:cNvSpPr/>
          <p:nvPr/>
        </p:nvSpPr>
        <p:spPr>
          <a:xfrm>
            <a:off x="7446682" y="3168793"/>
            <a:ext cx="640080" cy="6155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r>
              <a:rPr lang="en-US" sz="400" dirty="0">
                <a:solidFill>
                  <a:schemeClr val="tx1"/>
                </a:solidFill>
              </a:rPr>
              <a:t>Serf: Consist of</a:t>
            </a:r>
          </a:p>
        </p:txBody>
      </p:sp>
      <p:sp>
        <p:nvSpPr>
          <p:cNvPr id="358" name="Rectangle 357"/>
          <p:cNvSpPr/>
          <p:nvPr/>
        </p:nvSpPr>
        <p:spPr>
          <a:xfrm>
            <a:off x="6688676" y="2746275"/>
            <a:ext cx="640080" cy="6155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r>
              <a:rPr lang="en-US" sz="400" dirty="0">
                <a:solidFill>
                  <a:schemeClr val="tx1"/>
                </a:solidFill>
              </a:rPr>
              <a:t>S4ener</a:t>
            </a:r>
          </a:p>
        </p:txBody>
      </p:sp>
      <p:cxnSp>
        <p:nvCxnSpPr>
          <p:cNvPr id="361" name="Elbow Connector 35"/>
          <p:cNvCxnSpPr>
            <a:stCxn id="116" idx="0"/>
            <a:endCxn id="114" idx="2"/>
          </p:cNvCxnSpPr>
          <p:nvPr/>
        </p:nvCxnSpPr>
        <p:spPr>
          <a:xfrm flipV="1">
            <a:off x="8348068" y="3017225"/>
            <a:ext cx="470349" cy="117093"/>
          </a:xfrm>
          <a:prstGeom prst="straightConnector1">
            <a:avLst/>
          </a:prstGeom>
          <a:ln>
            <a:solidFill>
              <a:schemeClr val="accent5">
                <a:lumMod val="40000"/>
                <a:lumOff val="60000"/>
              </a:schemeClr>
            </a:solidFill>
            <a:prstDash val="solid"/>
            <a:tailEnd type="stealth"/>
          </a:ln>
        </p:spPr>
        <p:style>
          <a:lnRef idx="1">
            <a:schemeClr val="accent1"/>
          </a:lnRef>
          <a:fillRef idx="0">
            <a:schemeClr val="accent1"/>
          </a:fillRef>
          <a:effectRef idx="0">
            <a:schemeClr val="accent1"/>
          </a:effectRef>
          <a:fontRef idx="minor">
            <a:schemeClr val="tx1"/>
          </a:fontRef>
        </p:style>
      </p:cxnSp>
      <p:sp>
        <p:nvSpPr>
          <p:cNvPr id="365" name="Rectangle 364"/>
          <p:cNvSpPr/>
          <p:nvPr/>
        </p:nvSpPr>
        <p:spPr>
          <a:xfrm>
            <a:off x="8705404" y="3065474"/>
            <a:ext cx="914400" cy="6155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r>
              <a:rPr lang="en-US" sz="400" dirty="0">
                <a:solidFill>
                  <a:schemeClr val="tx1"/>
                </a:solidFill>
              </a:rPr>
              <a:t>S4ener: Has Energy Value Type</a:t>
            </a:r>
          </a:p>
        </p:txBody>
      </p:sp>
      <p:sp>
        <p:nvSpPr>
          <p:cNvPr id="366" name="Rectangle 365"/>
          <p:cNvSpPr/>
          <p:nvPr/>
        </p:nvSpPr>
        <p:spPr>
          <a:xfrm>
            <a:off x="8794531" y="3329096"/>
            <a:ext cx="914400" cy="6155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r>
              <a:rPr lang="en-US" sz="400" dirty="0">
                <a:solidFill>
                  <a:schemeClr val="tx1"/>
                </a:solidFill>
              </a:rPr>
              <a:t>S4ener: Has Power Value Type</a:t>
            </a:r>
          </a:p>
        </p:txBody>
      </p:sp>
      <p:sp>
        <p:nvSpPr>
          <p:cNvPr id="367" name="Rectangle 366"/>
          <p:cNvSpPr/>
          <p:nvPr/>
        </p:nvSpPr>
        <p:spPr>
          <a:xfrm>
            <a:off x="2105902" y="4483442"/>
            <a:ext cx="914400" cy="6155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r>
              <a:rPr lang="en-US" sz="400" dirty="0">
                <a:solidFill>
                  <a:schemeClr val="tx1"/>
                </a:solidFill>
              </a:rPr>
              <a:t>S4ener: Receives</a:t>
            </a:r>
          </a:p>
        </p:txBody>
      </p:sp>
      <p:sp>
        <p:nvSpPr>
          <p:cNvPr id="368" name="Rectangle 367"/>
          <p:cNvSpPr/>
          <p:nvPr/>
        </p:nvSpPr>
        <p:spPr>
          <a:xfrm>
            <a:off x="3320747" y="4866068"/>
            <a:ext cx="914400" cy="6155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r>
              <a:rPr lang="en-US" sz="400" dirty="0">
                <a:solidFill>
                  <a:schemeClr val="tx1"/>
                </a:solidFill>
              </a:rPr>
              <a:t>S4ener: Trigger Event Action Consume</a:t>
            </a:r>
          </a:p>
        </p:txBody>
      </p:sp>
      <p:sp>
        <p:nvSpPr>
          <p:cNvPr id="369" name="Rectangle 368"/>
          <p:cNvSpPr/>
          <p:nvPr/>
        </p:nvSpPr>
        <p:spPr>
          <a:xfrm>
            <a:off x="2339957" y="5077094"/>
            <a:ext cx="914400" cy="6155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r>
              <a:rPr lang="en-US" sz="400" dirty="0">
                <a:solidFill>
                  <a:schemeClr val="tx1"/>
                </a:solidFill>
              </a:rPr>
              <a:t>S4ener: Has Applied Event Action Consume</a:t>
            </a:r>
          </a:p>
        </p:txBody>
      </p:sp>
      <p:sp>
        <p:nvSpPr>
          <p:cNvPr id="370" name="Rectangle 369"/>
          <p:cNvSpPr/>
          <p:nvPr/>
        </p:nvSpPr>
        <p:spPr>
          <a:xfrm>
            <a:off x="3286814" y="5116373"/>
            <a:ext cx="914400" cy="6155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r>
              <a:rPr lang="en-US" sz="400" dirty="0">
                <a:solidFill>
                  <a:schemeClr val="tx1"/>
                </a:solidFill>
              </a:rPr>
              <a:t>S4ener: Has Applied Event Action Produce</a:t>
            </a:r>
          </a:p>
        </p:txBody>
      </p:sp>
      <p:sp>
        <p:nvSpPr>
          <p:cNvPr id="371" name="Rectangle 370"/>
          <p:cNvSpPr/>
          <p:nvPr/>
        </p:nvSpPr>
        <p:spPr>
          <a:xfrm>
            <a:off x="2694128" y="5484713"/>
            <a:ext cx="914400" cy="6155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r>
              <a:rPr lang="en-US" sz="400" dirty="0">
                <a:solidFill>
                  <a:schemeClr val="tx1"/>
                </a:solidFill>
              </a:rPr>
              <a:t>S4ener: Has Applied Event Action Produce</a:t>
            </a:r>
          </a:p>
        </p:txBody>
      </p:sp>
      <p:sp>
        <p:nvSpPr>
          <p:cNvPr id="372" name="Rectangle 371"/>
          <p:cNvSpPr/>
          <p:nvPr/>
        </p:nvSpPr>
        <p:spPr>
          <a:xfrm>
            <a:off x="2121212" y="5534726"/>
            <a:ext cx="914400" cy="6155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r>
              <a:rPr lang="en-US" sz="400" dirty="0">
                <a:solidFill>
                  <a:schemeClr val="tx1"/>
                </a:solidFill>
              </a:rPr>
              <a:t>Owl: Oneof</a:t>
            </a:r>
          </a:p>
        </p:txBody>
      </p:sp>
      <p:sp>
        <p:nvSpPr>
          <p:cNvPr id="373" name="Rectangle 372"/>
          <p:cNvSpPr/>
          <p:nvPr/>
        </p:nvSpPr>
        <p:spPr>
          <a:xfrm>
            <a:off x="1150083" y="5129759"/>
            <a:ext cx="914400" cy="6155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oAutofit/>
          </a:bodyPr>
          <a:lstStyle/>
          <a:p>
            <a:r>
              <a:rPr lang="en-US" sz="400" dirty="0">
                <a:solidFill>
                  <a:schemeClr val="tx1"/>
                </a:solidFill>
              </a:rPr>
              <a:t>Owl: Oneof</a:t>
            </a:r>
          </a:p>
        </p:txBody>
      </p:sp>
      <p:sp>
        <p:nvSpPr>
          <p:cNvPr id="230" name="Rectangle 229"/>
          <p:cNvSpPr/>
          <p:nvPr/>
        </p:nvSpPr>
        <p:spPr>
          <a:xfrm>
            <a:off x="5535577" y="6172930"/>
            <a:ext cx="304571" cy="6155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spAutoFit/>
          </a:bodyPr>
          <a:lstStyle/>
          <a:p>
            <a:r>
              <a:rPr lang="en-US" sz="400" dirty="0">
                <a:solidFill>
                  <a:schemeClr val="tx1"/>
                </a:solidFill>
              </a:rPr>
              <a:t>owl:one Of</a:t>
            </a:r>
          </a:p>
        </p:txBody>
      </p:sp>
      <p:sp>
        <p:nvSpPr>
          <p:cNvPr id="231" name="Rectangle 230"/>
          <p:cNvSpPr/>
          <p:nvPr/>
        </p:nvSpPr>
        <p:spPr>
          <a:xfrm>
            <a:off x="5088820" y="5857919"/>
            <a:ext cx="304571" cy="6155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spAutoFit/>
          </a:bodyPr>
          <a:lstStyle/>
          <a:p>
            <a:r>
              <a:rPr lang="en-US" sz="400" dirty="0">
                <a:solidFill>
                  <a:schemeClr val="tx1"/>
                </a:solidFill>
              </a:rPr>
              <a:t>owl:one Of</a:t>
            </a:r>
          </a:p>
        </p:txBody>
      </p:sp>
      <p:pic>
        <p:nvPicPr>
          <p:cNvPr id="36" name="Picture 35"/>
          <p:cNvPicPr>
            <a:picLocks noChangeAspect="1"/>
          </p:cNvPicPr>
          <p:nvPr/>
        </p:nvPicPr>
        <p:blipFill rotWithShape="1">
          <a:blip r:embed="rId7"/>
          <a:srcRect t="6813" b="38742"/>
          <a:stretch/>
        </p:blipFill>
        <p:spPr>
          <a:xfrm>
            <a:off x="5587513" y="5795835"/>
            <a:ext cx="140932" cy="119064"/>
          </a:xfrm>
          <a:prstGeom prst="rect">
            <a:avLst/>
          </a:prstGeom>
        </p:spPr>
      </p:pic>
      <p:sp>
        <p:nvSpPr>
          <p:cNvPr id="233" name="Rectangle 232"/>
          <p:cNvSpPr/>
          <p:nvPr/>
        </p:nvSpPr>
        <p:spPr>
          <a:xfrm>
            <a:off x="3539932" y="6193361"/>
            <a:ext cx="944169" cy="6155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spAutoFit/>
          </a:bodyPr>
          <a:lstStyle/>
          <a:p>
            <a:r>
              <a:rPr lang="en-US" sz="400" dirty="0">
                <a:solidFill>
                  <a:schemeClr val="tx1"/>
                </a:solidFill>
              </a:rPr>
              <a:t>s4ener: has Event State Consume</a:t>
            </a:r>
          </a:p>
        </p:txBody>
      </p:sp>
      <p:sp>
        <p:nvSpPr>
          <p:cNvPr id="234" name="Rectangle 233"/>
          <p:cNvSpPr/>
          <p:nvPr/>
        </p:nvSpPr>
        <p:spPr>
          <a:xfrm>
            <a:off x="4383172" y="5031654"/>
            <a:ext cx="456856" cy="6155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spAutoFit/>
          </a:bodyPr>
          <a:lstStyle/>
          <a:p>
            <a:r>
              <a:rPr lang="en-US" sz="400" dirty="0">
                <a:solidFill>
                  <a:schemeClr val="tx1"/>
                </a:solidFill>
              </a:rPr>
              <a:t>Saref: has time</a:t>
            </a:r>
          </a:p>
        </p:txBody>
      </p:sp>
      <p:sp>
        <p:nvSpPr>
          <p:cNvPr id="236" name="Rectangle 235"/>
          <p:cNvSpPr/>
          <p:nvPr/>
        </p:nvSpPr>
        <p:spPr>
          <a:xfrm>
            <a:off x="3865894" y="3059982"/>
            <a:ext cx="304571" cy="6155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 uri="{91240B29-F687-4F45-9708-019B960494DF}">
              <a14:hiddenLine xmlns:a14="http://schemas.microsoft.com/office/drawing/2010/main" w="12700" cap="flat" cmpd="sng" algn="ctr">
                <a:solidFill>
                  <a:schemeClr val="tx2"/>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spAutoFit/>
          </a:bodyPr>
          <a:lstStyle/>
          <a:p>
            <a:r>
              <a:rPr lang="en-US" sz="400" dirty="0">
                <a:solidFill>
                  <a:schemeClr val="tx1"/>
                </a:solidFill>
              </a:rPr>
              <a:t>owl:one Of</a:t>
            </a:r>
          </a:p>
        </p:txBody>
      </p:sp>
      <p:pic>
        <p:nvPicPr>
          <p:cNvPr id="237" name="Picture 1" descr="image002">
            <a:extLst>
              <a:ext uri="{FF2B5EF4-FFF2-40B4-BE49-F238E27FC236}">
                <a16:creationId xmlns:a16="http://schemas.microsoft.com/office/drawing/2014/main" id="{836A3809-751F-4718-8245-17A39A84EBE4}"/>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8" name="Picture 237">
            <a:extLst>
              <a:ext uri="{FF2B5EF4-FFF2-40B4-BE49-F238E27FC236}">
                <a16:creationId xmlns:a16="http://schemas.microsoft.com/office/drawing/2014/main" id="{890D8EB8-960C-4AC8-B723-5C4CA9B81EF0}"/>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5050" t="25548" r="5027" b="22927"/>
          <a:stretch/>
        </p:blipFill>
        <p:spPr>
          <a:xfrm>
            <a:off x="7981248" y="313232"/>
            <a:ext cx="1270327" cy="406262"/>
          </a:xfrm>
          <a:prstGeom prst="rect">
            <a:avLst/>
          </a:prstGeom>
        </p:spPr>
      </p:pic>
    </p:spTree>
    <p:extLst>
      <p:ext uri="{BB962C8B-B14F-4D97-AF65-F5344CB8AC3E}">
        <p14:creationId xmlns:p14="http://schemas.microsoft.com/office/powerpoint/2010/main" val="240178272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5258151-2BDA-420A-B170-6C531CD4A7E6}"/>
              </a:ext>
            </a:extLst>
          </p:cNvPr>
          <p:cNvSpPr>
            <a:spLocks noGrp="1"/>
          </p:cNvSpPr>
          <p:nvPr>
            <p:ph type="body" sz="quarter" idx="10"/>
          </p:nvPr>
        </p:nvSpPr>
        <p:spPr/>
        <p:txBody>
          <a:bodyPr/>
          <a:lstStyle/>
          <a:p>
            <a:r>
              <a:rPr lang="en-US" dirty="0"/>
              <a:t>Power Profile, Alternatives Group, </a:t>
            </a:r>
          </a:p>
          <a:p>
            <a:r>
              <a:rPr lang="en-US" dirty="0"/>
              <a:t>Power Sequence and Slot</a:t>
            </a:r>
          </a:p>
        </p:txBody>
      </p:sp>
      <p:sp>
        <p:nvSpPr>
          <p:cNvPr id="10" name="Text Placeholder 9"/>
          <p:cNvSpPr>
            <a:spLocks noGrp="1"/>
          </p:cNvSpPr>
          <p:nvPr>
            <p:ph type="body" sz="quarter" idx="11"/>
          </p:nvPr>
        </p:nvSpPr>
        <p:spPr/>
        <p:txBody>
          <a:bodyPr/>
          <a:lstStyle/>
          <a:p>
            <a:pPr>
              <a:spcBef>
                <a:spcPts val="600"/>
              </a:spcBef>
            </a:pPr>
            <a:r>
              <a:rPr lang="en-US" sz="1400" dirty="0"/>
              <a:t>A </a:t>
            </a:r>
            <a:r>
              <a:rPr lang="en-US" sz="1400" dirty="0">
                <a:solidFill>
                  <a:schemeClr val="tx2"/>
                </a:solidFill>
              </a:rPr>
              <a:t>power profile </a:t>
            </a:r>
            <a:r>
              <a:rPr lang="en-US" sz="1400" dirty="0"/>
              <a:t>is a way to model curves of power and energy over time, which also provides definitions for the modelling of power scheduling including alternative plans. With a power profile, a device (or power sequences server) exposes the power sequences that are potentially relevant for the CEM (or power </a:t>
            </a:r>
            <a:br>
              <a:rPr lang="en-US" sz="1400" dirty="0"/>
            </a:br>
            <a:r>
              <a:rPr lang="en-US" sz="1400" dirty="0"/>
              <a:t>sequences client)</a:t>
            </a:r>
          </a:p>
          <a:p>
            <a:pPr>
              <a:spcBef>
                <a:spcPts val="600"/>
              </a:spcBef>
            </a:pPr>
            <a:r>
              <a:rPr lang="en-US" sz="1400" dirty="0"/>
              <a:t>An </a:t>
            </a:r>
            <a:r>
              <a:rPr lang="en-US" sz="1400" dirty="0">
                <a:solidFill>
                  <a:schemeClr val="tx2"/>
                </a:solidFill>
              </a:rPr>
              <a:t>alternatives group </a:t>
            </a:r>
            <a:r>
              <a:rPr lang="en-US" sz="1400" dirty="0"/>
              <a:t>is a collection of power sequences for a certain </a:t>
            </a:r>
            <a:br>
              <a:rPr lang="en-US" sz="1400" dirty="0"/>
            </a:br>
            <a:r>
              <a:rPr lang="en-US" sz="1400" dirty="0"/>
              <a:t>power profile</a:t>
            </a:r>
          </a:p>
          <a:p>
            <a:pPr>
              <a:spcBef>
                <a:spcPts val="600"/>
              </a:spcBef>
            </a:pPr>
            <a:r>
              <a:rPr lang="en-US" sz="1400" dirty="0"/>
              <a:t>A </a:t>
            </a:r>
            <a:r>
              <a:rPr lang="en-US" sz="1400" dirty="0">
                <a:solidFill>
                  <a:schemeClr val="tx2"/>
                </a:solidFill>
              </a:rPr>
              <a:t>power sequence</a:t>
            </a:r>
            <a:r>
              <a:rPr lang="en-US" sz="1400" dirty="0"/>
              <a:t> is the specification of a task, such as wash or tumble dry, according to user preferences and/or manufacturer's settings for a certain device. It is the most 'coarse' view; a power sequence can represent all single steps of a whole task, where the single steps are represented by slots</a:t>
            </a:r>
          </a:p>
          <a:p>
            <a:pPr>
              <a:spcBef>
                <a:spcPts val="600"/>
              </a:spcBef>
            </a:pPr>
            <a:r>
              <a:rPr lang="en-US" sz="1400" dirty="0"/>
              <a:t>A </a:t>
            </a:r>
            <a:r>
              <a:rPr lang="en-US" sz="1400" dirty="0">
                <a:solidFill>
                  <a:schemeClr val="tx2"/>
                </a:solidFill>
              </a:rPr>
              <a:t>slot</a:t>
            </a:r>
            <a:r>
              <a:rPr lang="en-US" sz="1400" dirty="0"/>
              <a:t> is a single step of a power sequence. A slot is associated with a slot number (while a power sequence is associated with a power sequence identifier). The slot numbers of two power sequences should be considered independent from each other, i.e. slot number 7 of sequence 1 describes a different slot than slot number 7 of sequence 2. Therefore, a slot is only uniquely identified in combination with a sequence ID</a:t>
            </a:r>
          </a:p>
        </p:txBody>
      </p:sp>
      <p:sp>
        <p:nvSpPr>
          <p:cNvPr id="4" name="Slide Number Placeholder 3">
            <a:extLst>
              <a:ext uri="{FF2B5EF4-FFF2-40B4-BE49-F238E27FC236}">
                <a16:creationId xmlns:a16="http://schemas.microsoft.com/office/drawing/2014/main" id="{334C99F6-89CD-4C7E-A388-D43FA81E5847}"/>
              </a:ext>
            </a:extLst>
          </p:cNvPr>
          <p:cNvSpPr>
            <a:spLocks noGrp="1"/>
          </p:cNvSpPr>
          <p:nvPr>
            <p:ph type="sldNum" sz="quarter" idx="4"/>
          </p:nvPr>
        </p:nvSpPr>
        <p:spPr/>
        <p:txBody>
          <a:bodyPr/>
          <a:lstStyle/>
          <a:p>
            <a:fld id="{EBC262BB-4310-134F-8D24-58475080D942}" type="slidenum">
              <a:rPr lang="en-US" smtClean="0"/>
              <a:pPr/>
              <a:t>71</a:t>
            </a:fld>
            <a:endParaRPr lang="en-US" dirty="0"/>
          </a:p>
        </p:txBody>
      </p:sp>
      <p:pic>
        <p:nvPicPr>
          <p:cNvPr id="6" name="Picture 5">
            <a:extLst>
              <a:ext uri="{FF2B5EF4-FFF2-40B4-BE49-F238E27FC236}">
                <a16:creationId xmlns:a16="http://schemas.microsoft.com/office/drawing/2014/main" id="{4B647BB9-FB63-46A9-9A0A-014E6EDE510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5050" t="25548" r="5027" b="22927"/>
          <a:stretch/>
        </p:blipFill>
        <p:spPr>
          <a:xfrm>
            <a:off x="7981248" y="313232"/>
            <a:ext cx="1270327" cy="406262"/>
          </a:xfrm>
          <a:prstGeom prst="rect">
            <a:avLst/>
          </a:prstGeom>
        </p:spPr>
      </p:pic>
      <p:pic>
        <p:nvPicPr>
          <p:cNvPr id="8" name="Picture 1" descr="image002">
            <a:extLst>
              <a:ext uri="{FF2B5EF4-FFF2-40B4-BE49-F238E27FC236}">
                <a16:creationId xmlns:a16="http://schemas.microsoft.com/office/drawing/2014/main" id="{89D99AF5-FD06-44AA-BB9F-C33F5BA2CBF2}"/>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ee4pFootnotes">
            <a:extLst>
              <a:ext uri="{FF2B5EF4-FFF2-40B4-BE49-F238E27FC236}">
                <a16:creationId xmlns:a16="http://schemas.microsoft.com/office/drawing/2014/main" id="{CCBD97FC-976C-45E3-8375-D5799E91E75E}"/>
              </a:ext>
            </a:extLst>
          </p:cNvPr>
          <p:cNvSpPr>
            <a:spLocks noChangeArrowheads="1"/>
          </p:cNvSpPr>
          <p:nvPr/>
        </p:nvSpPr>
        <p:spPr bwMode="auto">
          <a:xfrm>
            <a:off x="2467992" y="6421441"/>
            <a:ext cx="7641096"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fr-FR" sz="1000" dirty="0">
                <a:cs typeface="Arial" pitchFamily="34" charset="0"/>
              </a:rPr>
              <a:t>Source: ETSI TR 103 411 V1.1.1 </a:t>
            </a:r>
          </a:p>
        </p:txBody>
      </p:sp>
    </p:spTree>
    <p:extLst>
      <p:ext uri="{BB962C8B-B14F-4D97-AF65-F5344CB8AC3E}">
        <p14:creationId xmlns:p14="http://schemas.microsoft.com/office/powerpoint/2010/main" val="340572198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p:txBody>
          <a:bodyPr/>
          <a:lstStyle/>
          <a:p>
            <a:r>
              <a:rPr lang="en-US" dirty="0"/>
              <a:t>SAREF4ENER: Power Profile</a:t>
            </a:r>
          </a:p>
        </p:txBody>
      </p:sp>
      <p:sp>
        <p:nvSpPr>
          <p:cNvPr id="4" name="Slide Number Placeholder 3"/>
          <p:cNvSpPr>
            <a:spLocks noGrp="1"/>
          </p:cNvSpPr>
          <p:nvPr>
            <p:ph type="sldNum" sz="quarter" idx="4"/>
          </p:nvPr>
        </p:nvSpPr>
        <p:spPr/>
        <p:txBody>
          <a:bodyPr/>
          <a:lstStyle/>
          <a:p>
            <a:fld id="{EBC262BB-4310-134F-8D24-58475080D942}" type="slidenum">
              <a:rPr lang="en-US" smtClean="0"/>
              <a:pPr/>
              <a:t>72</a:t>
            </a:fld>
            <a:endParaRPr lang="en-US" dirty="0"/>
          </a:p>
        </p:txBody>
      </p:sp>
      <p:cxnSp>
        <p:nvCxnSpPr>
          <p:cNvPr id="22" name="Elbow Connector 35"/>
          <p:cNvCxnSpPr>
            <a:stCxn id="11" idx="0"/>
            <a:endCxn id="9" idx="2"/>
          </p:cNvCxnSpPr>
          <p:nvPr/>
        </p:nvCxnSpPr>
        <p:spPr>
          <a:xfrm flipV="1">
            <a:off x="2702682" y="2002185"/>
            <a:ext cx="0" cy="98620"/>
          </a:xfrm>
          <a:prstGeom prst="straightConnector1">
            <a:avLst/>
          </a:prstGeom>
          <a:ln>
            <a:prstDash val="solid"/>
            <a:tailEnd type="stealth"/>
          </a:ln>
        </p:spPr>
        <p:style>
          <a:lnRef idx="1">
            <a:schemeClr val="accent1"/>
          </a:lnRef>
          <a:fillRef idx="0">
            <a:schemeClr val="accent1"/>
          </a:fillRef>
          <a:effectRef idx="0">
            <a:schemeClr val="accent1"/>
          </a:effectRef>
          <a:fontRef idx="minor">
            <a:schemeClr val="tx1"/>
          </a:fontRef>
        </p:style>
      </p:cxnSp>
      <p:grpSp>
        <p:nvGrpSpPr>
          <p:cNvPr id="96" name="Group 95"/>
          <p:cNvGrpSpPr/>
          <p:nvPr/>
        </p:nvGrpSpPr>
        <p:grpSpPr>
          <a:xfrm>
            <a:off x="1556011" y="1494185"/>
            <a:ext cx="2293341" cy="508000"/>
            <a:chOff x="1197236" y="1494185"/>
            <a:chExt cx="2293341" cy="508000"/>
          </a:xfrm>
        </p:grpSpPr>
        <p:grpSp>
          <p:nvGrpSpPr>
            <p:cNvPr id="78" name="Group 77"/>
            <p:cNvGrpSpPr/>
            <p:nvPr/>
          </p:nvGrpSpPr>
          <p:grpSpPr>
            <a:xfrm>
              <a:off x="1197236" y="1494185"/>
              <a:ext cx="2293341" cy="508000"/>
              <a:chOff x="1197236" y="1494185"/>
              <a:chExt cx="2293341" cy="508000"/>
            </a:xfrm>
          </p:grpSpPr>
          <p:grpSp>
            <p:nvGrpSpPr>
              <p:cNvPr id="7" name="Group 6"/>
              <p:cNvGrpSpPr/>
              <p:nvPr/>
            </p:nvGrpSpPr>
            <p:grpSpPr>
              <a:xfrm>
                <a:off x="1197236" y="1494185"/>
                <a:ext cx="2293341" cy="508000"/>
                <a:chOff x="2161664" y="1089711"/>
                <a:chExt cx="649180" cy="508000"/>
              </a:xfrm>
            </p:grpSpPr>
            <p:sp>
              <p:nvSpPr>
                <p:cNvPr id="8" name="Rectangle 7"/>
                <p:cNvSpPr/>
                <p:nvPr/>
              </p:nvSpPr>
              <p:spPr>
                <a:xfrm>
                  <a:off x="2161664" y="1089711"/>
                  <a:ext cx="649180" cy="103190"/>
                </a:xfrm>
                <a:prstGeom prst="rect">
                  <a:avLst/>
                </a:prstGeom>
                <a:noFill/>
                <a:ln w="12700" cap="flat" cmpd="sng" algn="ctr">
                  <a:solidFill>
                    <a:schemeClr val="accent2">
                      <a:lumMod val="60000"/>
                      <a:lumOff val="40000"/>
                    </a:schemeClr>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600" dirty="0">
                      <a:solidFill>
                        <a:schemeClr val="tx1"/>
                      </a:solidFill>
                    </a:rPr>
                    <a:t>Saref:Profile</a:t>
                  </a:r>
                </a:p>
              </p:txBody>
            </p:sp>
            <p:sp>
              <p:nvSpPr>
                <p:cNvPr id="9" name="Rectangle 8"/>
                <p:cNvSpPr/>
                <p:nvPr/>
              </p:nvSpPr>
              <p:spPr>
                <a:xfrm>
                  <a:off x="2161664" y="1192900"/>
                  <a:ext cx="649180" cy="404811"/>
                </a:xfrm>
                <a:prstGeom prst="rect">
                  <a:avLst/>
                </a:prstGeom>
                <a:noFill/>
                <a:ln w="12700" cap="flat" cmpd="sng" algn="ctr">
                  <a:solidFill>
                    <a:schemeClr val="accent2">
                      <a:lumMod val="60000"/>
                      <a:lumOff val="40000"/>
                    </a:schemeClr>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r>
                    <a:rPr lang="en-US" sz="600" dirty="0">
                      <a:solidFill>
                        <a:schemeClr val="tx1"/>
                      </a:solidFill>
                    </a:rPr>
                    <a:t>Saref:consistsOf:saref:Profile</a:t>
                  </a:r>
                </a:p>
                <a:p>
                  <a:r>
                    <a:rPr lang="en-US" sz="600" dirty="0">
                      <a:solidFill>
                        <a:schemeClr val="tx1"/>
                      </a:solidFill>
                    </a:rPr>
                    <a:t>Saref:hasPrice:saref:Price</a:t>
                  </a:r>
                </a:p>
                <a:p>
                  <a:r>
                    <a:rPr lang="en-US" sz="600" dirty="0">
                      <a:solidFill>
                        <a:schemeClr val="tx1"/>
                      </a:solidFill>
                    </a:rPr>
                    <a:t>Saref:hasTime:saref:Time</a:t>
                  </a:r>
                </a:p>
                <a:p>
                  <a:r>
                    <a:rPr lang="en-US" sz="600" dirty="0">
                      <a:solidFill>
                        <a:schemeClr val="tx1"/>
                      </a:solidFill>
                    </a:rPr>
                    <a:t>Saref:isAbout:saref:Commodity or saref:Property</a:t>
                  </a:r>
                </a:p>
              </p:txBody>
            </p:sp>
          </p:grpSp>
          <p:pic>
            <p:nvPicPr>
              <p:cNvPr id="25" name="Picture 24">
                <a:extLst>
                  <a:ext uri="{FF2B5EF4-FFF2-40B4-BE49-F238E27FC236}">
                    <a16:creationId xmlns:a16="http://schemas.microsoft.com/office/drawing/2014/main" id="{B17F5ACB-3D19-47F0-B407-8AD0AFE6E3FC}"/>
                  </a:ext>
                </a:extLst>
              </p:cNvPr>
              <p:cNvPicPr>
                <a:picLocks noChangeAspect="1"/>
              </p:cNvPicPr>
              <p:nvPr/>
            </p:nvPicPr>
            <p:blipFill rotWithShape="1">
              <a:blip r:embed="rId2"/>
              <a:srcRect l="15898" t="2296" r="82427" b="96215"/>
              <a:stretch/>
            </p:blipFill>
            <p:spPr>
              <a:xfrm>
                <a:off x="1922739" y="1508209"/>
                <a:ext cx="94821" cy="75141"/>
              </a:xfrm>
              <a:prstGeom prst="rect">
                <a:avLst/>
              </a:prstGeom>
            </p:spPr>
          </p:pic>
          <p:pic>
            <p:nvPicPr>
              <p:cNvPr id="30" name="Picture 29">
                <a:extLst>
                  <a:ext uri="{FF2B5EF4-FFF2-40B4-BE49-F238E27FC236}">
                    <a16:creationId xmlns:a16="http://schemas.microsoft.com/office/drawing/2014/main" id="{B17F5ACB-3D19-47F0-B407-8AD0AFE6E3FC}"/>
                  </a:ext>
                </a:extLst>
              </p:cNvPr>
              <p:cNvPicPr>
                <a:picLocks noChangeAspect="1"/>
              </p:cNvPicPr>
              <p:nvPr/>
            </p:nvPicPr>
            <p:blipFill rotWithShape="1">
              <a:blip r:embed="rId2"/>
              <a:srcRect l="7149" t="4183" r="91176" b="94328"/>
              <a:stretch/>
            </p:blipFill>
            <p:spPr>
              <a:xfrm>
                <a:off x="1205464" y="1635681"/>
                <a:ext cx="78365" cy="62100"/>
              </a:xfrm>
              <a:prstGeom prst="rect">
                <a:avLst/>
              </a:prstGeom>
            </p:spPr>
          </p:pic>
          <p:pic>
            <p:nvPicPr>
              <p:cNvPr id="31" name="Picture 30">
                <a:extLst>
                  <a:ext uri="{FF2B5EF4-FFF2-40B4-BE49-F238E27FC236}">
                    <a16:creationId xmlns:a16="http://schemas.microsoft.com/office/drawing/2014/main" id="{B17F5ACB-3D19-47F0-B407-8AD0AFE6E3FC}"/>
                  </a:ext>
                </a:extLst>
              </p:cNvPr>
              <p:cNvPicPr>
                <a:picLocks noChangeAspect="1"/>
              </p:cNvPicPr>
              <p:nvPr/>
            </p:nvPicPr>
            <p:blipFill rotWithShape="1">
              <a:blip r:embed="rId2"/>
              <a:srcRect l="7149" t="4183" r="91176" b="94328"/>
              <a:stretch/>
            </p:blipFill>
            <p:spPr>
              <a:xfrm>
                <a:off x="1205464" y="1726799"/>
                <a:ext cx="78365" cy="62100"/>
              </a:xfrm>
              <a:prstGeom prst="rect">
                <a:avLst/>
              </a:prstGeom>
            </p:spPr>
          </p:pic>
          <p:pic>
            <p:nvPicPr>
              <p:cNvPr id="32" name="Picture 31">
                <a:extLst>
                  <a:ext uri="{FF2B5EF4-FFF2-40B4-BE49-F238E27FC236}">
                    <a16:creationId xmlns:a16="http://schemas.microsoft.com/office/drawing/2014/main" id="{B17F5ACB-3D19-47F0-B407-8AD0AFE6E3FC}"/>
                  </a:ext>
                </a:extLst>
              </p:cNvPr>
              <p:cNvPicPr>
                <a:picLocks noChangeAspect="1"/>
              </p:cNvPicPr>
              <p:nvPr/>
            </p:nvPicPr>
            <p:blipFill rotWithShape="1">
              <a:blip r:embed="rId2"/>
              <a:srcRect l="7149" t="4183" r="91176" b="94328"/>
              <a:stretch/>
            </p:blipFill>
            <p:spPr>
              <a:xfrm>
                <a:off x="1205464" y="1817917"/>
                <a:ext cx="78365" cy="62100"/>
              </a:xfrm>
              <a:prstGeom prst="rect">
                <a:avLst/>
              </a:prstGeom>
            </p:spPr>
          </p:pic>
        </p:grpSp>
        <p:pic>
          <p:nvPicPr>
            <p:cNvPr id="33" name="Picture 32">
              <a:extLst>
                <a:ext uri="{FF2B5EF4-FFF2-40B4-BE49-F238E27FC236}">
                  <a16:creationId xmlns:a16="http://schemas.microsoft.com/office/drawing/2014/main" id="{B17F5ACB-3D19-47F0-B407-8AD0AFE6E3FC}"/>
                </a:ext>
              </a:extLst>
            </p:cNvPr>
            <p:cNvPicPr>
              <a:picLocks noChangeAspect="1"/>
            </p:cNvPicPr>
            <p:nvPr/>
          </p:nvPicPr>
          <p:blipFill rotWithShape="1">
            <a:blip r:embed="rId2"/>
            <a:srcRect l="7149" t="4183" r="91176" b="94328"/>
            <a:stretch/>
          </p:blipFill>
          <p:spPr>
            <a:xfrm>
              <a:off x="1197236" y="1909036"/>
              <a:ext cx="99066" cy="62100"/>
            </a:xfrm>
            <a:prstGeom prst="rect">
              <a:avLst/>
            </a:prstGeom>
          </p:spPr>
        </p:pic>
      </p:grpSp>
      <p:grpSp>
        <p:nvGrpSpPr>
          <p:cNvPr id="75" name="Group 74"/>
          <p:cNvGrpSpPr/>
          <p:nvPr/>
        </p:nvGrpSpPr>
        <p:grpSpPr>
          <a:xfrm>
            <a:off x="7842422" y="2191927"/>
            <a:ext cx="2266666" cy="611997"/>
            <a:chOff x="7842422" y="2294336"/>
            <a:chExt cx="2266666" cy="611997"/>
          </a:xfrm>
        </p:grpSpPr>
        <p:grpSp>
          <p:nvGrpSpPr>
            <p:cNvPr id="13" name="Group 12"/>
            <p:cNvGrpSpPr/>
            <p:nvPr/>
          </p:nvGrpSpPr>
          <p:grpSpPr>
            <a:xfrm>
              <a:off x="7842422" y="2294336"/>
              <a:ext cx="2266666" cy="611997"/>
              <a:chOff x="2161664" y="1089711"/>
              <a:chExt cx="649180" cy="611997"/>
            </a:xfrm>
          </p:grpSpPr>
          <p:sp>
            <p:nvSpPr>
              <p:cNvPr id="14" name="Rectangle 13"/>
              <p:cNvSpPr/>
              <p:nvPr/>
            </p:nvSpPr>
            <p:spPr>
              <a:xfrm>
                <a:off x="2161664" y="1089711"/>
                <a:ext cx="649180" cy="103190"/>
              </a:xfrm>
              <a:prstGeom prst="rect">
                <a:avLst/>
              </a:prstGeom>
              <a:noFill/>
              <a:ln w="12700" cap="flat" cmpd="sng" algn="ctr">
                <a:solidFill>
                  <a:schemeClr val="accent2">
                    <a:lumMod val="60000"/>
                    <a:lumOff val="40000"/>
                  </a:schemeClr>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600" dirty="0">
                    <a:solidFill>
                      <a:schemeClr val="tx1"/>
                    </a:solidFill>
                  </a:rPr>
                  <a:t>S4ener:AlternativeGroup</a:t>
                </a:r>
              </a:p>
            </p:txBody>
          </p:sp>
          <p:sp>
            <p:nvSpPr>
              <p:cNvPr id="15" name="Rectangle 14"/>
              <p:cNvSpPr/>
              <p:nvPr/>
            </p:nvSpPr>
            <p:spPr>
              <a:xfrm>
                <a:off x="2161664" y="1192901"/>
                <a:ext cx="649180" cy="508807"/>
              </a:xfrm>
              <a:prstGeom prst="rect">
                <a:avLst/>
              </a:prstGeom>
              <a:noFill/>
              <a:ln w="12700" cap="flat" cmpd="sng" algn="ctr">
                <a:solidFill>
                  <a:schemeClr val="accent2">
                    <a:lumMod val="60000"/>
                    <a:lumOff val="40000"/>
                  </a:schemeClr>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r>
                  <a:rPr lang="en-US" sz="600" dirty="0">
                    <a:solidFill>
                      <a:schemeClr val="tx1"/>
                    </a:solidFill>
                  </a:rPr>
                  <a:t>S4ener:belongsTo:s4ener:PowerProfile(exactly 1 s4ener:PowerProfile)</a:t>
                </a:r>
              </a:p>
              <a:p>
                <a:r>
                  <a:rPr lang="en-US" sz="600" dirty="0">
                    <a:solidFill>
                      <a:schemeClr val="tx1"/>
                    </a:solidFill>
                  </a:rPr>
                  <a:t>Saref:consistsOf:s4ener:PowerSequence (min 1 s4ener:PowerSequence)</a:t>
                </a:r>
              </a:p>
              <a:p>
                <a:r>
                  <a:rPr lang="en-US" sz="600" dirty="0">
                    <a:solidFill>
                      <a:schemeClr val="tx1"/>
                    </a:solidFill>
                  </a:rPr>
                  <a:t>S4ener:alternativesGroupID:integer</a:t>
                </a:r>
              </a:p>
            </p:txBody>
          </p:sp>
        </p:grpSp>
        <p:pic>
          <p:nvPicPr>
            <p:cNvPr id="29" name="Picture 28">
              <a:extLst>
                <a:ext uri="{FF2B5EF4-FFF2-40B4-BE49-F238E27FC236}">
                  <a16:creationId xmlns:a16="http://schemas.microsoft.com/office/drawing/2014/main" id="{B17F5ACB-3D19-47F0-B407-8AD0AFE6E3FC}"/>
                </a:ext>
              </a:extLst>
            </p:cNvPr>
            <p:cNvPicPr>
              <a:picLocks noChangeAspect="1"/>
            </p:cNvPicPr>
            <p:nvPr/>
          </p:nvPicPr>
          <p:blipFill rotWithShape="1">
            <a:blip r:embed="rId2"/>
            <a:srcRect l="14090" t="14565" r="84235" b="83946"/>
            <a:stretch/>
          </p:blipFill>
          <p:spPr>
            <a:xfrm>
              <a:off x="8333858" y="2313884"/>
              <a:ext cx="94821" cy="75141"/>
            </a:xfrm>
            <a:prstGeom prst="rect">
              <a:avLst/>
            </a:prstGeom>
          </p:spPr>
        </p:pic>
        <p:pic>
          <p:nvPicPr>
            <p:cNvPr id="41" name="Picture 40">
              <a:extLst>
                <a:ext uri="{FF2B5EF4-FFF2-40B4-BE49-F238E27FC236}">
                  <a16:creationId xmlns:a16="http://schemas.microsoft.com/office/drawing/2014/main" id="{B17F5ACB-3D19-47F0-B407-8AD0AFE6E3FC}"/>
                </a:ext>
              </a:extLst>
            </p:cNvPr>
            <p:cNvPicPr>
              <a:picLocks noChangeAspect="1"/>
            </p:cNvPicPr>
            <p:nvPr/>
          </p:nvPicPr>
          <p:blipFill rotWithShape="1">
            <a:blip r:embed="rId2"/>
            <a:srcRect l="889" t="16458" r="97436" b="82053"/>
            <a:stretch/>
          </p:blipFill>
          <p:spPr>
            <a:xfrm>
              <a:off x="7847184" y="2440622"/>
              <a:ext cx="78365" cy="62100"/>
            </a:xfrm>
            <a:prstGeom prst="rect">
              <a:avLst/>
            </a:prstGeom>
          </p:spPr>
        </p:pic>
        <p:pic>
          <p:nvPicPr>
            <p:cNvPr id="42" name="Picture 41">
              <a:extLst>
                <a:ext uri="{FF2B5EF4-FFF2-40B4-BE49-F238E27FC236}">
                  <a16:creationId xmlns:a16="http://schemas.microsoft.com/office/drawing/2014/main" id="{B17F5ACB-3D19-47F0-B407-8AD0AFE6E3FC}"/>
                </a:ext>
              </a:extLst>
            </p:cNvPr>
            <p:cNvPicPr>
              <a:picLocks noChangeAspect="1"/>
            </p:cNvPicPr>
            <p:nvPr/>
          </p:nvPicPr>
          <p:blipFill rotWithShape="1">
            <a:blip r:embed="rId2"/>
            <a:srcRect l="7149" t="4183" r="91176" b="94328"/>
            <a:stretch/>
          </p:blipFill>
          <p:spPr>
            <a:xfrm>
              <a:off x="7847184" y="2620879"/>
              <a:ext cx="78365" cy="62100"/>
            </a:xfrm>
            <a:prstGeom prst="rect">
              <a:avLst/>
            </a:prstGeom>
          </p:spPr>
        </p:pic>
        <p:pic>
          <p:nvPicPr>
            <p:cNvPr id="43" name="Picture 42">
              <a:extLst>
                <a:ext uri="{FF2B5EF4-FFF2-40B4-BE49-F238E27FC236}">
                  <a16:creationId xmlns:a16="http://schemas.microsoft.com/office/drawing/2014/main" id="{B17F5ACB-3D19-47F0-B407-8AD0AFE6E3FC}"/>
                </a:ext>
              </a:extLst>
            </p:cNvPr>
            <p:cNvPicPr>
              <a:picLocks noChangeAspect="1"/>
            </p:cNvPicPr>
            <p:nvPr/>
          </p:nvPicPr>
          <p:blipFill rotWithShape="1">
            <a:blip r:embed="rId2"/>
            <a:srcRect l="939" t="19599" r="97386" b="78912"/>
            <a:stretch/>
          </p:blipFill>
          <p:spPr>
            <a:xfrm>
              <a:off x="7847184" y="2805180"/>
              <a:ext cx="78365" cy="62100"/>
            </a:xfrm>
            <a:prstGeom prst="rect">
              <a:avLst/>
            </a:prstGeom>
          </p:spPr>
        </p:pic>
      </p:grpSp>
      <p:grpSp>
        <p:nvGrpSpPr>
          <p:cNvPr id="74" name="Group 73"/>
          <p:cNvGrpSpPr/>
          <p:nvPr/>
        </p:nvGrpSpPr>
        <p:grpSpPr>
          <a:xfrm>
            <a:off x="4888616" y="5118202"/>
            <a:ext cx="5220472" cy="1123847"/>
            <a:chOff x="4888616" y="5118202"/>
            <a:chExt cx="5220472" cy="1123847"/>
          </a:xfrm>
        </p:grpSpPr>
        <p:grpSp>
          <p:nvGrpSpPr>
            <p:cNvPr id="19" name="Group 18"/>
            <p:cNvGrpSpPr/>
            <p:nvPr/>
          </p:nvGrpSpPr>
          <p:grpSpPr>
            <a:xfrm>
              <a:off x="4888616" y="5118202"/>
              <a:ext cx="5220472" cy="1123847"/>
              <a:chOff x="2161664" y="1089711"/>
              <a:chExt cx="649180" cy="1123847"/>
            </a:xfrm>
          </p:grpSpPr>
          <p:sp>
            <p:nvSpPr>
              <p:cNvPr id="20" name="Rectangle 19"/>
              <p:cNvSpPr/>
              <p:nvPr/>
            </p:nvSpPr>
            <p:spPr>
              <a:xfrm>
                <a:off x="2161664" y="1089711"/>
                <a:ext cx="649180" cy="103190"/>
              </a:xfrm>
              <a:prstGeom prst="rect">
                <a:avLst/>
              </a:prstGeom>
              <a:noFill/>
              <a:ln w="12700" cap="flat" cmpd="sng" algn="ctr">
                <a:solidFill>
                  <a:schemeClr val="accent2">
                    <a:lumMod val="60000"/>
                    <a:lumOff val="40000"/>
                  </a:schemeClr>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600" dirty="0">
                    <a:solidFill>
                      <a:schemeClr val="tx1"/>
                    </a:solidFill>
                  </a:rPr>
                  <a:t>S4ener:Slot</a:t>
                </a:r>
              </a:p>
            </p:txBody>
          </p:sp>
          <p:sp>
            <p:nvSpPr>
              <p:cNvPr id="21" name="Rectangle 20"/>
              <p:cNvSpPr/>
              <p:nvPr/>
            </p:nvSpPr>
            <p:spPr>
              <a:xfrm>
                <a:off x="2161664" y="1192899"/>
                <a:ext cx="649180" cy="1020659"/>
              </a:xfrm>
              <a:prstGeom prst="rect">
                <a:avLst/>
              </a:prstGeom>
              <a:noFill/>
              <a:ln w="12700" cap="flat" cmpd="sng" algn="ctr">
                <a:solidFill>
                  <a:schemeClr val="accent2">
                    <a:lumMod val="60000"/>
                    <a:lumOff val="40000"/>
                  </a:schemeClr>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r>
                  <a:rPr lang="en-US" sz="600" dirty="0">
                    <a:solidFill>
                      <a:schemeClr val="tx1"/>
                    </a:solidFill>
                  </a:rPr>
                  <a:t>S4ener:belongsTo:s4ener:PowerSequence(exactly 1 s4ener:PowerSequence)</a:t>
                </a:r>
              </a:p>
              <a:p>
                <a:r>
                  <a:rPr lang="en-US" sz="600" dirty="0">
                    <a:solidFill>
                      <a:schemeClr val="tx1"/>
                    </a:solidFill>
                  </a:rPr>
                  <a:t>S4ener:hasEnergyValueType:s4ener:Energy</a:t>
                </a:r>
              </a:p>
              <a:p>
                <a:r>
                  <a:rPr lang="en-US" sz="600" dirty="0">
                    <a:solidFill>
                      <a:schemeClr val="tx1"/>
                    </a:solidFill>
                  </a:rPr>
                  <a:t>S4ener:hasPowerValueType:s4enerPower</a:t>
                </a:r>
              </a:p>
              <a:p>
                <a:r>
                  <a:rPr lang="en-US" sz="600" dirty="0">
                    <a:solidFill>
                      <a:schemeClr val="tx1"/>
                    </a:solidFill>
                  </a:rPr>
                  <a:t>S4ener:hasValueType: (min 1 s4ener:Energy or s4ener:Power)</a:t>
                </a:r>
              </a:p>
              <a:p>
                <a:r>
                  <a:rPr lang="en-US" sz="600" dirty="0">
                    <a:solidFill>
                      <a:schemeClr val="tx1"/>
                    </a:solidFill>
                  </a:rPr>
                  <a:t>Saref:hasTime:saref:Time (max 1 s4ener:StartTime, max 1 s4ener:DefaultDuration, max 1 s4ener:MinDuration, max 1 S4ener:EndTime, max 1 s4ener:Max</a:t>
                </a:r>
              </a:p>
              <a:p>
                <a:r>
                  <a:rPr lang="en-US" sz="600" dirty="0">
                    <a:solidFill>
                      <a:schemeClr val="tx1"/>
                    </a:solidFill>
                  </a:rPr>
                  <a:t>S4ener:optionalSlot:Boolean(0..1)</a:t>
                </a:r>
              </a:p>
              <a:p>
                <a:r>
                  <a:rPr lang="en-US" sz="600" dirty="0">
                    <a:solidFill>
                      <a:schemeClr val="tx1"/>
                    </a:solidFill>
                  </a:rPr>
                  <a:t>S4ener:slotActivated:Boolean(0..1)</a:t>
                </a:r>
              </a:p>
              <a:p>
                <a:r>
                  <a:rPr lang="en-US" sz="600" dirty="0">
                    <a:solidFill>
                      <a:schemeClr val="tx1"/>
                    </a:solidFill>
                  </a:rPr>
                  <a:t>S4ener:slotNumber:unsignedInt(1..1)</a:t>
                </a:r>
              </a:p>
              <a:p>
                <a:r>
                  <a:rPr lang="en-US" sz="600" dirty="0">
                    <a:solidFill>
                      <a:schemeClr val="tx1"/>
                    </a:solidFill>
                  </a:rPr>
                  <a:t>Saref:hasDescription:string(0..1)</a:t>
                </a:r>
              </a:p>
            </p:txBody>
          </p:sp>
        </p:grpSp>
        <p:pic>
          <p:nvPicPr>
            <p:cNvPr id="28" name="Picture 27">
              <a:extLst>
                <a:ext uri="{FF2B5EF4-FFF2-40B4-BE49-F238E27FC236}">
                  <a16:creationId xmlns:a16="http://schemas.microsoft.com/office/drawing/2014/main" id="{B17F5ACB-3D19-47F0-B407-8AD0AFE6E3FC}"/>
                </a:ext>
              </a:extLst>
            </p:cNvPr>
            <p:cNvPicPr>
              <a:picLocks noChangeAspect="1"/>
            </p:cNvPicPr>
            <p:nvPr/>
          </p:nvPicPr>
          <p:blipFill rotWithShape="1">
            <a:blip r:embed="rId2"/>
            <a:srcRect l="14090" t="14565" r="84235" b="83946"/>
            <a:stretch/>
          </p:blipFill>
          <p:spPr>
            <a:xfrm>
              <a:off x="7116246" y="5132226"/>
              <a:ext cx="94821" cy="75141"/>
            </a:xfrm>
            <a:prstGeom prst="rect">
              <a:avLst/>
            </a:prstGeom>
          </p:spPr>
        </p:pic>
        <p:pic>
          <p:nvPicPr>
            <p:cNvPr id="64" name="Picture 63">
              <a:extLst>
                <a:ext uri="{FF2B5EF4-FFF2-40B4-BE49-F238E27FC236}">
                  <a16:creationId xmlns:a16="http://schemas.microsoft.com/office/drawing/2014/main" id="{B17F5ACB-3D19-47F0-B407-8AD0AFE6E3FC}"/>
                </a:ext>
              </a:extLst>
            </p:cNvPr>
            <p:cNvPicPr>
              <a:picLocks noChangeAspect="1"/>
            </p:cNvPicPr>
            <p:nvPr/>
          </p:nvPicPr>
          <p:blipFill rotWithShape="1">
            <a:blip r:embed="rId2"/>
            <a:srcRect l="889" t="16458" r="97436" b="82053"/>
            <a:stretch/>
          </p:blipFill>
          <p:spPr>
            <a:xfrm>
              <a:off x="4895759" y="5295453"/>
              <a:ext cx="78365" cy="62100"/>
            </a:xfrm>
            <a:prstGeom prst="rect">
              <a:avLst/>
            </a:prstGeom>
          </p:spPr>
        </p:pic>
        <p:pic>
          <p:nvPicPr>
            <p:cNvPr id="65" name="Picture 64">
              <a:extLst>
                <a:ext uri="{FF2B5EF4-FFF2-40B4-BE49-F238E27FC236}">
                  <a16:creationId xmlns:a16="http://schemas.microsoft.com/office/drawing/2014/main" id="{B17F5ACB-3D19-47F0-B407-8AD0AFE6E3FC}"/>
                </a:ext>
              </a:extLst>
            </p:cNvPr>
            <p:cNvPicPr>
              <a:picLocks noChangeAspect="1"/>
            </p:cNvPicPr>
            <p:nvPr/>
          </p:nvPicPr>
          <p:blipFill rotWithShape="1">
            <a:blip r:embed="rId2"/>
            <a:srcRect l="7149" t="4183" r="91176" b="94328"/>
            <a:stretch/>
          </p:blipFill>
          <p:spPr>
            <a:xfrm>
              <a:off x="4895759" y="5659565"/>
              <a:ext cx="78365" cy="62100"/>
            </a:xfrm>
            <a:prstGeom prst="rect">
              <a:avLst/>
            </a:prstGeom>
          </p:spPr>
        </p:pic>
        <p:pic>
          <p:nvPicPr>
            <p:cNvPr id="66" name="Picture 65">
              <a:extLst>
                <a:ext uri="{FF2B5EF4-FFF2-40B4-BE49-F238E27FC236}">
                  <a16:creationId xmlns:a16="http://schemas.microsoft.com/office/drawing/2014/main" id="{B17F5ACB-3D19-47F0-B407-8AD0AFE6E3FC}"/>
                </a:ext>
              </a:extLst>
            </p:cNvPr>
            <p:cNvPicPr>
              <a:picLocks noChangeAspect="1"/>
            </p:cNvPicPr>
            <p:nvPr/>
          </p:nvPicPr>
          <p:blipFill rotWithShape="1">
            <a:blip r:embed="rId2"/>
            <a:srcRect l="889" t="16458" r="97436" b="82053"/>
            <a:stretch/>
          </p:blipFill>
          <p:spPr>
            <a:xfrm>
              <a:off x="4895759" y="5386481"/>
              <a:ext cx="78365" cy="62100"/>
            </a:xfrm>
            <a:prstGeom prst="rect">
              <a:avLst/>
            </a:prstGeom>
          </p:spPr>
        </p:pic>
        <p:pic>
          <p:nvPicPr>
            <p:cNvPr id="67" name="Picture 66">
              <a:extLst>
                <a:ext uri="{FF2B5EF4-FFF2-40B4-BE49-F238E27FC236}">
                  <a16:creationId xmlns:a16="http://schemas.microsoft.com/office/drawing/2014/main" id="{B17F5ACB-3D19-47F0-B407-8AD0AFE6E3FC}"/>
                </a:ext>
              </a:extLst>
            </p:cNvPr>
            <p:cNvPicPr>
              <a:picLocks noChangeAspect="1"/>
            </p:cNvPicPr>
            <p:nvPr/>
          </p:nvPicPr>
          <p:blipFill rotWithShape="1">
            <a:blip r:embed="rId2"/>
            <a:srcRect l="889" t="16458" r="97436" b="82053"/>
            <a:stretch/>
          </p:blipFill>
          <p:spPr>
            <a:xfrm>
              <a:off x="4895759" y="5477509"/>
              <a:ext cx="78365" cy="62100"/>
            </a:xfrm>
            <a:prstGeom prst="rect">
              <a:avLst/>
            </a:prstGeom>
          </p:spPr>
        </p:pic>
        <p:pic>
          <p:nvPicPr>
            <p:cNvPr id="68" name="Picture 67">
              <a:extLst>
                <a:ext uri="{FF2B5EF4-FFF2-40B4-BE49-F238E27FC236}">
                  <a16:creationId xmlns:a16="http://schemas.microsoft.com/office/drawing/2014/main" id="{B17F5ACB-3D19-47F0-B407-8AD0AFE6E3FC}"/>
                </a:ext>
              </a:extLst>
            </p:cNvPr>
            <p:cNvPicPr>
              <a:picLocks noChangeAspect="1"/>
            </p:cNvPicPr>
            <p:nvPr/>
          </p:nvPicPr>
          <p:blipFill rotWithShape="1">
            <a:blip r:embed="rId2"/>
            <a:srcRect l="889" t="16458" r="97436" b="82053"/>
            <a:stretch/>
          </p:blipFill>
          <p:spPr>
            <a:xfrm>
              <a:off x="4895759" y="5568537"/>
              <a:ext cx="78365" cy="62100"/>
            </a:xfrm>
            <a:prstGeom prst="rect">
              <a:avLst/>
            </a:prstGeom>
          </p:spPr>
        </p:pic>
        <p:pic>
          <p:nvPicPr>
            <p:cNvPr id="69" name="Picture 68">
              <a:extLst>
                <a:ext uri="{FF2B5EF4-FFF2-40B4-BE49-F238E27FC236}">
                  <a16:creationId xmlns:a16="http://schemas.microsoft.com/office/drawing/2014/main" id="{B17F5ACB-3D19-47F0-B407-8AD0AFE6E3FC}"/>
                </a:ext>
              </a:extLst>
            </p:cNvPr>
            <p:cNvPicPr>
              <a:picLocks noChangeAspect="1"/>
            </p:cNvPicPr>
            <p:nvPr/>
          </p:nvPicPr>
          <p:blipFill rotWithShape="1">
            <a:blip r:embed="rId2"/>
            <a:srcRect l="939" t="19599" r="97386" b="78912"/>
            <a:stretch/>
          </p:blipFill>
          <p:spPr>
            <a:xfrm>
              <a:off x="4895759" y="6023677"/>
              <a:ext cx="78365" cy="62100"/>
            </a:xfrm>
            <a:prstGeom prst="rect">
              <a:avLst/>
            </a:prstGeom>
          </p:spPr>
        </p:pic>
        <p:pic>
          <p:nvPicPr>
            <p:cNvPr id="70" name="Picture 69">
              <a:extLst>
                <a:ext uri="{FF2B5EF4-FFF2-40B4-BE49-F238E27FC236}">
                  <a16:creationId xmlns:a16="http://schemas.microsoft.com/office/drawing/2014/main" id="{B17F5ACB-3D19-47F0-B407-8AD0AFE6E3FC}"/>
                </a:ext>
              </a:extLst>
            </p:cNvPr>
            <p:cNvPicPr>
              <a:picLocks noChangeAspect="1"/>
            </p:cNvPicPr>
            <p:nvPr/>
          </p:nvPicPr>
          <p:blipFill rotWithShape="1">
            <a:blip r:embed="rId2"/>
            <a:srcRect l="3637" t="73098" r="94688" b="25413"/>
            <a:stretch/>
          </p:blipFill>
          <p:spPr>
            <a:xfrm>
              <a:off x="4895759" y="6114702"/>
              <a:ext cx="78365" cy="62100"/>
            </a:xfrm>
            <a:prstGeom prst="rect">
              <a:avLst/>
            </a:prstGeom>
          </p:spPr>
        </p:pic>
        <p:pic>
          <p:nvPicPr>
            <p:cNvPr id="71" name="Picture 70">
              <a:extLst>
                <a:ext uri="{FF2B5EF4-FFF2-40B4-BE49-F238E27FC236}">
                  <a16:creationId xmlns:a16="http://schemas.microsoft.com/office/drawing/2014/main" id="{B17F5ACB-3D19-47F0-B407-8AD0AFE6E3FC}"/>
                </a:ext>
              </a:extLst>
            </p:cNvPr>
            <p:cNvPicPr>
              <a:picLocks noChangeAspect="1"/>
            </p:cNvPicPr>
            <p:nvPr/>
          </p:nvPicPr>
          <p:blipFill rotWithShape="1">
            <a:blip r:embed="rId2"/>
            <a:srcRect l="939" t="19599" r="97386" b="78912"/>
            <a:stretch/>
          </p:blipFill>
          <p:spPr>
            <a:xfrm>
              <a:off x="4895759" y="5932649"/>
              <a:ext cx="78365" cy="62100"/>
            </a:xfrm>
            <a:prstGeom prst="rect">
              <a:avLst/>
            </a:prstGeom>
          </p:spPr>
        </p:pic>
        <p:pic>
          <p:nvPicPr>
            <p:cNvPr id="72" name="Picture 71">
              <a:extLst>
                <a:ext uri="{FF2B5EF4-FFF2-40B4-BE49-F238E27FC236}">
                  <a16:creationId xmlns:a16="http://schemas.microsoft.com/office/drawing/2014/main" id="{B17F5ACB-3D19-47F0-B407-8AD0AFE6E3FC}"/>
                </a:ext>
              </a:extLst>
            </p:cNvPr>
            <p:cNvPicPr>
              <a:picLocks noChangeAspect="1"/>
            </p:cNvPicPr>
            <p:nvPr/>
          </p:nvPicPr>
          <p:blipFill rotWithShape="1">
            <a:blip r:embed="rId2"/>
            <a:srcRect l="939" t="19599" r="97386" b="78912"/>
            <a:stretch/>
          </p:blipFill>
          <p:spPr>
            <a:xfrm>
              <a:off x="4895759" y="5841621"/>
              <a:ext cx="78365" cy="62100"/>
            </a:xfrm>
            <a:prstGeom prst="rect">
              <a:avLst/>
            </a:prstGeom>
          </p:spPr>
        </p:pic>
        <p:pic>
          <p:nvPicPr>
            <p:cNvPr id="73" name="Picture 72">
              <a:extLst>
                <a:ext uri="{FF2B5EF4-FFF2-40B4-BE49-F238E27FC236}">
                  <a16:creationId xmlns:a16="http://schemas.microsoft.com/office/drawing/2014/main" id="{B17F5ACB-3D19-47F0-B407-8AD0AFE6E3FC}"/>
                </a:ext>
              </a:extLst>
            </p:cNvPr>
            <p:cNvPicPr>
              <a:picLocks noChangeAspect="1"/>
            </p:cNvPicPr>
            <p:nvPr/>
          </p:nvPicPr>
          <p:blipFill rotWithShape="1">
            <a:blip r:embed="rId2"/>
            <a:srcRect l="939" t="19599" r="97386" b="78912"/>
            <a:stretch/>
          </p:blipFill>
          <p:spPr>
            <a:xfrm>
              <a:off x="4895759" y="5750593"/>
              <a:ext cx="78365" cy="62100"/>
            </a:xfrm>
            <a:prstGeom prst="rect">
              <a:avLst/>
            </a:prstGeom>
          </p:spPr>
        </p:pic>
      </p:grpSp>
      <p:cxnSp>
        <p:nvCxnSpPr>
          <p:cNvPr id="80" name="Elbow Connector 79"/>
          <p:cNvCxnSpPr>
            <a:stCxn id="12" idx="3"/>
            <a:endCxn id="15" idx="1"/>
          </p:cNvCxnSpPr>
          <p:nvPr/>
        </p:nvCxnSpPr>
        <p:spPr>
          <a:xfrm>
            <a:off x="4419600" y="2549274"/>
            <a:ext cx="3422822" cy="247"/>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2" name="Elbow Connector 81"/>
          <p:cNvCxnSpPr>
            <a:stCxn id="18" idx="3"/>
            <a:endCxn id="15" idx="1"/>
          </p:cNvCxnSpPr>
          <p:nvPr/>
        </p:nvCxnSpPr>
        <p:spPr>
          <a:xfrm flipV="1">
            <a:off x="5634681" y="2549521"/>
            <a:ext cx="2207741" cy="1508451"/>
          </a:xfrm>
          <a:prstGeom prst="bentConnector3">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84" name="Elbow Connector 83"/>
          <p:cNvCxnSpPr>
            <a:stCxn id="91" idx="3"/>
            <a:endCxn id="20" idx="0"/>
          </p:cNvCxnSpPr>
          <p:nvPr/>
        </p:nvCxnSpPr>
        <p:spPr>
          <a:xfrm>
            <a:off x="5634681" y="4360076"/>
            <a:ext cx="1864171" cy="758126"/>
          </a:xfrm>
          <a:prstGeom prst="bentConnector2">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a:off x="6398315" y="2376831"/>
            <a:ext cx="680471" cy="91444"/>
          </a:xfrm>
          <a:prstGeom prst="rect">
            <a:avLst/>
          </a:prstGeom>
        </p:spPr>
        <p:txBody>
          <a:bodyPr wrap="none" lIns="0" tIns="0" rIns="0" bIns="0" rtlCol="0">
            <a:noAutofit/>
          </a:bodyPr>
          <a:lstStyle/>
          <a:p>
            <a:pPr marL="0" indent="0">
              <a:lnSpc>
                <a:spcPct val="100000"/>
              </a:lnSpc>
              <a:spcBef>
                <a:spcPts val="2200"/>
              </a:spcBef>
              <a:buClr>
                <a:schemeClr val="accent3"/>
              </a:buClr>
              <a:buSzPct val="150000"/>
              <a:buFontTx/>
              <a:buNone/>
            </a:pPr>
            <a:r>
              <a:rPr lang="en-US" sz="500" b="0" spc="0" dirty="0"/>
              <a:t>Saref: consistsOf</a:t>
            </a:r>
          </a:p>
        </p:txBody>
      </p:sp>
      <p:sp>
        <p:nvSpPr>
          <p:cNvPr id="88" name="TextBox 87"/>
          <p:cNvSpPr txBox="1"/>
          <p:nvPr/>
        </p:nvSpPr>
        <p:spPr>
          <a:xfrm>
            <a:off x="4490663" y="2697906"/>
            <a:ext cx="680471" cy="91444"/>
          </a:xfrm>
          <a:prstGeom prst="rect">
            <a:avLst/>
          </a:prstGeom>
        </p:spPr>
        <p:txBody>
          <a:bodyPr wrap="none" lIns="0" tIns="0" rIns="0" bIns="0" rtlCol="0">
            <a:noAutofit/>
          </a:bodyPr>
          <a:lstStyle/>
          <a:p>
            <a:pPr marL="0" indent="0">
              <a:lnSpc>
                <a:spcPct val="100000"/>
              </a:lnSpc>
              <a:spcBef>
                <a:spcPts val="2200"/>
              </a:spcBef>
              <a:buClr>
                <a:schemeClr val="accent3"/>
              </a:buClr>
              <a:buSzPct val="150000"/>
              <a:buFontTx/>
              <a:buNone/>
            </a:pPr>
            <a:r>
              <a:rPr lang="en-US" sz="500" b="0" spc="0" dirty="0"/>
              <a:t>Saref: belongs To</a:t>
            </a:r>
          </a:p>
        </p:txBody>
      </p:sp>
      <p:sp>
        <p:nvSpPr>
          <p:cNvPr id="90" name="TextBox 89"/>
          <p:cNvSpPr txBox="1"/>
          <p:nvPr/>
        </p:nvSpPr>
        <p:spPr>
          <a:xfrm>
            <a:off x="7078786" y="2697906"/>
            <a:ext cx="680471" cy="91444"/>
          </a:xfrm>
          <a:prstGeom prst="rect">
            <a:avLst/>
          </a:prstGeom>
        </p:spPr>
        <p:txBody>
          <a:bodyPr wrap="none" lIns="0" tIns="0" rIns="0" bIns="0" rtlCol="0">
            <a:noAutofit/>
          </a:bodyPr>
          <a:lstStyle/>
          <a:p>
            <a:pPr marL="0" indent="0">
              <a:lnSpc>
                <a:spcPct val="100000"/>
              </a:lnSpc>
              <a:spcBef>
                <a:spcPts val="2200"/>
              </a:spcBef>
              <a:buClr>
                <a:schemeClr val="accent3"/>
              </a:buClr>
              <a:buSzPct val="150000"/>
              <a:buFontTx/>
              <a:buNone/>
            </a:pPr>
            <a:r>
              <a:rPr lang="en-US" sz="500" b="0" spc="0" dirty="0"/>
              <a:t>Saref: belongs To</a:t>
            </a:r>
          </a:p>
        </p:txBody>
      </p:sp>
      <p:grpSp>
        <p:nvGrpSpPr>
          <p:cNvPr id="98" name="Group 97"/>
          <p:cNvGrpSpPr/>
          <p:nvPr/>
        </p:nvGrpSpPr>
        <p:grpSpPr>
          <a:xfrm>
            <a:off x="1527628" y="2993174"/>
            <a:ext cx="4107053" cy="2026407"/>
            <a:chOff x="1527628" y="2993174"/>
            <a:chExt cx="4107053" cy="2026407"/>
          </a:xfrm>
        </p:grpSpPr>
        <p:grpSp>
          <p:nvGrpSpPr>
            <p:cNvPr id="16" name="Group 15"/>
            <p:cNvGrpSpPr/>
            <p:nvPr/>
          </p:nvGrpSpPr>
          <p:grpSpPr>
            <a:xfrm>
              <a:off x="1527628" y="2993174"/>
              <a:ext cx="4107053" cy="2026407"/>
              <a:chOff x="2161664" y="1089711"/>
              <a:chExt cx="649180" cy="2026407"/>
            </a:xfrm>
          </p:grpSpPr>
          <p:sp>
            <p:nvSpPr>
              <p:cNvPr id="17" name="Rectangle 16"/>
              <p:cNvSpPr/>
              <p:nvPr/>
            </p:nvSpPr>
            <p:spPr>
              <a:xfrm>
                <a:off x="2161664" y="1089711"/>
                <a:ext cx="649180" cy="103190"/>
              </a:xfrm>
              <a:prstGeom prst="rect">
                <a:avLst/>
              </a:prstGeom>
              <a:noFill/>
              <a:ln w="12700" cap="flat" cmpd="sng" algn="ctr">
                <a:solidFill>
                  <a:schemeClr val="accent2">
                    <a:lumMod val="60000"/>
                    <a:lumOff val="40000"/>
                  </a:schemeClr>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600" dirty="0">
                    <a:solidFill>
                      <a:schemeClr val="tx1"/>
                    </a:solidFill>
                  </a:rPr>
                  <a:t>S4ener:PowerProfile</a:t>
                </a:r>
              </a:p>
            </p:txBody>
          </p:sp>
          <p:sp>
            <p:nvSpPr>
              <p:cNvPr id="18" name="Rectangle 17"/>
              <p:cNvSpPr/>
              <p:nvPr/>
            </p:nvSpPr>
            <p:spPr>
              <a:xfrm>
                <a:off x="2161664" y="1192899"/>
                <a:ext cx="649180" cy="1923219"/>
              </a:xfrm>
              <a:prstGeom prst="rect">
                <a:avLst/>
              </a:prstGeom>
              <a:noFill/>
              <a:ln w="12700" cap="flat" cmpd="sng" algn="ctr">
                <a:solidFill>
                  <a:schemeClr val="accent2">
                    <a:lumMod val="60000"/>
                    <a:lumOff val="40000"/>
                  </a:schemeClr>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r>
                  <a:rPr lang="en-US" sz="600" dirty="0">
                    <a:solidFill>
                      <a:schemeClr val="tx1"/>
                    </a:solidFill>
                  </a:rPr>
                  <a:t>S4ener:belongsTo:s4ener:AlternativesGroup(exactly 1 s4ener:AlternativesGroup</a:t>
                </a:r>
              </a:p>
              <a:p>
                <a:r>
                  <a:rPr lang="en-US" sz="600" dirty="0">
                    <a:solidFill>
                      <a:schemeClr val="tx1"/>
                    </a:solidFill>
                  </a:rPr>
                  <a:t>S4ener:hasEnergy:4ener:ResumeEnergyEstimated (max 1 s4sener:ResumeEnergyEstimated)</a:t>
                </a:r>
              </a:p>
              <a:p>
                <a:r>
                  <a:rPr lang="en-US" sz="600" dirty="0">
                    <a:solidFill>
                      <a:schemeClr val="tx1"/>
                    </a:solidFill>
                  </a:rPr>
                  <a:t>Saref:consistsOf:s4ener:Slot (min 1 s4ener:Slot)</a:t>
                </a:r>
              </a:p>
              <a:p>
                <a:r>
                  <a:rPr lang="en-US" sz="600" dirty="0">
                    <a:solidFill>
                      <a:schemeClr val="tx1"/>
                    </a:solidFill>
                  </a:rPr>
                  <a:t>Saref:hasPrice:s4ener:ResumeCostEstimated(max 1 s4ener:ResumeEnergyEstimated)</a:t>
                </a:r>
              </a:p>
              <a:p>
                <a:r>
                  <a:rPr lang="en-US" sz="600" dirty="0">
                    <a:solidFill>
                      <a:schemeClr val="tx1"/>
                    </a:solidFill>
                  </a:rPr>
                  <a:t>Saref:hasState:s4ener:PowerSequenceState (min 1 s4ener:PowerSequenceState)</a:t>
                </a:r>
              </a:p>
              <a:p>
                <a:r>
                  <a:rPr lang="en-US" sz="600" dirty="0">
                    <a:solidFill>
                      <a:schemeClr val="tx1"/>
                    </a:solidFill>
                  </a:rPr>
                  <a:t>Saref:hasTime: (max 1 s4ener:EarliestStartTime,max 1 s4ener:ActiveDurationSumMax, max1 S4ener:LatestEndTime, max1 s4ener:Ac</a:t>
                </a:r>
              </a:p>
              <a:p>
                <a:r>
                  <a:rPr lang="en-US" sz="600" dirty="0">
                    <a:solidFill>
                      <a:schemeClr val="tx1"/>
                    </a:solidFill>
                  </a:rPr>
                  <a:t>S4ener:activeRepetitionNumber:unsignedInt(0..1)</a:t>
                </a:r>
              </a:p>
              <a:p>
                <a:r>
                  <a:rPr lang="en-US" sz="600" dirty="0">
                    <a:solidFill>
                      <a:schemeClr val="tx1"/>
                    </a:solidFill>
                  </a:rPr>
                  <a:t>S4ener:activeSlotNumber:unsignedInt(0.11)</a:t>
                </a:r>
              </a:p>
              <a:p>
                <a:r>
                  <a:rPr lang="en-US" sz="600" dirty="0">
                    <a:solidFill>
                      <a:schemeClr val="tx1"/>
                    </a:solidFill>
                  </a:rPr>
                  <a:t>S4ener:cheapest:Boolean(0..1)</a:t>
                </a:r>
              </a:p>
              <a:p>
                <a:r>
                  <a:rPr lang="en-US" sz="600" dirty="0">
                    <a:solidFill>
                      <a:schemeClr val="tx1"/>
                    </a:solidFill>
                  </a:rPr>
                  <a:t>S4ener:greenest:Boolean(0..1)</a:t>
                </a:r>
              </a:p>
              <a:p>
                <a:r>
                  <a:rPr lang="en-US" sz="600" dirty="0">
                    <a:solidFill>
                      <a:schemeClr val="tx1"/>
                    </a:solidFill>
                  </a:rPr>
                  <a:t>S4ener:isPausable:Boolean(0..1)</a:t>
                </a:r>
              </a:p>
              <a:p>
                <a:r>
                  <a:rPr lang="en-US" sz="600" dirty="0">
                    <a:solidFill>
                      <a:schemeClr val="tx1"/>
                    </a:solidFill>
                  </a:rPr>
                  <a:t>S4ener:isStoppable:Boolean(0..1)</a:t>
                </a:r>
              </a:p>
              <a:p>
                <a:r>
                  <a:rPr lang="en-US" sz="600" dirty="0">
                    <a:solidFill>
                      <a:schemeClr val="tx1"/>
                    </a:solidFill>
                  </a:rPr>
                  <a:t>S4ener:maxCyclesPerDay:unsignedInt(0..1)</a:t>
                </a:r>
              </a:p>
              <a:p>
                <a:r>
                  <a:rPr lang="en-US" sz="600" dirty="0">
                    <a:solidFill>
                      <a:schemeClr val="tx1"/>
                    </a:solidFill>
                  </a:rPr>
                  <a:t>S4ener:repetitionsTotal:unsignedInt(0..1)</a:t>
                </a:r>
              </a:p>
              <a:p>
                <a:r>
                  <a:rPr lang="en-US" sz="600" dirty="0">
                    <a:solidFill>
                      <a:schemeClr val="tx1"/>
                    </a:solidFill>
                  </a:rPr>
                  <a:t>S4ener:sequqnceID:unsignedInt(1..1)</a:t>
                </a:r>
              </a:p>
              <a:p>
                <a:r>
                  <a:rPr lang="en-US" sz="600" dirty="0">
                    <a:solidFill>
                      <a:schemeClr val="tx1"/>
                    </a:solidFill>
                  </a:rPr>
                  <a:t>S4ener:sequenceRemoteControllable:Boolean(1..1)</a:t>
                </a:r>
              </a:p>
              <a:p>
                <a:r>
                  <a:rPr lang="en-US" sz="600" dirty="0">
                    <a:solidFill>
                      <a:schemeClr val="tx1"/>
                    </a:solidFill>
                  </a:rPr>
                  <a:t>S4ener:taskIdentifier:unsignedInt(0..)</a:t>
                </a:r>
              </a:p>
              <a:p>
                <a:r>
                  <a:rPr lang="en-US" sz="600" dirty="0">
                    <a:solidFill>
                      <a:schemeClr val="tx1"/>
                    </a:solidFill>
                  </a:rPr>
                  <a:t>S4ener:valueSource:{“measuredValue”, “calculatedValue”, “empiricalValue”}(0..)</a:t>
                </a:r>
              </a:p>
              <a:p>
                <a:r>
                  <a:rPr lang="en-US" sz="600" dirty="0">
                    <a:solidFill>
                      <a:schemeClr val="tx1"/>
                    </a:solidFill>
                  </a:rPr>
                  <a:t>Saref:hasDescription:string(0..1)</a:t>
                </a:r>
              </a:p>
            </p:txBody>
          </p:sp>
        </p:grpSp>
        <p:pic>
          <p:nvPicPr>
            <p:cNvPr id="27" name="Picture 26">
              <a:extLst>
                <a:ext uri="{FF2B5EF4-FFF2-40B4-BE49-F238E27FC236}">
                  <a16:creationId xmlns:a16="http://schemas.microsoft.com/office/drawing/2014/main" id="{B17F5ACB-3D19-47F0-B407-8AD0AFE6E3FC}"/>
                </a:ext>
              </a:extLst>
            </p:cNvPr>
            <p:cNvPicPr>
              <a:picLocks noChangeAspect="1"/>
            </p:cNvPicPr>
            <p:nvPr/>
          </p:nvPicPr>
          <p:blipFill rotWithShape="1">
            <a:blip r:embed="rId2"/>
            <a:srcRect l="14090" t="14565" r="84235" b="83946"/>
            <a:stretch/>
          </p:blipFill>
          <p:spPr>
            <a:xfrm>
              <a:off x="3014146" y="3007198"/>
              <a:ext cx="94821" cy="75141"/>
            </a:xfrm>
            <a:prstGeom prst="rect">
              <a:avLst/>
            </a:prstGeom>
          </p:spPr>
        </p:pic>
        <p:pic>
          <p:nvPicPr>
            <p:cNvPr id="44" name="Picture 43">
              <a:extLst>
                <a:ext uri="{FF2B5EF4-FFF2-40B4-BE49-F238E27FC236}">
                  <a16:creationId xmlns:a16="http://schemas.microsoft.com/office/drawing/2014/main" id="{B17F5ACB-3D19-47F0-B407-8AD0AFE6E3FC}"/>
                </a:ext>
              </a:extLst>
            </p:cNvPr>
            <p:cNvPicPr>
              <a:picLocks noChangeAspect="1"/>
            </p:cNvPicPr>
            <p:nvPr/>
          </p:nvPicPr>
          <p:blipFill rotWithShape="1">
            <a:blip r:embed="rId2"/>
            <a:srcRect l="889" t="16458" r="97436" b="82053"/>
            <a:stretch/>
          </p:blipFill>
          <p:spPr>
            <a:xfrm>
              <a:off x="1534771" y="3154926"/>
              <a:ext cx="78365" cy="62100"/>
            </a:xfrm>
            <a:prstGeom prst="rect">
              <a:avLst/>
            </a:prstGeom>
          </p:spPr>
        </p:pic>
        <p:pic>
          <p:nvPicPr>
            <p:cNvPr id="45" name="Picture 44">
              <a:extLst>
                <a:ext uri="{FF2B5EF4-FFF2-40B4-BE49-F238E27FC236}">
                  <a16:creationId xmlns:a16="http://schemas.microsoft.com/office/drawing/2014/main" id="{B17F5ACB-3D19-47F0-B407-8AD0AFE6E3FC}"/>
                </a:ext>
              </a:extLst>
            </p:cNvPr>
            <p:cNvPicPr>
              <a:picLocks noChangeAspect="1"/>
            </p:cNvPicPr>
            <p:nvPr/>
          </p:nvPicPr>
          <p:blipFill rotWithShape="1">
            <a:blip r:embed="rId2"/>
            <a:srcRect l="7149" t="4183" r="91176" b="94328"/>
            <a:stretch/>
          </p:blipFill>
          <p:spPr>
            <a:xfrm>
              <a:off x="1534771" y="3337814"/>
              <a:ext cx="78365" cy="62100"/>
            </a:xfrm>
            <a:prstGeom prst="rect">
              <a:avLst/>
            </a:prstGeom>
          </p:spPr>
        </p:pic>
        <p:pic>
          <p:nvPicPr>
            <p:cNvPr id="47" name="Picture 46">
              <a:extLst>
                <a:ext uri="{FF2B5EF4-FFF2-40B4-BE49-F238E27FC236}">
                  <a16:creationId xmlns:a16="http://schemas.microsoft.com/office/drawing/2014/main" id="{B17F5ACB-3D19-47F0-B407-8AD0AFE6E3FC}"/>
                </a:ext>
              </a:extLst>
            </p:cNvPr>
            <p:cNvPicPr>
              <a:picLocks noChangeAspect="1"/>
            </p:cNvPicPr>
            <p:nvPr/>
          </p:nvPicPr>
          <p:blipFill rotWithShape="1">
            <a:blip r:embed="rId2"/>
            <a:srcRect l="889" t="16458" r="97436" b="82053"/>
            <a:stretch/>
          </p:blipFill>
          <p:spPr>
            <a:xfrm>
              <a:off x="1534771" y="3246370"/>
              <a:ext cx="78365" cy="62100"/>
            </a:xfrm>
            <a:prstGeom prst="rect">
              <a:avLst/>
            </a:prstGeom>
          </p:spPr>
        </p:pic>
        <p:pic>
          <p:nvPicPr>
            <p:cNvPr id="48" name="Picture 47">
              <a:extLst>
                <a:ext uri="{FF2B5EF4-FFF2-40B4-BE49-F238E27FC236}">
                  <a16:creationId xmlns:a16="http://schemas.microsoft.com/office/drawing/2014/main" id="{B17F5ACB-3D19-47F0-B407-8AD0AFE6E3FC}"/>
                </a:ext>
              </a:extLst>
            </p:cNvPr>
            <p:cNvPicPr>
              <a:picLocks noChangeAspect="1"/>
            </p:cNvPicPr>
            <p:nvPr/>
          </p:nvPicPr>
          <p:blipFill rotWithShape="1">
            <a:blip r:embed="rId2"/>
            <a:srcRect l="7149" t="4183" r="91176" b="94328"/>
            <a:stretch/>
          </p:blipFill>
          <p:spPr>
            <a:xfrm>
              <a:off x="1534771" y="3429258"/>
              <a:ext cx="78365" cy="62100"/>
            </a:xfrm>
            <a:prstGeom prst="rect">
              <a:avLst/>
            </a:prstGeom>
          </p:spPr>
        </p:pic>
        <p:pic>
          <p:nvPicPr>
            <p:cNvPr id="49" name="Picture 48">
              <a:extLst>
                <a:ext uri="{FF2B5EF4-FFF2-40B4-BE49-F238E27FC236}">
                  <a16:creationId xmlns:a16="http://schemas.microsoft.com/office/drawing/2014/main" id="{B17F5ACB-3D19-47F0-B407-8AD0AFE6E3FC}"/>
                </a:ext>
              </a:extLst>
            </p:cNvPr>
            <p:cNvPicPr>
              <a:picLocks noChangeAspect="1"/>
            </p:cNvPicPr>
            <p:nvPr/>
          </p:nvPicPr>
          <p:blipFill rotWithShape="1">
            <a:blip r:embed="rId2"/>
            <a:srcRect l="7149" t="4183" r="91176" b="94328"/>
            <a:stretch/>
          </p:blipFill>
          <p:spPr>
            <a:xfrm>
              <a:off x="1534771" y="3520702"/>
              <a:ext cx="78365" cy="62100"/>
            </a:xfrm>
            <a:prstGeom prst="rect">
              <a:avLst/>
            </a:prstGeom>
          </p:spPr>
        </p:pic>
        <p:pic>
          <p:nvPicPr>
            <p:cNvPr id="50" name="Picture 49">
              <a:extLst>
                <a:ext uri="{FF2B5EF4-FFF2-40B4-BE49-F238E27FC236}">
                  <a16:creationId xmlns:a16="http://schemas.microsoft.com/office/drawing/2014/main" id="{B17F5ACB-3D19-47F0-B407-8AD0AFE6E3FC}"/>
                </a:ext>
              </a:extLst>
            </p:cNvPr>
            <p:cNvPicPr>
              <a:picLocks noChangeAspect="1"/>
            </p:cNvPicPr>
            <p:nvPr/>
          </p:nvPicPr>
          <p:blipFill rotWithShape="1">
            <a:blip r:embed="rId2"/>
            <a:srcRect l="7149" t="4183" r="91176" b="94328"/>
            <a:stretch/>
          </p:blipFill>
          <p:spPr>
            <a:xfrm>
              <a:off x="1534771" y="3612146"/>
              <a:ext cx="78365" cy="62100"/>
            </a:xfrm>
            <a:prstGeom prst="rect">
              <a:avLst/>
            </a:prstGeom>
          </p:spPr>
        </p:pic>
        <p:pic>
          <p:nvPicPr>
            <p:cNvPr id="51" name="Picture 50">
              <a:extLst>
                <a:ext uri="{FF2B5EF4-FFF2-40B4-BE49-F238E27FC236}">
                  <a16:creationId xmlns:a16="http://schemas.microsoft.com/office/drawing/2014/main" id="{B17F5ACB-3D19-47F0-B407-8AD0AFE6E3FC}"/>
                </a:ext>
              </a:extLst>
            </p:cNvPr>
            <p:cNvPicPr>
              <a:picLocks noChangeAspect="1"/>
            </p:cNvPicPr>
            <p:nvPr/>
          </p:nvPicPr>
          <p:blipFill rotWithShape="1">
            <a:blip r:embed="rId2"/>
            <a:srcRect l="939" t="19599" r="97386" b="78912"/>
            <a:stretch/>
          </p:blipFill>
          <p:spPr>
            <a:xfrm>
              <a:off x="1534771" y="3795034"/>
              <a:ext cx="78365" cy="62100"/>
            </a:xfrm>
            <a:prstGeom prst="rect">
              <a:avLst/>
            </a:prstGeom>
          </p:spPr>
        </p:pic>
        <p:pic>
          <p:nvPicPr>
            <p:cNvPr id="52" name="Picture 51">
              <a:extLst>
                <a:ext uri="{FF2B5EF4-FFF2-40B4-BE49-F238E27FC236}">
                  <a16:creationId xmlns:a16="http://schemas.microsoft.com/office/drawing/2014/main" id="{B17F5ACB-3D19-47F0-B407-8AD0AFE6E3FC}"/>
                </a:ext>
              </a:extLst>
            </p:cNvPr>
            <p:cNvPicPr>
              <a:picLocks noChangeAspect="1"/>
            </p:cNvPicPr>
            <p:nvPr/>
          </p:nvPicPr>
          <p:blipFill rotWithShape="1">
            <a:blip r:embed="rId2"/>
            <a:srcRect l="939" t="19599" r="97386" b="78912"/>
            <a:stretch/>
          </p:blipFill>
          <p:spPr>
            <a:xfrm>
              <a:off x="1534771" y="3886478"/>
              <a:ext cx="78365" cy="62100"/>
            </a:xfrm>
            <a:prstGeom prst="rect">
              <a:avLst/>
            </a:prstGeom>
          </p:spPr>
        </p:pic>
        <p:pic>
          <p:nvPicPr>
            <p:cNvPr id="53" name="Picture 52">
              <a:extLst>
                <a:ext uri="{FF2B5EF4-FFF2-40B4-BE49-F238E27FC236}">
                  <a16:creationId xmlns:a16="http://schemas.microsoft.com/office/drawing/2014/main" id="{B17F5ACB-3D19-47F0-B407-8AD0AFE6E3FC}"/>
                </a:ext>
              </a:extLst>
            </p:cNvPr>
            <p:cNvPicPr>
              <a:picLocks noChangeAspect="1"/>
            </p:cNvPicPr>
            <p:nvPr/>
          </p:nvPicPr>
          <p:blipFill rotWithShape="1">
            <a:blip r:embed="rId2"/>
            <a:srcRect l="939" t="19599" r="97386" b="78912"/>
            <a:stretch/>
          </p:blipFill>
          <p:spPr>
            <a:xfrm>
              <a:off x="1534771" y="3977922"/>
              <a:ext cx="78365" cy="62100"/>
            </a:xfrm>
            <a:prstGeom prst="rect">
              <a:avLst/>
            </a:prstGeom>
          </p:spPr>
        </p:pic>
        <p:pic>
          <p:nvPicPr>
            <p:cNvPr id="54" name="Picture 53">
              <a:extLst>
                <a:ext uri="{FF2B5EF4-FFF2-40B4-BE49-F238E27FC236}">
                  <a16:creationId xmlns:a16="http://schemas.microsoft.com/office/drawing/2014/main" id="{B17F5ACB-3D19-47F0-B407-8AD0AFE6E3FC}"/>
                </a:ext>
              </a:extLst>
            </p:cNvPr>
            <p:cNvPicPr>
              <a:picLocks noChangeAspect="1"/>
            </p:cNvPicPr>
            <p:nvPr/>
          </p:nvPicPr>
          <p:blipFill rotWithShape="1">
            <a:blip r:embed="rId2"/>
            <a:srcRect l="939" t="19599" r="97386" b="78912"/>
            <a:stretch/>
          </p:blipFill>
          <p:spPr>
            <a:xfrm>
              <a:off x="1534771" y="4069366"/>
              <a:ext cx="78365" cy="62100"/>
            </a:xfrm>
            <a:prstGeom prst="rect">
              <a:avLst/>
            </a:prstGeom>
          </p:spPr>
        </p:pic>
        <p:pic>
          <p:nvPicPr>
            <p:cNvPr id="55" name="Picture 54">
              <a:extLst>
                <a:ext uri="{FF2B5EF4-FFF2-40B4-BE49-F238E27FC236}">
                  <a16:creationId xmlns:a16="http://schemas.microsoft.com/office/drawing/2014/main" id="{B17F5ACB-3D19-47F0-B407-8AD0AFE6E3FC}"/>
                </a:ext>
              </a:extLst>
            </p:cNvPr>
            <p:cNvPicPr>
              <a:picLocks noChangeAspect="1"/>
            </p:cNvPicPr>
            <p:nvPr/>
          </p:nvPicPr>
          <p:blipFill rotWithShape="1">
            <a:blip r:embed="rId2"/>
            <a:srcRect l="939" t="19599" r="97386" b="78912"/>
            <a:stretch/>
          </p:blipFill>
          <p:spPr>
            <a:xfrm>
              <a:off x="1534771" y="4160810"/>
              <a:ext cx="78365" cy="62100"/>
            </a:xfrm>
            <a:prstGeom prst="rect">
              <a:avLst/>
            </a:prstGeom>
          </p:spPr>
        </p:pic>
        <p:pic>
          <p:nvPicPr>
            <p:cNvPr id="56" name="Picture 55">
              <a:extLst>
                <a:ext uri="{FF2B5EF4-FFF2-40B4-BE49-F238E27FC236}">
                  <a16:creationId xmlns:a16="http://schemas.microsoft.com/office/drawing/2014/main" id="{B17F5ACB-3D19-47F0-B407-8AD0AFE6E3FC}"/>
                </a:ext>
              </a:extLst>
            </p:cNvPr>
            <p:cNvPicPr>
              <a:picLocks noChangeAspect="1"/>
            </p:cNvPicPr>
            <p:nvPr/>
          </p:nvPicPr>
          <p:blipFill rotWithShape="1">
            <a:blip r:embed="rId2"/>
            <a:srcRect l="939" t="19599" r="97386" b="78912"/>
            <a:stretch/>
          </p:blipFill>
          <p:spPr>
            <a:xfrm>
              <a:off x="1534771" y="4252254"/>
              <a:ext cx="78365" cy="62100"/>
            </a:xfrm>
            <a:prstGeom prst="rect">
              <a:avLst/>
            </a:prstGeom>
          </p:spPr>
        </p:pic>
        <p:pic>
          <p:nvPicPr>
            <p:cNvPr id="57" name="Picture 56">
              <a:extLst>
                <a:ext uri="{FF2B5EF4-FFF2-40B4-BE49-F238E27FC236}">
                  <a16:creationId xmlns:a16="http://schemas.microsoft.com/office/drawing/2014/main" id="{B17F5ACB-3D19-47F0-B407-8AD0AFE6E3FC}"/>
                </a:ext>
              </a:extLst>
            </p:cNvPr>
            <p:cNvPicPr>
              <a:picLocks noChangeAspect="1"/>
            </p:cNvPicPr>
            <p:nvPr/>
          </p:nvPicPr>
          <p:blipFill rotWithShape="1">
            <a:blip r:embed="rId2"/>
            <a:srcRect l="939" t="19599" r="97386" b="78912"/>
            <a:stretch/>
          </p:blipFill>
          <p:spPr>
            <a:xfrm>
              <a:off x="1534771" y="4343698"/>
              <a:ext cx="78365" cy="62100"/>
            </a:xfrm>
            <a:prstGeom prst="rect">
              <a:avLst/>
            </a:prstGeom>
          </p:spPr>
        </p:pic>
        <p:pic>
          <p:nvPicPr>
            <p:cNvPr id="58" name="Picture 57">
              <a:extLst>
                <a:ext uri="{FF2B5EF4-FFF2-40B4-BE49-F238E27FC236}">
                  <a16:creationId xmlns:a16="http://schemas.microsoft.com/office/drawing/2014/main" id="{B17F5ACB-3D19-47F0-B407-8AD0AFE6E3FC}"/>
                </a:ext>
              </a:extLst>
            </p:cNvPr>
            <p:cNvPicPr>
              <a:picLocks noChangeAspect="1"/>
            </p:cNvPicPr>
            <p:nvPr/>
          </p:nvPicPr>
          <p:blipFill rotWithShape="1">
            <a:blip r:embed="rId2"/>
            <a:srcRect l="939" t="19599" r="97386" b="78912"/>
            <a:stretch/>
          </p:blipFill>
          <p:spPr>
            <a:xfrm>
              <a:off x="1534771" y="4526586"/>
              <a:ext cx="78365" cy="62100"/>
            </a:xfrm>
            <a:prstGeom prst="rect">
              <a:avLst/>
            </a:prstGeom>
          </p:spPr>
        </p:pic>
        <p:pic>
          <p:nvPicPr>
            <p:cNvPr id="59" name="Picture 58">
              <a:extLst>
                <a:ext uri="{FF2B5EF4-FFF2-40B4-BE49-F238E27FC236}">
                  <a16:creationId xmlns:a16="http://schemas.microsoft.com/office/drawing/2014/main" id="{B17F5ACB-3D19-47F0-B407-8AD0AFE6E3FC}"/>
                </a:ext>
              </a:extLst>
            </p:cNvPr>
            <p:cNvPicPr>
              <a:picLocks noChangeAspect="1"/>
            </p:cNvPicPr>
            <p:nvPr/>
          </p:nvPicPr>
          <p:blipFill rotWithShape="1">
            <a:blip r:embed="rId2"/>
            <a:srcRect l="939" t="19599" r="97386" b="78912"/>
            <a:stretch/>
          </p:blipFill>
          <p:spPr>
            <a:xfrm>
              <a:off x="1534771" y="4618030"/>
              <a:ext cx="78365" cy="62100"/>
            </a:xfrm>
            <a:prstGeom prst="rect">
              <a:avLst/>
            </a:prstGeom>
          </p:spPr>
        </p:pic>
        <p:pic>
          <p:nvPicPr>
            <p:cNvPr id="60" name="Picture 59">
              <a:extLst>
                <a:ext uri="{FF2B5EF4-FFF2-40B4-BE49-F238E27FC236}">
                  <a16:creationId xmlns:a16="http://schemas.microsoft.com/office/drawing/2014/main" id="{B17F5ACB-3D19-47F0-B407-8AD0AFE6E3FC}"/>
                </a:ext>
              </a:extLst>
            </p:cNvPr>
            <p:cNvPicPr>
              <a:picLocks noChangeAspect="1"/>
            </p:cNvPicPr>
            <p:nvPr/>
          </p:nvPicPr>
          <p:blipFill rotWithShape="1">
            <a:blip r:embed="rId2"/>
            <a:srcRect l="939" t="19599" r="97386" b="78912"/>
            <a:stretch/>
          </p:blipFill>
          <p:spPr>
            <a:xfrm>
              <a:off x="1534771" y="4709474"/>
              <a:ext cx="78365" cy="62100"/>
            </a:xfrm>
            <a:prstGeom prst="rect">
              <a:avLst/>
            </a:prstGeom>
          </p:spPr>
        </p:pic>
        <p:pic>
          <p:nvPicPr>
            <p:cNvPr id="61" name="Picture 60">
              <a:extLst>
                <a:ext uri="{FF2B5EF4-FFF2-40B4-BE49-F238E27FC236}">
                  <a16:creationId xmlns:a16="http://schemas.microsoft.com/office/drawing/2014/main" id="{B17F5ACB-3D19-47F0-B407-8AD0AFE6E3FC}"/>
                </a:ext>
              </a:extLst>
            </p:cNvPr>
            <p:cNvPicPr>
              <a:picLocks noChangeAspect="1"/>
            </p:cNvPicPr>
            <p:nvPr/>
          </p:nvPicPr>
          <p:blipFill rotWithShape="1">
            <a:blip r:embed="rId2"/>
            <a:srcRect l="939" t="19599" r="97386" b="78912"/>
            <a:stretch/>
          </p:blipFill>
          <p:spPr>
            <a:xfrm>
              <a:off x="1534771" y="4800918"/>
              <a:ext cx="78365" cy="62100"/>
            </a:xfrm>
            <a:prstGeom prst="rect">
              <a:avLst/>
            </a:prstGeom>
          </p:spPr>
        </p:pic>
        <p:pic>
          <p:nvPicPr>
            <p:cNvPr id="62" name="Picture 61">
              <a:extLst>
                <a:ext uri="{FF2B5EF4-FFF2-40B4-BE49-F238E27FC236}">
                  <a16:creationId xmlns:a16="http://schemas.microsoft.com/office/drawing/2014/main" id="{B17F5ACB-3D19-47F0-B407-8AD0AFE6E3FC}"/>
                </a:ext>
              </a:extLst>
            </p:cNvPr>
            <p:cNvPicPr>
              <a:picLocks noChangeAspect="1"/>
            </p:cNvPicPr>
            <p:nvPr/>
          </p:nvPicPr>
          <p:blipFill rotWithShape="1">
            <a:blip r:embed="rId2"/>
            <a:srcRect l="3637" t="73098" r="94688" b="25413"/>
            <a:stretch/>
          </p:blipFill>
          <p:spPr>
            <a:xfrm>
              <a:off x="1534771" y="4892359"/>
              <a:ext cx="78365" cy="62100"/>
            </a:xfrm>
            <a:prstGeom prst="rect">
              <a:avLst/>
            </a:prstGeom>
          </p:spPr>
        </p:pic>
        <p:pic>
          <p:nvPicPr>
            <p:cNvPr id="63" name="Picture 62">
              <a:extLst>
                <a:ext uri="{FF2B5EF4-FFF2-40B4-BE49-F238E27FC236}">
                  <a16:creationId xmlns:a16="http://schemas.microsoft.com/office/drawing/2014/main" id="{B17F5ACB-3D19-47F0-B407-8AD0AFE6E3FC}"/>
                </a:ext>
              </a:extLst>
            </p:cNvPr>
            <p:cNvPicPr>
              <a:picLocks noChangeAspect="1"/>
            </p:cNvPicPr>
            <p:nvPr/>
          </p:nvPicPr>
          <p:blipFill rotWithShape="1">
            <a:blip r:embed="rId2"/>
            <a:srcRect l="939" t="19599" r="97386" b="78912"/>
            <a:stretch/>
          </p:blipFill>
          <p:spPr>
            <a:xfrm>
              <a:off x="1534771" y="4435142"/>
              <a:ext cx="78365" cy="62100"/>
            </a:xfrm>
            <a:prstGeom prst="rect">
              <a:avLst/>
            </a:prstGeom>
          </p:spPr>
        </p:pic>
        <p:sp>
          <p:nvSpPr>
            <p:cNvPr id="91" name="Rectangle 90"/>
            <p:cNvSpPr/>
            <p:nvPr/>
          </p:nvSpPr>
          <p:spPr>
            <a:xfrm>
              <a:off x="5547426" y="4314354"/>
              <a:ext cx="87255" cy="91444"/>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93" name="TextBox 92"/>
          <p:cNvSpPr txBox="1"/>
          <p:nvPr/>
        </p:nvSpPr>
        <p:spPr>
          <a:xfrm>
            <a:off x="5948304" y="3855659"/>
            <a:ext cx="680471" cy="91444"/>
          </a:xfrm>
          <a:prstGeom prst="rect">
            <a:avLst/>
          </a:prstGeom>
        </p:spPr>
        <p:txBody>
          <a:bodyPr wrap="none" lIns="0" tIns="0" rIns="0" bIns="0" rtlCol="0">
            <a:noAutofit/>
          </a:bodyPr>
          <a:lstStyle/>
          <a:p>
            <a:pPr marL="0" indent="0">
              <a:lnSpc>
                <a:spcPct val="100000"/>
              </a:lnSpc>
              <a:spcBef>
                <a:spcPts val="2200"/>
              </a:spcBef>
              <a:buClr>
                <a:schemeClr val="accent3"/>
              </a:buClr>
              <a:buSzPct val="150000"/>
              <a:buFontTx/>
              <a:buNone/>
            </a:pPr>
            <a:r>
              <a:rPr lang="en-US" sz="500" b="0" spc="0" dirty="0"/>
              <a:t>Saref: consistsOf</a:t>
            </a:r>
          </a:p>
        </p:txBody>
      </p:sp>
      <p:sp>
        <p:nvSpPr>
          <p:cNvPr id="94" name="TextBox 93"/>
          <p:cNvSpPr txBox="1"/>
          <p:nvPr/>
        </p:nvSpPr>
        <p:spPr>
          <a:xfrm>
            <a:off x="5700275" y="4455608"/>
            <a:ext cx="680471" cy="91444"/>
          </a:xfrm>
          <a:prstGeom prst="rect">
            <a:avLst/>
          </a:prstGeom>
        </p:spPr>
        <p:txBody>
          <a:bodyPr wrap="none" lIns="0" tIns="0" rIns="0" bIns="0" rtlCol="0">
            <a:noAutofit/>
          </a:bodyPr>
          <a:lstStyle/>
          <a:p>
            <a:pPr marL="0" indent="0">
              <a:lnSpc>
                <a:spcPct val="100000"/>
              </a:lnSpc>
              <a:spcBef>
                <a:spcPts val="2200"/>
              </a:spcBef>
              <a:buClr>
                <a:schemeClr val="accent3"/>
              </a:buClr>
              <a:buSzPct val="150000"/>
              <a:buFontTx/>
              <a:buNone/>
            </a:pPr>
            <a:r>
              <a:rPr lang="en-US" sz="500" b="0" spc="0" dirty="0"/>
              <a:t>s4ener: belongsTo</a:t>
            </a:r>
          </a:p>
        </p:txBody>
      </p:sp>
      <p:sp>
        <p:nvSpPr>
          <p:cNvPr id="95" name="TextBox 94"/>
          <p:cNvSpPr txBox="1"/>
          <p:nvPr/>
        </p:nvSpPr>
        <p:spPr>
          <a:xfrm>
            <a:off x="7585313" y="4923409"/>
            <a:ext cx="680471" cy="91444"/>
          </a:xfrm>
          <a:prstGeom prst="rect">
            <a:avLst/>
          </a:prstGeom>
        </p:spPr>
        <p:txBody>
          <a:bodyPr wrap="none" lIns="0" tIns="0" rIns="0" bIns="0" rtlCol="0">
            <a:noAutofit/>
          </a:bodyPr>
          <a:lstStyle/>
          <a:p>
            <a:pPr marL="0" indent="0">
              <a:lnSpc>
                <a:spcPct val="100000"/>
              </a:lnSpc>
              <a:spcBef>
                <a:spcPts val="2200"/>
              </a:spcBef>
              <a:buClr>
                <a:schemeClr val="accent3"/>
              </a:buClr>
              <a:buSzPct val="150000"/>
              <a:buFontTx/>
              <a:buNone/>
            </a:pPr>
            <a:r>
              <a:rPr lang="en-US" sz="500" b="0" spc="0" dirty="0"/>
              <a:t>saref: consistsOf</a:t>
            </a:r>
          </a:p>
        </p:txBody>
      </p:sp>
      <p:grpSp>
        <p:nvGrpSpPr>
          <p:cNvPr id="99" name="Group 98"/>
          <p:cNvGrpSpPr/>
          <p:nvPr/>
        </p:nvGrpSpPr>
        <p:grpSpPr>
          <a:xfrm>
            <a:off x="984345" y="2100805"/>
            <a:ext cx="3435255" cy="793749"/>
            <a:chOff x="984345" y="2100805"/>
            <a:chExt cx="3435255" cy="793749"/>
          </a:xfrm>
        </p:grpSpPr>
        <p:grpSp>
          <p:nvGrpSpPr>
            <p:cNvPr id="10" name="Group 9"/>
            <p:cNvGrpSpPr/>
            <p:nvPr/>
          </p:nvGrpSpPr>
          <p:grpSpPr>
            <a:xfrm>
              <a:off x="985764" y="2100805"/>
              <a:ext cx="3433836" cy="793749"/>
              <a:chOff x="2161664" y="1089711"/>
              <a:chExt cx="649180" cy="793749"/>
            </a:xfrm>
          </p:grpSpPr>
          <p:sp>
            <p:nvSpPr>
              <p:cNvPr id="11" name="Rectangle 10"/>
              <p:cNvSpPr/>
              <p:nvPr/>
            </p:nvSpPr>
            <p:spPr>
              <a:xfrm>
                <a:off x="2161664" y="1089711"/>
                <a:ext cx="649180" cy="103190"/>
              </a:xfrm>
              <a:prstGeom prst="rect">
                <a:avLst/>
              </a:prstGeom>
              <a:noFill/>
              <a:ln w="12700" cap="flat" cmpd="sng" algn="ctr">
                <a:solidFill>
                  <a:schemeClr val="accent2">
                    <a:lumMod val="60000"/>
                    <a:lumOff val="40000"/>
                  </a:schemeClr>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600" dirty="0">
                    <a:solidFill>
                      <a:schemeClr val="tx1"/>
                    </a:solidFill>
                  </a:rPr>
                  <a:t>S4ener:PowerProfile</a:t>
                </a:r>
              </a:p>
            </p:txBody>
          </p:sp>
          <p:sp>
            <p:nvSpPr>
              <p:cNvPr id="12" name="Rectangle 11"/>
              <p:cNvSpPr/>
              <p:nvPr/>
            </p:nvSpPr>
            <p:spPr>
              <a:xfrm>
                <a:off x="2161664" y="1192900"/>
                <a:ext cx="649180" cy="690560"/>
              </a:xfrm>
              <a:prstGeom prst="rect">
                <a:avLst/>
              </a:prstGeom>
              <a:noFill/>
              <a:ln w="12700" cap="flat" cmpd="sng" algn="ctr">
                <a:solidFill>
                  <a:schemeClr val="accent2">
                    <a:lumMod val="60000"/>
                    <a:lumOff val="40000"/>
                  </a:schemeClr>
                </a:solidFill>
                <a:prstDash val="solid"/>
                <a:miter lim="800000"/>
              </a:ln>
              <a:effectLst/>
              <a:extLst>
                <a:ext uri="{909E8E84-426E-40DD-AFC4-6F175D3DCCD1}">
                  <a14:hiddenFill xmlns:a14="http://schemas.microsoft.com/office/drawing/2010/main">
                    <a:solidFill>
                      <a:schemeClr val="tx2">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r>
                  <a:rPr lang="en-US" sz="600" dirty="0">
                    <a:solidFill>
                      <a:schemeClr val="tx1"/>
                    </a:solidFill>
                  </a:rPr>
                  <a:t>S4ener:belongsTo:s4ener:Device (exactly 1 s4ener:Device)</a:t>
                </a:r>
              </a:p>
              <a:p>
                <a:r>
                  <a:rPr lang="en-US" sz="600" dirty="0">
                    <a:solidFill>
                      <a:schemeClr val="tx1"/>
                    </a:solidFill>
                  </a:rPr>
                  <a:t>Saref:consistsOf:s4ener:AlternativesGroup(min 0 s4ener:AlternativesGroup</a:t>
                </a:r>
              </a:p>
              <a:p>
                <a:r>
                  <a:rPr lang="en-US" sz="600" dirty="0">
                    <a:solidFill>
                      <a:schemeClr val="tx1"/>
                    </a:solidFill>
                  </a:rPr>
                  <a:t>S4ener:alternativesCount:integer(1..1)</a:t>
                </a:r>
              </a:p>
              <a:p>
                <a:r>
                  <a:rPr lang="en-US" sz="600" dirty="0">
                    <a:solidFill>
                      <a:schemeClr val="tx1"/>
                    </a:solidFill>
                  </a:rPr>
                  <a:t>S4ener:nodeRemoteControllable:boolen(1..1)</a:t>
                </a:r>
              </a:p>
              <a:p>
                <a:r>
                  <a:rPr lang="en-US" sz="600" dirty="0">
                    <a:solidFill>
                      <a:schemeClr val="tx1"/>
                    </a:solidFill>
                  </a:rPr>
                  <a:t>S4ener:supportsReselection:Boolean(1..1)</a:t>
                </a:r>
              </a:p>
              <a:p>
                <a:r>
                  <a:rPr lang="en-US" sz="600" dirty="0">
                    <a:solidFill>
                      <a:schemeClr val="tx1"/>
                    </a:solidFill>
                  </a:rPr>
                  <a:t>S4ener:supportsSingleSlotSchedulingOnly:boolen(1..1)</a:t>
                </a:r>
              </a:p>
              <a:p>
                <a:r>
                  <a:rPr lang="en-US" sz="600" dirty="0">
                    <a:solidFill>
                      <a:schemeClr val="tx1"/>
                    </a:solidFill>
                  </a:rPr>
                  <a:t>S4ener:totalSequencesCountMax:unsignedInt(1..1)</a:t>
                </a:r>
              </a:p>
            </p:txBody>
          </p:sp>
        </p:grpSp>
        <p:pic>
          <p:nvPicPr>
            <p:cNvPr id="34" name="Picture 33">
              <a:extLst>
                <a:ext uri="{FF2B5EF4-FFF2-40B4-BE49-F238E27FC236}">
                  <a16:creationId xmlns:a16="http://schemas.microsoft.com/office/drawing/2014/main" id="{B17F5ACB-3D19-47F0-B407-8AD0AFE6E3FC}"/>
                </a:ext>
              </a:extLst>
            </p:cNvPr>
            <p:cNvPicPr>
              <a:picLocks noChangeAspect="1"/>
            </p:cNvPicPr>
            <p:nvPr/>
          </p:nvPicPr>
          <p:blipFill rotWithShape="1">
            <a:blip r:embed="rId2"/>
            <a:srcRect l="889" t="16458" r="97436" b="82053"/>
            <a:stretch/>
          </p:blipFill>
          <p:spPr>
            <a:xfrm>
              <a:off x="984345" y="2247936"/>
              <a:ext cx="96152" cy="60273"/>
            </a:xfrm>
            <a:prstGeom prst="rect">
              <a:avLst/>
            </a:prstGeom>
          </p:spPr>
        </p:pic>
        <p:pic>
          <p:nvPicPr>
            <p:cNvPr id="35" name="Picture 34">
              <a:extLst>
                <a:ext uri="{FF2B5EF4-FFF2-40B4-BE49-F238E27FC236}">
                  <a16:creationId xmlns:a16="http://schemas.microsoft.com/office/drawing/2014/main" id="{B17F5ACB-3D19-47F0-B407-8AD0AFE6E3FC}"/>
                </a:ext>
              </a:extLst>
            </p:cNvPr>
            <p:cNvPicPr>
              <a:picLocks noChangeAspect="1"/>
            </p:cNvPicPr>
            <p:nvPr/>
          </p:nvPicPr>
          <p:blipFill rotWithShape="1">
            <a:blip r:embed="rId2"/>
            <a:srcRect l="7149" t="4183" r="91176" b="94328"/>
            <a:stretch/>
          </p:blipFill>
          <p:spPr>
            <a:xfrm>
              <a:off x="984345" y="2338324"/>
              <a:ext cx="96152" cy="60273"/>
            </a:xfrm>
            <a:prstGeom prst="rect">
              <a:avLst/>
            </a:prstGeom>
          </p:spPr>
        </p:pic>
        <p:pic>
          <p:nvPicPr>
            <p:cNvPr id="37" name="Picture 36">
              <a:extLst>
                <a:ext uri="{FF2B5EF4-FFF2-40B4-BE49-F238E27FC236}">
                  <a16:creationId xmlns:a16="http://schemas.microsoft.com/office/drawing/2014/main" id="{B17F5ACB-3D19-47F0-B407-8AD0AFE6E3FC}"/>
                </a:ext>
              </a:extLst>
            </p:cNvPr>
            <p:cNvPicPr>
              <a:picLocks noChangeAspect="1"/>
            </p:cNvPicPr>
            <p:nvPr/>
          </p:nvPicPr>
          <p:blipFill rotWithShape="1">
            <a:blip r:embed="rId2"/>
            <a:srcRect l="939" t="19599" r="97386" b="78912"/>
            <a:stretch/>
          </p:blipFill>
          <p:spPr>
            <a:xfrm>
              <a:off x="984345" y="2519100"/>
              <a:ext cx="96152" cy="60273"/>
            </a:xfrm>
            <a:prstGeom prst="rect">
              <a:avLst/>
            </a:prstGeom>
          </p:spPr>
        </p:pic>
        <p:pic>
          <p:nvPicPr>
            <p:cNvPr id="38" name="Picture 37">
              <a:extLst>
                <a:ext uri="{FF2B5EF4-FFF2-40B4-BE49-F238E27FC236}">
                  <a16:creationId xmlns:a16="http://schemas.microsoft.com/office/drawing/2014/main" id="{B17F5ACB-3D19-47F0-B407-8AD0AFE6E3FC}"/>
                </a:ext>
              </a:extLst>
            </p:cNvPr>
            <p:cNvPicPr>
              <a:picLocks noChangeAspect="1"/>
            </p:cNvPicPr>
            <p:nvPr/>
          </p:nvPicPr>
          <p:blipFill rotWithShape="1">
            <a:blip r:embed="rId2"/>
            <a:srcRect l="939" t="19599" r="97386" b="78912"/>
            <a:stretch/>
          </p:blipFill>
          <p:spPr>
            <a:xfrm>
              <a:off x="984345" y="2609488"/>
              <a:ext cx="96152" cy="60273"/>
            </a:xfrm>
            <a:prstGeom prst="rect">
              <a:avLst/>
            </a:prstGeom>
          </p:spPr>
        </p:pic>
        <p:pic>
          <p:nvPicPr>
            <p:cNvPr id="39" name="Picture 38">
              <a:extLst>
                <a:ext uri="{FF2B5EF4-FFF2-40B4-BE49-F238E27FC236}">
                  <a16:creationId xmlns:a16="http://schemas.microsoft.com/office/drawing/2014/main" id="{B17F5ACB-3D19-47F0-B407-8AD0AFE6E3FC}"/>
                </a:ext>
              </a:extLst>
            </p:cNvPr>
            <p:cNvPicPr>
              <a:picLocks noChangeAspect="1"/>
            </p:cNvPicPr>
            <p:nvPr/>
          </p:nvPicPr>
          <p:blipFill rotWithShape="1">
            <a:blip r:embed="rId2"/>
            <a:srcRect l="939" t="19599" r="97386" b="78912"/>
            <a:stretch/>
          </p:blipFill>
          <p:spPr>
            <a:xfrm>
              <a:off x="984345" y="2699876"/>
              <a:ext cx="96152" cy="60273"/>
            </a:xfrm>
            <a:prstGeom prst="rect">
              <a:avLst/>
            </a:prstGeom>
          </p:spPr>
        </p:pic>
        <p:pic>
          <p:nvPicPr>
            <p:cNvPr id="40" name="Picture 39">
              <a:extLst>
                <a:ext uri="{FF2B5EF4-FFF2-40B4-BE49-F238E27FC236}">
                  <a16:creationId xmlns:a16="http://schemas.microsoft.com/office/drawing/2014/main" id="{B17F5ACB-3D19-47F0-B407-8AD0AFE6E3FC}"/>
                </a:ext>
              </a:extLst>
            </p:cNvPr>
            <p:cNvPicPr>
              <a:picLocks noChangeAspect="1"/>
            </p:cNvPicPr>
            <p:nvPr/>
          </p:nvPicPr>
          <p:blipFill rotWithShape="1">
            <a:blip r:embed="rId2"/>
            <a:srcRect l="939" t="19599" r="97386" b="78912"/>
            <a:stretch/>
          </p:blipFill>
          <p:spPr>
            <a:xfrm>
              <a:off x="984345" y="2790264"/>
              <a:ext cx="96152" cy="60273"/>
            </a:xfrm>
            <a:prstGeom prst="rect">
              <a:avLst/>
            </a:prstGeom>
          </p:spPr>
        </p:pic>
        <p:pic>
          <p:nvPicPr>
            <p:cNvPr id="97" name="Picture 96">
              <a:extLst>
                <a:ext uri="{FF2B5EF4-FFF2-40B4-BE49-F238E27FC236}">
                  <a16:creationId xmlns:a16="http://schemas.microsoft.com/office/drawing/2014/main" id="{B17F5ACB-3D19-47F0-B407-8AD0AFE6E3FC}"/>
                </a:ext>
              </a:extLst>
            </p:cNvPr>
            <p:cNvPicPr>
              <a:picLocks noChangeAspect="1"/>
            </p:cNvPicPr>
            <p:nvPr/>
          </p:nvPicPr>
          <p:blipFill rotWithShape="1">
            <a:blip r:embed="rId2"/>
            <a:srcRect l="14090" t="14565" r="84235" b="83946"/>
            <a:stretch/>
          </p:blipFill>
          <p:spPr>
            <a:xfrm>
              <a:off x="2156896" y="2114829"/>
              <a:ext cx="94821" cy="75141"/>
            </a:xfrm>
            <a:prstGeom prst="rect">
              <a:avLst/>
            </a:prstGeom>
          </p:spPr>
        </p:pic>
      </p:grpSp>
      <p:pic>
        <p:nvPicPr>
          <p:cNvPr id="86" name="Picture 85">
            <a:extLst>
              <a:ext uri="{FF2B5EF4-FFF2-40B4-BE49-F238E27FC236}">
                <a16:creationId xmlns:a16="http://schemas.microsoft.com/office/drawing/2014/main" id="{2ADC46DF-50B1-49C1-BD85-CB9144598D2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5050" t="25548" r="5027" b="22927"/>
          <a:stretch/>
        </p:blipFill>
        <p:spPr>
          <a:xfrm>
            <a:off x="7981248" y="313232"/>
            <a:ext cx="1270327" cy="406262"/>
          </a:xfrm>
          <a:prstGeom prst="rect">
            <a:avLst/>
          </a:prstGeom>
        </p:spPr>
      </p:pic>
      <p:pic>
        <p:nvPicPr>
          <p:cNvPr id="89" name="Picture 1" descr="image002">
            <a:extLst>
              <a:ext uri="{FF2B5EF4-FFF2-40B4-BE49-F238E27FC236}">
                <a16:creationId xmlns:a16="http://schemas.microsoft.com/office/drawing/2014/main" id="{9BD21332-F5C1-4BBF-9D87-659CD4F1849E}"/>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0" name="ee4pFootnotes">
            <a:extLst>
              <a:ext uri="{FF2B5EF4-FFF2-40B4-BE49-F238E27FC236}">
                <a16:creationId xmlns:a16="http://schemas.microsoft.com/office/drawing/2014/main" id="{193E6510-C820-4A7E-AF83-70A020490A9A}"/>
              </a:ext>
            </a:extLst>
          </p:cNvPr>
          <p:cNvSpPr>
            <a:spLocks noChangeArrowheads="1"/>
          </p:cNvSpPr>
          <p:nvPr/>
        </p:nvSpPr>
        <p:spPr bwMode="auto">
          <a:xfrm>
            <a:off x="2457266" y="6396012"/>
            <a:ext cx="7641096"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cs typeface="Arial" pitchFamily="34" charset="0"/>
              </a:rPr>
              <a:t>Source: </a:t>
            </a:r>
            <a:r>
              <a:rPr lang="fi-FI" sz="1000" dirty="0">
                <a:cs typeface="Arial" pitchFamily="34" charset="0"/>
              </a:rPr>
              <a:t>ETSI TS 103 410-1 V1.1.1</a:t>
            </a:r>
          </a:p>
          <a:p>
            <a:pPr>
              <a:lnSpc>
                <a:spcPct val="90000"/>
              </a:lnSpc>
            </a:pPr>
            <a:r>
              <a:rPr lang="pt-BR" sz="1000" dirty="0">
                <a:cs typeface="Arial" pitchFamily="34" charset="0"/>
              </a:rPr>
              <a:t>Figure by Laura Daniele (TNO) </a:t>
            </a:r>
            <a:endParaRPr lang="en-US" sz="1000" dirty="0">
              <a:cs typeface="Arial" pitchFamily="34" charset="0"/>
            </a:endParaRPr>
          </a:p>
        </p:txBody>
      </p:sp>
    </p:spTree>
    <p:extLst>
      <p:ext uri="{BB962C8B-B14F-4D97-AF65-F5344CB8AC3E}">
        <p14:creationId xmlns:p14="http://schemas.microsoft.com/office/powerpoint/2010/main" val="2773459883"/>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B71C370-D5AD-4285-B597-DF811FF69E0D}"/>
              </a:ext>
            </a:extLst>
          </p:cNvPr>
          <p:cNvSpPr>
            <a:spLocks noGrp="1"/>
          </p:cNvSpPr>
          <p:nvPr>
            <p:ph type="body" sz="quarter" idx="10"/>
          </p:nvPr>
        </p:nvSpPr>
        <p:spPr/>
        <p:txBody>
          <a:bodyPr/>
          <a:lstStyle/>
          <a:p>
            <a:r>
              <a:rPr lang="en-US" dirty="0"/>
              <a:t>SAREF4ENER: Example (I)</a:t>
            </a:r>
          </a:p>
        </p:txBody>
      </p:sp>
      <p:sp>
        <p:nvSpPr>
          <p:cNvPr id="4" name="Slide Number Placeholder 3">
            <a:extLst>
              <a:ext uri="{FF2B5EF4-FFF2-40B4-BE49-F238E27FC236}">
                <a16:creationId xmlns:a16="http://schemas.microsoft.com/office/drawing/2014/main" id="{0BC0E82D-E994-409C-ADF9-120374BDE6FD}"/>
              </a:ext>
            </a:extLst>
          </p:cNvPr>
          <p:cNvSpPr>
            <a:spLocks noGrp="1"/>
          </p:cNvSpPr>
          <p:nvPr>
            <p:ph type="sldNum" sz="quarter" idx="4"/>
          </p:nvPr>
        </p:nvSpPr>
        <p:spPr/>
        <p:txBody>
          <a:bodyPr/>
          <a:lstStyle/>
          <a:p>
            <a:fld id="{EBC262BB-4310-134F-8D24-58475080D942}" type="slidenum">
              <a:rPr lang="en-US" smtClean="0"/>
              <a:pPr/>
              <a:t>73</a:t>
            </a:fld>
            <a:endParaRPr lang="en-US" dirty="0"/>
          </a:p>
        </p:txBody>
      </p:sp>
      <p:sp>
        <p:nvSpPr>
          <p:cNvPr id="3" name="Rectangle 2"/>
          <p:cNvSpPr/>
          <p:nvPr/>
        </p:nvSpPr>
        <p:spPr>
          <a:xfrm>
            <a:off x="5041557" y="1466335"/>
            <a:ext cx="2298357" cy="164757"/>
          </a:xfrm>
          <a:prstGeom prst="rect">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ysClr val="windowText" lastClr="000000"/>
                </a:solidFill>
              </a:rPr>
              <a:t>time:powerSequence-HS0001_morning</a:t>
            </a:r>
          </a:p>
        </p:txBody>
      </p:sp>
      <p:sp>
        <p:nvSpPr>
          <p:cNvPr id="10" name="Rectangle 9"/>
          <p:cNvSpPr/>
          <p:nvPr/>
        </p:nvSpPr>
        <p:spPr>
          <a:xfrm>
            <a:off x="7232823" y="1969134"/>
            <a:ext cx="1473028" cy="164757"/>
          </a:xfrm>
          <a:prstGeom prst="rect">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ysClr val="windowText" lastClr="000000"/>
                </a:solidFill>
              </a:rPr>
              <a:t>s4ener:Slot-1-HS0001</a:t>
            </a:r>
          </a:p>
        </p:txBody>
      </p:sp>
      <p:sp>
        <p:nvSpPr>
          <p:cNvPr id="11" name="Rectangle 10"/>
          <p:cNvSpPr/>
          <p:nvPr/>
        </p:nvSpPr>
        <p:spPr>
          <a:xfrm>
            <a:off x="3731741" y="1969134"/>
            <a:ext cx="2034059" cy="164757"/>
          </a:xfrm>
          <a:prstGeom prst="rect">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ysClr val="windowText" lastClr="000000"/>
                </a:solidFill>
              </a:rPr>
              <a:t>s4ener:PowerSequence-1-HS0001</a:t>
            </a:r>
          </a:p>
        </p:txBody>
      </p:sp>
      <p:sp>
        <p:nvSpPr>
          <p:cNvPr id="12" name="Rectangle 11"/>
          <p:cNvSpPr/>
          <p:nvPr/>
        </p:nvSpPr>
        <p:spPr>
          <a:xfrm>
            <a:off x="1499287" y="2754616"/>
            <a:ext cx="2126563" cy="164757"/>
          </a:xfrm>
          <a:prstGeom prst="rect">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lIns="27432" tIns="27432" rIns="27432" bIns="27432" rtlCol="0" anchor="ctr"/>
          <a:lstStyle/>
          <a:p>
            <a:pPr algn="ctr"/>
            <a:r>
              <a:rPr lang="en-US" sz="800" dirty="0">
                <a:solidFill>
                  <a:sysClr val="windowText" lastClr="000000"/>
                </a:solidFill>
              </a:rPr>
              <a:t>s4ener:AlternativesGroup-1-HS0001</a:t>
            </a:r>
          </a:p>
        </p:txBody>
      </p:sp>
      <p:sp>
        <p:nvSpPr>
          <p:cNvPr id="13" name="Rectangle 12"/>
          <p:cNvSpPr/>
          <p:nvPr/>
        </p:nvSpPr>
        <p:spPr>
          <a:xfrm>
            <a:off x="4242600" y="2631041"/>
            <a:ext cx="1351863" cy="164757"/>
          </a:xfrm>
          <a:prstGeom prst="rect">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ysClr val="windowText" lastClr="000000"/>
                </a:solidFill>
              </a:rPr>
              <a:t>s4ener:StartTime_1</a:t>
            </a:r>
          </a:p>
        </p:txBody>
      </p:sp>
      <p:sp>
        <p:nvSpPr>
          <p:cNvPr id="14" name="Rectangle 13"/>
          <p:cNvSpPr/>
          <p:nvPr/>
        </p:nvSpPr>
        <p:spPr>
          <a:xfrm>
            <a:off x="6941237" y="3153758"/>
            <a:ext cx="1212163" cy="164757"/>
          </a:xfrm>
          <a:prstGeom prst="rect">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ysClr val="windowText" lastClr="000000"/>
                </a:solidFill>
              </a:rPr>
              <a:t>s4ener:Energy_1</a:t>
            </a:r>
          </a:p>
        </p:txBody>
      </p:sp>
      <p:sp>
        <p:nvSpPr>
          <p:cNvPr id="15" name="Rectangle 14"/>
          <p:cNvSpPr/>
          <p:nvPr/>
        </p:nvSpPr>
        <p:spPr>
          <a:xfrm>
            <a:off x="8604937" y="2572876"/>
            <a:ext cx="1186763" cy="164757"/>
          </a:xfrm>
          <a:prstGeom prst="rect">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ysClr val="windowText" lastClr="000000"/>
                </a:solidFill>
              </a:rPr>
              <a:t>s4ener:Power_1</a:t>
            </a:r>
          </a:p>
        </p:txBody>
      </p:sp>
      <p:sp>
        <p:nvSpPr>
          <p:cNvPr id="16" name="Rectangle 15"/>
          <p:cNvSpPr/>
          <p:nvPr/>
        </p:nvSpPr>
        <p:spPr>
          <a:xfrm>
            <a:off x="1147087" y="3925317"/>
            <a:ext cx="1888214" cy="164757"/>
          </a:xfrm>
          <a:prstGeom prst="rect">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ysClr val="windowText" lastClr="000000"/>
                </a:solidFill>
              </a:rPr>
              <a:t>s4ener:PowerProfile-1-HS0001</a:t>
            </a:r>
          </a:p>
        </p:txBody>
      </p:sp>
      <p:sp>
        <p:nvSpPr>
          <p:cNvPr id="17" name="Rectangle 16"/>
          <p:cNvSpPr/>
          <p:nvPr/>
        </p:nvSpPr>
        <p:spPr>
          <a:xfrm>
            <a:off x="1458236" y="5009037"/>
            <a:ext cx="2129514" cy="164757"/>
          </a:xfrm>
          <a:prstGeom prst="rect">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lIns="27432" tIns="27432" rIns="27432" bIns="27432" rtlCol="0" anchor="ctr"/>
          <a:lstStyle/>
          <a:p>
            <a:pPr algn="ctr"/>
            <a:r>
              <a:rPr lang="en-US" sz="800" dirty="0">
                <a:solidFill>
                  <a:sysClr val="windowText" lastClr="000000"/>
                </a:solidFill>
              </a:rPr>
              <a:t>s4ener:AlternativesGroup-2-HS0001</a:t>
            </a:r>
          </a:p>
        </p:txBody>
      </p:sp>
      <p:sp>
        <p:nvSpPr>
          <p:cNvPr id="18" name="Rectangle 17"/>
          <p:cNvSpPr/>
          <p:nvPr/>
        </p:nvSpPr>
        <p:spPr>
          <a:xfrm>
            <a:off x="3907749" y="4469287"/>
            <a:ext cx="2021564" cy="164757"/>
          </a:xfrm>
          <a:prstGeom prst="rect">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ysClr val="windowText" lastClr="000000"/>
                </a:solidFill>
              </a:rPr>
              <a:t>s4ener:PowerSequence-3-HS0001</a:t>
            </a:r>
          </a:p>
        </p:txBody>
      </p:sp>
      <p:sp>
        <p:nvSpPr>
          <p:cNvPr id="19" name="Rectangle 18"/>
          <p:cNvSpPr/>
          <p:nvPr/>
        </p:nvSpPr>
        <p:spPr>
          <a:xfrm>
            <a:off x="6616023" y="4464524"/>
            <a:ext cx="1456414" cy="164757"/>
          </a:xfrm>
          <a:prstGeom prst="rect">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ysClr val="windowText" lastClr="000000"/>
                </a:solidFill>
              </a:rPr>
              <a:t>s4ener:Slot-3-HS0001</a:t>
            </a:r>
          </a:p>
        </p:txBody>
      </p:sp>
      <p:sp>
        <p:nvSpPr>
          <p:cNvPr id="20" name="Rectangle 19"/>
          <p:cNvSpPr/>
          <p:nvPr/>
        </p:nvSpPr>
        <p:spPr>
          <a:xfrm>
            <a:off x="4727970" y="5040200"/>
            <a:ext cx="2345929" cy="164757"/>
          </a:xfrm>
          <a:prstGeom prst="rect">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ysClr val="windowText" lastClr="000000"/>
                </a:solidFill>
              </a:rPr>
              <a:t>time:PowerSequence-HS0001_afternoon</a:t>
            </a:r>
          </a:p>
        </p:txBody>
      </p:sp>
      <p:sp>
        <p:nvSpPr>
          <p:cNvPr id="21" name="Rectangle 20"/>
          <p:cNvSpPr/>
          <p:nvPr/>
        </p:nvSpPr>
        <p:spPr>
          <a:xfrm>
            <a:off x="3832107" y="5633993"/>
            <a:ext cx="2022594" cy="164757"/>
          </a:xfrm>
          <a:prstGeom prst="rect">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ysClr val="windowText" lastClr="000000"/>
                </a:solidFill>
              </a:rPr>
              <a:t>s4ener:PowerSequence-2-HS0001</a:t>
            </a:r>
          </a:p>
        </p:txBody>
      </p:sp>
      <p:sp>
        <p:nvSpPr>
          <p:cNvPr id="22" name="Rectangle 21"/>
          <p:cNvSpPr/>
          <p:nvPr/>
        </p:nvSpPr>
        <p:spPr>
          <a:xfrm>
            <a:off x="6708657" y="5633993"/>
            <a:ext cx="1444743" cy="164757"/>
          </a:xfrm>
          <a:prstGeom prst="rect">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ysClr val="windowText" lastClr="000000"/>
                </a:solidFill>
              </a:rPr>
              <a:t>s4ener:Slot-2-HS0001</a:t>
            </a:r>
          </a:p>
        </p:txBody>
      </p:sp>
      <p:sp>
        <p:nvSpPr>
          <p:cNvPr id="23" name="Rectangle 22"/>
          <p:cNvSpPr/>
          <p:nvPr/>
        </p:nvSpPr>
        <p:spPr>
          <a:xfrm>
            <a:off x="8623987" y="5225207"/>
            <a:ext cx="1485101" cy="164757"/>
          </a:xfrm>
          <a:prstGeom prst="rect">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ysClr val="windowText" lastClr="000000"/>
                </a:solidFill>
              </a:rPr>
              <a:t>s4ener:EnergyEfficiency</a:t>
            </a:r>
          </a:p>
        </p:txBody>
      </p:sp>
      <p:sp>
        <p:nvSpPr>
          <p:cNvPr id="24" name="Rectangle 23"/>
          <p:cNvSpPr/>
          <p:nvPr/>
        </p:nvSpPr>
        <p:spPr>
          <a:xfrm>
            <a:off x="7938187" y="3925318"/>
            <a:ext cx="1501088" cy="164757"/>
          </a:xfrm>
          <a:prstGeom prst="rect">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ysClr val="windowText" lastClr="000000"/>
                </a:solidFill>
              </a:rPr>
              <a:t>s4ener:HeatingSystem</a:t>
            </a:r>
          </a:p>
        </p:txBody>
      </p:sp>
      <p:sp>
        <p:nvSpPr>
          <p:cNvPr id="25" name="Rectangle 24"/>
          <p:cNvSpPr/>
          <p:nvPr/>
        </p:nvSpPr>
        <p:spPr>
          <a:xfrm>
            <a:off x="9236418" y="4492268"/>
            <a:ext cx="1168057" cy="164757"/>
          </a:xfrm>
          <a:prstGeom prst="rect">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ysClr val="windowText" lastClr="000000"/>
                </a:solidFill>
              </a:rPr>
              <a:t>s4ener:Heating</a:t>
            </a:r>
          </a:p>
        </p:txBody>
      </p:sp>
      <p:cxnSp>
        <p:nvCxnSpPr>
          <p:cNvPr id="27" name="Straight Arrow Connector 26"/>
          <p:cNvCxnSpPr>
            <a:stCxn id="11" idx="3"/>
            <a:endCxn id="10" idx="1"/>
          </p:cNvCxnSpPr>
          <p:nvPr/>
        </p:nvCxnSpPr>
        <p:spPr>
          <a:xfrm>
            <a:off x="5765800" y="2051513"/>
            <a:ext cx="146702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16" idx="3"/>
            <a:endCxn id="24" idx="1"/>
          </p:cNvCxnSpPr>
          <p:nvPr/>
        </p:nvCxnSpPr>
        <p:spPr>
          <a:xfrm>
            <a:off x="3035301" y="4007696"/>
            <a:ext cx="4902886"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Elbow Connector 30"/>
          <p:cNvCxnSpPr>
            <a:stCxn id="11" idx="0"/>
            <a:endCxn id="3" idx="2"/>
          </p:cNvCxnSpPr>
          <p:nvPr/>
        </p:nvCxnSpPr>
        <p:spPr>
          <a:xfrm rot="5400000" flipH="1" flipV="1">
            <a:off x="5300732" y="1079131"/>
            <a:ext cx="338042" cy="1441965"/>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Elbow Connector 32"/>
          <p:cNvCxnSpPr>
            <a:stCxn id="12" idx="0"/>
            <a:endCxn id="11" idx="2"/>
          </p:cNvCxnSpPr>
          <p:nvPr/>
        </p:nvCxnSpPr>
        <p:spPr>
          <a:xfrm rot="5400000" flipH="1" flipV="1">
            <a:off x="3345308" y="1351153"/>
            <a:ext cx="620725" cy="2186202"/>
          </a:xfrm>
          <a:prstGeom prst="bentConnector3">
            <a:avLst>
              <a:gd name="adj1" fmla="val 6473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Elbow Connector 34"/>
          <p:cNvCxnSpPr>
            <a:stCxn id="16" idx="0"/>
            <a:endCxn id="12" idx="2"/>
          </p:cNvCxnSpPr>
          <p:nvPr/>
        </p:nvCxnSpPr>
        <p:spPr>
          <a:xfrm rot="5400000" flipH="1" flipV="1">
            <a:off x="1823909" y="3186658"/>
            <a:ext cx="1005944" cy="471375"/>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Elbow Connector 36"/>
          <p:cNvCxnSpPr>
            <a:endCxn id="17" idx="0"/>
          </p:cNvCxnSpPr>
          <p:nvPr/>
        </p:nvCxnSpPr>
        <p:spPr>
          <a:xfrm rot="16200000" flipH="1">
            <a:off x="1856372" y="4342415"/>
            <a:ext cx="901443" cy="431799"/>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a:stCxn id="17" idx="2"/>
            <a:endCxn id="21" idx="1"/>
          </p:cNvCxnSpPr>
          <p:nvPr/>
        </p:nvCxnSpPr>
        <p:spPr>
          <a:xfrm rot="16200000" flipH="1">
            <a:off x="2906261" y="4790526"/>
            <a:ext cx="542578" cy="1309114"/>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1" name="Elbow Connector 40"/>
          <p:cNvCxnSpPr>
            <a:stCxn id="21" idx="0"/>
            <a:endCxn id="20" idx="2"/>
          </p:cNvCxnSpPr>
          <p:nvPr/>
        </p:nvCxnSpPr>
        <p:spPr>
          <a:xfrm rot="5400000" flipH="1" flipV="1">
            <a:off x="5157651" y="4890710"/>
            <a:ext cx="429036" cy="1057531"/>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Elbow Connector 42"/>
          <p:cNvCxnSpPr>
            <a:stCxn id="18" idx="2"/>
            <a:endCxn id="20" idx="0"/>
          </p:cNvCxnSpPr>
          <p:nvPr/>
        </p:nvCxnSpPr>
        <p:spPr>
          <a:xfrm rot="16200000" flipH="1">
            <a:off x="5206655" y="4345920"/>
            <a:ext cx="406156" cy="982404"/>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5" name="Elbow Connector 44"/>
          <p:cNvCxnSpPr>
            <a:stCxn id="10" idx="2"/>
            <a:endCxn id="14" idx="0"/>
          </p:cNvCxnSpPr>
          <p:nvPr/>
        </p:nvCxnSpPr>
        <p:spPr>
          <a:xfrm rot="5400000">
            <a:off x="7248395" y="2432815"/>
            <a:ext cx="1019867" cy="422018"/>
          </a:xfrm>
          <a:prstGeom prst="bentConnector3">
            <a:avLst>
              <a:gd name="adj1" fmla="val 21608"/>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7" name="Elbow Connector 46"/>
          <p:cNvCxnSpPr>
            <a:stCxn id="14" idx="2"/>
            <a:endCxn id="24" idx="0"/>
          </p:cNvCxnSpPr>
          <p:nvPr/>
        </p:nvCxnSpPr>
        <p:spPr>
          <a:xfrm rot="16200000" flipH="1">
            <a:off x="7814624" y="3051210"/>
            <a:ext cx="606803" cy="1141412"/>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9" name="Elbow Connector 48"/>
          <p:cNvCxnSpPr>
            <a:stCxn id="15" idx="2"/>
            <a:endCxn id="24" idx="0"/>
          </p:cNvCxnSpPr>
          <p:nvPr/>
        </p:nvCxnSpPr>
        <p:spPr>
          <a:xfrm rot="5400000">
            <a:off x="8349683" y="3076681"/>
            <a:ext cx="1187685" cy="509588"/>
          </a:xfrm>
          <a:prstGeom prst="bentConnector3">
            <a:avLst>
              <a:gd name="adj1" fmla="val 7438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1" name="Elbow Connector 50"/>
          <p:cNvCxnSpPr>
            <a:stCxn id="24" idx="2"/>
            <a:endCxn id="25" idx="0"/>
          </p:cNvCxnSpPr>
          <p:nvPr/>
        </p:nvCxnSpPr>
        <p:spPr>
          <a:xfrm rot="16200000" flipH="1">
            <a:off x="9053493" y="3725313"/>
            <a:ext cx="402193" cy="1131716"/>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3" name="Elbow Connector 52"/>
          <p:cNvCxnSpPr>
            <a:stCxn id="24" idx="2"/>
            <a:endCxn id="23" idx="0"/>
          </p:cNvCxnSpPr>
          <p:nvPr/>
        </p:nvCxnSpPr>
        <p:spPr>
          <a:xfrm rot="16200000" flipH="1">
            <a:off x="8460068" y="4318737"/>
            <a:ext cx="1135132" cy="677807"/>
          </a:xfrm>
          <a:prstGeom prst="bentConnector3">
            <a:avLst>
              <a:gd name="adj1" fmla="val 57385"/>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7" name="Elbow Connector 56"/>
          <p:cNvCxnSpPr>
            <a:stCxn id="10" idx="2"/>
            <a:endCxn id="15" idx="0"/>
          </p:cNvCxnSpPr>
          <p:nvPr/>
        </p:nvCxnSpPr>
        <p:spPr>
          <a:xfrm rot="16200000" flipH="1">
            <a:off x="8364336" y="1738892"/>
            <a:ext cx="438985" cy="1228982"/>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9" name="Elbow Connector 58"/>
          <p:cNvCxnSpPr>
            <a:stCxn id="11" idx="2"/>
            <a:endCxn id="13" idx="0"/>
          </p:cNvCxnSpPr>
          <p:nvPr/>
        </p:nvCxnSpPr>
        <p:spPr>
          <a:xfrm rot="16200000" flipH="1">
            <a:off x="4585076" y="2297585"/>
            <a:ext cx="497150" cy="169761"/>
          </a:xfrm>
          <a:prstGeom prst="bentConnector3">
            <a:avLst>
              <a:gd name="adj1" fmla="val 43869"/>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1" name="Elbow Connector 60"/>
          <p:cNvCxnSpPr>
            <a:stCxn id="21" idx="0"/>
            <a:endCxn id="13" idx="1"/>
          </p:cNvCxnSpPr>
          <p:nvPr/>
        </p:nvCxnSpPr>
        <p:spPr>
          <a:xfrm rot="16200000" flipV="1">
            <a:off x="3082716" y="3873305"/>
            <a:ext cx="2920573" cy="600804"/>
          </a:xfrm>
          <a:prstGeom prst="bentConnector4">
            <a:avLst>
              <a:gd name="adj1" fmla="val 7366"/>
              <a:gd name="adj2" fmla="val 181007"/>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5" name="Elbow Connector 64"/>
          <p:cNvCxnSpPr>
            <a:stCxn id="17" idx="3"/>
            <a:endCxn id="18" idx="1"/>
          </p:cNvCxnSpPr>
          <p:nvPr/>
        </p:nvCxnSpPr>
        <p:spPr>
          <a:xfrm flipV="1">
            <a:off x="3587750" y="4551666"/>
            <a:ext cx="319999" cy="539750"/>
          </a:xfrm>
          <a:prstGeom prst="bentConnector3">
            <a:avLst>
              <a:gd name="adj1" fmla="val 30950"/>
            </a:avLst>
          </a:prstGeom>
          <a:ln>
            <a:tailEnd type="triangle"/>
          </a:ln>
        </p:spPr>
        <p:style>
          <a:lnRef idx="1">
            <a:schemeClr val="accent1"/>
          </a:lnRef>
          <a:fillRef idx="0">
            <a:schemeClr val="accent1"/>
          </a:fillRef>
          <a:effectRef idx="0">
            <a:schemeClr val="accent1"/>
          </a:effectRef>
          <a:fontRef idx="minor">
            <a:schemeClr val="tx1"/>
          </a:fontRef>
        </p:style>
      </p:cxnSp>
      <p:sp>
        <p:nvSpPr>
          <p:cNvPr id="68" name="TextBox 67"/>
          <p:cNvSpPr txBox="1"/>
          <p:nvPr/>
        </p:nvSpPr>
        <p:spPr>
          <a:xfrm>
            <a:off x="5155327" y="1820210"/>
            <a:ext cx="791883" cy="123111"/>
          </a:xfrm>
          <a:prstGeom prst="rect">
            <a:avLst/>
          </a:prstGeom>
        </p:spPr>
        <p:txBody>
          <a:bodyPr wrap="square" lIns="0" tIns="0" rIns="0" bIns="0" rtlCol="0">
            <a:spAutoFit/>
          </a:bodyPr>
          <a:lstStyle/>
          <a:p>
            <a:pPr marL="0" indent="0">
              <a:lnSpc>
                <a:spcPct val="100000"/>
              </a:lnSpc>
              <a:spcBef>
                <a:spcPts val="2200"/>
              </a:spcBef>
              <a:buClr>
                <a:schemeClr val="accent3"/>
              </a:buClr>
              <a:buSzPct val="150000"/>
              <a:buFontTx/>
              <a:buNone/>
            </a:pPr>
            <a:r>
              <a:rPr lang="en-US" sz="800" b="0" spc="0" dirty="0"/>
              <a:t>Saref:hasTime</a:t>
            </a:r>
          </a:p>
        </p:txBody>
      </p:sp>
      <p:sp>
        <p:nvSpPr>
          <p:cNvPr id="71" name="TextBox 70"/>
          <p:cNvSpPr txBox="1"/>
          <p:nvPr/>
        </p:nvSpPr>
        <p:spPr>
          <a:xfrm>
            <a:off x="4954168" y="2392969"/>
            <a:ext cx="791883" cy="123111"/>
          </a:xfrm>
          <a:prstGeom prst="rect">
            <a:avLst/>
          </a:prstGeom>
        </p:spPr>
        <p:txBody>
          <a:bodyPr wrap="square" lIns="0" tIns="0" rIns="0" bIns="0" rtlCol="0">
            <a:spAutoFit/>
          </a:bodyPr>
          <a:lstStyle/>
          <a:p>
            <a:pPr marL="0" indent="0">
              <a:lnSpc>
                <a:spcPct val="100000"/>
              </a:lnSpc>
              <a:spcBef>
                <a:spcPts val="2200"/>
              </a:spcBef>
              <a:buClr>
                <a:schemeClr val="accent3"/>
              </a:buClr>
              <a:buSzPct val="150000"/>
              <a:buFontTx/>
              <a:buNone/>
            </a:pPr>
            <a:r>
              <a:rPr lang="en-US" sz="800" b="0" spc="0" dirty="0"/>
              <a:t>Saref:hasTime</a:t>
            </a:r>
          </a:p>
        </p:txBody>
      </p:sp>
      <p:sp>
        <p:nvSpPr>
          <p:cNvPr id="72" name="TextBox 71"/>
          <p:cNvSpPr txBox="1"/>
          <p:nvPr/>
        </p:nvSpPr>
        <p:spPr>
          <a:xfrm>
            <a:off x="5004429" y="4867328"/>
            <a:ext cx="850272" cy="123111"/>
          </a:xfrm>
          <a:prstGeom prst="rect">
            <a:avLst/>
          </a:prstGeom>
        </p:spPr>
        <p:txBody>
          <a:bodyPr wrap="square" lIns="0" tIns="0" rIns="0" bIns="0" rtlCol="0">
            <a:spAutoFit/>
          </a:bodyPr>
          <a:lstStyle/>
          <a:p>
            <a:pPr marL="0" indent="0">
              <a:lnSpc>
                <a:spcPct val="100000"/>
              </a:lnSpc>
              <a:spcBef>
                <a:spcPts val="2200"/>
              </a:spcBef>
              <a:buClr>
                <a:schemeClr val="accent3"/>
              </a:buClr>
              <a:buSzPct val="150000"/>
              <a:buFontTx/>
              <a:buNone/>
            </a:pPr>
            <a:r>
              <a:rPr lang="en-US" sz="800" b="0" spc="0" dirty="0"/>
              <a:t>Saref:hasTime</a:t>
            </a:r>
          </a:p>
        </p:txBody>
      </p:sp>
      <p:sp>
        <p:nvSpPr>
          <p:cNvPr id="73" name="TextBox 72"/>
          <p:cNvSpPr txBox="1"/>
          <p:nvPr/>
        </p:nvSpPr>
        <p:spPr>
          <a:xfrm>
            <a:off x="5004429" y="3656210"/>
            <a:ext cx="850272" cy="123111"/>
          </a:xfrm>
          <a:prstGeom prst="rect">
            <a:avLst/>
          </a:prstGeom>
        </p:spPr>
        <p:txBody>
          <a:bodyPr wrap="square" lIns="0" tIns="0" rIns="0" bIns="0" rtlCol="0">
            <a:spAutoFit/>
          </a:bodyPr>
          <a:lstStyle/>
          <a:p>
            <a:pPr marL="0" indent="0">
              <a:lnSpc>
                <a:spcPct val="100000"/>
              </a:lnSpc>
              <a:spcBef>
                <a:spcPts val="2200"/>
              </a:spcBef>
              <a:buClr>
                <a:schemeClr val="accent3"/>
              </a:buClr>
              <a:buSzPct val="150000"/>
              <a:buFontTx/>
              <a:buNone/>
            </a:pPr>
            <a:r>
              <a:rPr lang="en-US" sz="800" b="0" spc="0" dirty="0"/>
              <a:t>Saref:hasTime</a:t>
            </a:r>
          </a:p>
        </p:txBody>
      </p:sp>
      <p:cxnSp>
        <p:nvCxnSpPr>
          <p:cNvPr id="75" name="Straight Arrow Connector 74"/>
          <p:cNvCxnSpPr>
            <a:stCxn id="18" idx="0"/>
            <a:endCxn id="13" idx="2"/>
          </p:cNvCxnSpPr>
          <p:nvPr/>
        </p:nvCxnSpPr>
        <p:spPr>
          <a:xfrm flipV="1">
            <a:off x="4918531" y="2795798"/>
            <a:ext cx="1" cy="1673489"/>
          </a:xfrm>
          <a:prstGeom prst="straightConnector1">
            <a:avLst/>
          </a:prstGeom>
          <a:ln>
            <a:tailEnd type="triangle" w="med" len="med"/>
          </a:ln>
        </p:spPr>
        <p:style>
          <a:lnRef idx="1">
            <a:schemeClr val="accent1"/>
          </a:lnRef>
          <a:fillRef idx="0">
            <a:schemeClr val="accent1"/>
          </a:fillRef>
          <a:effectRef idx="0">
            <a:schemeClr val="accent1"/>
          </a:effectRef>
          <a:fontRef idx="minor">
            <a:schemeClr val="tx1"/>
          </a:fontRef>
        </p:style>
      </p:cxnSp>
      <p:sp>
        <p:nvSpPr>
          <p:cNvPr id="76" name="TextBox 75"/>
          <p:cNvSpPr txBox="1"/>
          <p:nvPr/>
        </p:nvSpPr>
        <p:spPr>
          <a:xfrm>
            <a:off x="3845327" y="5198933"/>
            <a:ext cx="850272" cy="123111"/>
          </a:xfrm>
          <a:prstGeom prst="rect">
            <a:avLst/>
          </a:prstGeom>
        </p:spPr>
        <p:txBody>
          <a:bodyPr wrap="square" lIns="0" tIns="0" rIns="0" bIns="0" rtlCol="0">
            <a:spAutoFit/>
          </a:bodyPr>
          <a:lstStyle/>
          <a:p>
            <a:pPr marL="0" indent="0">
              <a:lnSpc>
                <a:spcPct val="100000"/>
              </a:lnSpc>
              <a:spcBef>
                <a:spcPts val="2200"/>
              </a:spcBef>
              <a:buClr>
                <a:schemeClr val="accent3"/>
              </a:buClr>
              <a:buSzPct val="150000"/>
              <a:buFontTx/>
              <a:buNone/>
            </a:pPr>
            <a:r>
              <a:rPr lang="en-US" sz="800" b="0" spc="0" dirty="0"/>
              <a:t>Saref:hasTime</a:t>
            </a:r>
          </a:p>
        </p:txBody>
      </p:sp>
      <p:sp>
        <p:nvSpPr>
          <p:cNvPr id="77" name="TextBox 76"/>
          <p:cNvSpPr txBox="1"/>
          <p:nvPr/>
        </p:nvSpPr>
        <p:spPr>
          <a:xfrm>
            <a:off x="4988061" y="5466836"/>
            <a:ext cx="850272" cy="123111"/>
          </a:xfrm>
          <a:prstGeom prst="rect">
            <a:avLst/>
          </a:prstGeom>
        </p:spPr>
        <p:txBody>
          <a:bodyPr wrap="square" lIns="0" tIns="0" rIns="0" bIns="0" rtlCol="0">
            <a:spAutoFit/>
          </a:bodyPr>
          <a:lstStyle/>
          <a:p>
            <a:pPr marL="0" indent="0">
              <a:lnSpc>
                <a:spcPct val="100000"/>
              </a:lnSpc>
              <a:spcBef>
                <a:spcPts val="2200"/>
              </a:spcBef>
              <a:buClr>
                <a:schemeClr val="accent3"/>
              </a:buClr>
              <a:buSzPct val="150000"/>
              <a:buFontTx/>
              <a:buNone/>
            </a:pPr>
            <a:r>
              <a:rPr lang="en-US" sz="800" b="0" spc="0" dirty="0"/>
              <a:t>Saref:hasTime</a:t>
            </a:r>
          </a:p>
        </p:txBody>
      </p:sp>
      <p:sp>
        <p:nvSpPr>
          <p:cNvPr id="78" name="TextBox 77"/>
          <p:cNvSpPr txBox="1"/>
          <p:nvPr/>
        </p:nvSpPr>
        <p:spPr>
          <a:xfrm>
            <a:off x="6043476" y="2096077"/>
            <a:ext cx="1005285" cy="123111"/>
          </a:xfrm>
          <a:prstGeom prst="rect">
            <a:avLst/>
          </a:prstGeom>
        </p:spPr>
        <p:txBody>
          <a:bodyPr wrap="square" lIns="0" tIns="0" rIns="0" bIns="0" rtlCol="0">
            <a:spAutoFit/>
          </a:bodyPr>
          <a:lstStyle/>
          <a:p>
            <a:pPr marL="0" indent="0">
              <a:lnSpc>
                <a:spcPct val="100000"/>
              </a:lnSpc>
              <a:spcBef>
                <a:spcPts val="2200"/>
              </a:spcBef>
              <a:buClr>
                <a:schemeClr val="accent3"/>
              </a:buClr>
              <a:buSzPct val="150000"/>
              <a:buFontTx/>
              <a:buNone/>
            </a:pPr>
            <a:r>
              <a:rPr lang="en-US" sz="800" b="0" spc="0" dirty="0"/>
              <a:t>Saref:consistsOf</a:t>
            </a:r>
          </a:p>
        </p:txBody>
      </p:sp>
      <p:sp>
        <p:nvSpPr>
          <p:cNvPr id="79" name="TextBox 78"/>
          <p:cNvSpPr txBox="1"/>
          <p:nvPr/>
        </p:nvSpPr>
        <p:spPr>
          <a:xfrm>
            <a:off x="3150106" y="2493386"/>
            <a:ext cx="1005285" cy="123111"/>
          </a:xfrm>
          <a:prstGeom prst="rect">
            <a:avLst/>
          </a:prstGeom>
        </p:spPr>
        <p:txBody>
          <a:bodyPr wrap="square" lIns="0" tIns="0" rIns="0" bIns="0" rtlCol="0">
            <a:spAutoFit/>
          </a:bodyPr>
          <a:lstStyle/>
          <a:p>
            <a:pPr marL="0" indent="0">
              <a:lnSpc>
                <a:spcPct val="100000"/>
              </a:lnSpc>
              <a:spcBef>
                <a:spcPts val="2200"/>
              </a:spcBef>
              <a:buClr>
                <a:schemeClr val="accent3"/>
              </a:buClr>
              <a:buSzPct val="150000"/>
              <a:buFontTx/>
              <a:buNone/>
            </a:pPr>
            <a:r>
              <a:rPr lang="en-US" sz="800" b="0" spc="0" dirty="0"/>
              <a:t>Saref:consistsOf</a:t>
            </a:r>
          </a:p>
        </p:txBody>
      </p:sp>
      <p:sp>
        <p:nvSpPr>
          <p:cNvPr id="80" name="TextBox 79"/>
          <p:cNvSpPr txBox="1"/>
          <p:nvPr/>
        </p:nvSpPr>
        <p:spPr>
          <a:xfrm>
            <a:off x="2122240" y="3489463"/>
            <a:ext cx="1005285" cy="123111"/>
          </a:xfrm>
          <a:prstGeom prst="rect">
            <a:avLst/>
          </a:prstGeom>
        </p:spPr>
        <p:txBody>
          <a:bodyPr wrap="square" lIns="0" tIns="0" rIns="0" bIns="0" rtlCol="0">
            <a:spAutoFit/>
          </a:bodyPr>
          <a:lstStyle/>
          <a:p>
            <a:pPr marL="0" indent="0">
              <a:lnSpc>
                <a:spcPct val="100000"/>
              </a:lnSpc>
              <a:spcBef>
                <a:spcPts val="2200"/>
              </a:spcBef>
              <a:buClr>
                <a:schemeClr val="accent3"/>
              </a:buClr>
              <a:buSzPct val="150000"/>
              <a:buFontTx/>
              <a:buNone/>
            </a:pPr>
            <a:r>
              <a:rPr lang="en-US" sz="800" b="0" spc="0" dirty="0"/>
              <a:t>Saref:consistsOf</a:t>
            </a:r>
          </a:p>
        </p:txBody>
      </p:sp>
      <p:sp>
        <p:nvSpPr>
          <p:cNvPr id="81" name="TextBox 80"/>
          <p:cNvSpPr txBox="1"/>
          <p:nvPr/>
        </p:nvSpPr>
        <p:spPr>
          <a:xfrm>
            <a:off x="1488031" y="4603516"/>
            <a:ext cx="1005285" cy="123111"/>
          </a:xfrm>
          <a:prstGeom prst="rect">
            <a:avLst/>
          </a:prstGeom>
        </p:spPr>
        <p:txBody>
          <a:bodyPr wrap="square" lIns="0" tIns="0" rIns="0" bIns="0" rtlCol="0">
            <a:spAutoFit/>
          </a:bodyPr>
          <a:lstStyle/>
          <a:p>
            <a:pPr marL="0" indent="0">
              <a:lnSpc>
                <a:spcPct val="100000"/>
              </a:lnSpc>
              <a:spcBef>
                <a:spcPts val="2200"/>
              </a:spcBef>
              <a:buClr>
                <a:schemeClr val="accent3"/>
              </a:buClr>
              <a:buSzPct val="150000"/>
              <a:buFontTx/>
              <a:buNone/>
            </a:pPr>
            <a:r>
              <a:rPr lang="en-US" sz="800" b="0" spc="0" dirty="0"/>
              <a:t>Saref:consistsOf</a:t>
            </a:r>
          </a:p>
        </p:txBody>
      </p:sp>
      <p:sp>
        <p:nvSpPr>
          <p:cNvPr id="82" name="TextBox 81"/>
          <p:cNvSpPr txBox="1"/>
          <p:nvPr/>
        </p:nvSpPr>
        <p:spPr>
          <a:xfrm>
            <a:off x="2721860" y="5468852"/>
            <a:ext cx="1005285" cy="123111"/>
          </a:xfrm>
          <a:prstGeom prst="rect">
            <a:avLst/>
          </a:prstGeom>
        </p:spPr>
        <p:txBody>
          <a:bodyPr wrap="square" lIns="0" tIns="0" rIns="0" bIns="0" rtlCol="0">
            <a:spAutoFit/>
          </a:bodyPr>
          <a:lstStyle/>
          <a:p>
            <a:pPr marL="0" indent="0">
              <a:lnSpc>
                <a:spcPct val="100000"/>
              </a:lnSpc>
              <a:spcBef>
                <a:spcPts val="2200"/>
              </a:spcBef>
              <a:buClr>
                <a:schemeClr val="accent3"/>
              </a:buClr>
              <a:buSzPct val="150000"/>
              <a:buFontTx/>
              <a:buNone/>
            </a:pPr>
            <a:r>
              <a:rPr lang="en-US" sz="800" b="0" spc="0" dirty="0"/>
              <a:t>Saref:consistsOf</a:t>
            </a:r>
          </a:p>
        </p:txBody>
      </p:sp>
      <p:sp>
        <p:nvSpPr>
          <p:cNvPr id="83" name="TextBox 82"/>
          <p:cNvSpPr txBox="1"/>
          <p:nvPr/>
        </p:nvSpPr>
        <p:spPr>
          <a:xfrm>
            <a:off x="2689208" y="4814000"/>
            <a:ext cx="1005285" cy="123111"/>
          </a:xfrm>
          <a:prstGeom prst="rect">
            <a:avLst/>
          </a:prstGeom>
        </p:spPr>
        <p:txBody>
          <a:bodyPr wrap="square" lIns="0" tIns="0" rIns="0" bIns="0" rtlCol="0">
            <a:spAutoFit/>
          </a:bodyPr>
          <a:lstStyle/>
          <a:p>
            <a:pPr marL="0" indent="0">
              <a:lnSpc>
                <a:spcPct val="100000"/>
              </a:lnSpc>
              <a:spcBef>
                <a:spcPts val="2200"/>
              </a:spcBef>
              <a:buClr>
                <a:schemeClr val="accent3"/>
              </a:buClr>
              <a:buSzPct val="150000"/>
              <a:buFontTx/>
              <a:buNone/>
            </a:pPr>
            <a:r>
              <a:rPr lang="en-US" sz="800" b="0" spc="0" dirty="0"/>
              <a:t>Saref:consistsOf</a:t>
            </a:r>
          </a:p>
        </p:txBody>
      </p:sp>
      <p:sp>
        <p:nvSpPr>
          <p:cNvPr id="84" name="TextBox 83"/>
          <p:cNvSpPr txBox="1"/>
          <p:nvPr/>
        </p:nvSpPr>
        <p:spPr>
          <a:xfrm>
            <a:off x="5798470" y="4654159"/>
            <a:ext cx="1005285" cy="123111"/>
          </a:xfrm>
          <a:prstGeom prst="rect">
            <a:avLst/>
          </a:prstGeom>
        </p:spPr>
        <p:txBody>
          <a:bodyPr wrap="square" lIns="0" tIns="0" rIns="0" bIns="0" rtlCol="0">
            <a:spAutoFit/>
          </a:bodyPr>
          <a:lstStyle/>
          <a:p>
            <a:pPr marL="0" indent="0">
              <a:lnSpc>
                <a:spcPct val="100000"/>
              </a:lnSpc>
              <a:spcBef>
                <a:spcPts val="2200"/>
              </a:spcBef>
              <a:buClr>
                <a:schemeClr val="accent3"/>
              </a:buClr>
              <a:buSzPct val="150000"/>
              <a:buFontTx/>
              <a:buNone/>
            </a:pPr>
            <a:r>
              <a:rPr lang="en-US" sz="800" b="0" spc="0" dirty="0"/>
              <a:t>Saref:consistsOf</a:t>
            </a:r>
          </a:p>
        </p:txBody>
      </p:sp>
      <p:sp>
        <p:nvSpPr>
          <p:cNvPr id="85" name="TextBox 84"/>
          <p:cNvSpPr txBox="1"/>
          <p:nvPr/>
        </p:nvSpPr>
        <p:spPr>
          <a:xfrm>
            <a:off x="5838333" y="5840934"/>
            <a:ext cx="1005285" cy="123111"/>
          </a:xfrm>
          <a:prstGeom prst="rect">
            <a:avLst/>
          </a:prstGeom>
        </p:spPr>
        <p:txBody>
          <a:bodyPr wrap="square" lIns="0" tIns="0" rIns="0" bIns="0" rtlCol="0">
            <a:spAutoFit/>
          </a:bodyPr>
          <a:lstStyle/>
          <a:p>
            <a:pPr marL="0" indent="0">
              <a:lnSpc>
                <a:spcPct val="100000"/>
              </a:lnSpc>
              <a:spcBef>
                <a:spcPts val="2200"/>
              </a:spcBef>
              <a:buClr>
                <a:schemeClr val="accent3"/>
              </a:buClr>
              <a:buSzPct val="150000"/>
              <a:buFontTx/>
              <a:buNone/>
            </a:pPr>
            <a:r>
              <a:rPr lang="en-US" sz="800" b="0" spc="0" dirty="0"/>
              <a:t>Saref:consistsOf</a:t>
            </a:r>
          </a:p>
        </p:txBody>
      </p:sp>
      <p:cxnSp>
        <p:nvCxnSpPr>
          <p:cNvPr id="87" name="Straight Arrow Connector 86"/>
          <p:cNvCxnSpPr>
            <a:stCxn id="18" idx="3"/>
            <a:endCxn id="19" idx="1"/>
          </p:cNvCxnSpPr>
          <p:nvPr/>
        </p:nvCxnSpPr>
        <p:spPr>
          <a:xfrm flipV="1">
            <a:off x="5929313" y="4546903"/>
            <a:ext cx="686710" cy="4763"/>
          </a:xfrm>
          <a:prstGeom prst="straightConnector1">
            <a:avLst/>
          </a:prstGeom>
          <a:ln>
            <a:tailEnd type="triangle" w="med" len="med"/>
          </a:ln>
        </p:spPr>
        <p:style>
          <a:lnRef idx="1">
            <a:schemeClr val="accent1"/>
          </a:lnRef>
          <a:fillRef idx="0">
            <a:schemeClr val="accent1"/>
          </a:fillRef>
          <a:effectRef idx="0">
            <a:schemeClr val="accent1"/>
          </a:effectRef>
          <a:fontRef idx="minor">
            <a:schemeClr val="tx1"/>
          </a:fontRef>
        </p:style>
      </p:cxnSp>
      <p:cxnSp>
        <p:nvCxnSpPr>
          <p:cNvPr id="89" name="Straight Arrow Connector 88"/>
          <p:cNvCxnSpPr>
            <a:stCxn id="21" idx="3"/>
            <a:endCxn id="22" idx="1"/>
          </p:cNvCxnSpPr>
          <p:nvPr/>
        </p:nvCxnSpPr>
        <p:spPr>
          <a:xfrm>
            <a:off x="5854701" y="5716372"/>
            <a:ext cx="853956" cy="0"/>
          </a:xfrm>
          <a:prstGeom prst="straightConnector1">
            <a:avLst/>
          </a:prstGeom>
          <a:ln>
            <a:tailEnd type="triangle" w="med" len="med"/>
          </a:ln>
        </p:spPr>
        <p:style>
          <a:lnRef idx="1">
            <a:schemeClr val="accent1"/>
          </a:lnRef>
          <a:fillRef idx="0">
            <a:schemeClr val="accent1"/>
          </a:fillRef>
          <a:effectRef idx="0">
            <a:schemeClr val="accent1"/>
          </a:effectRef>
          <a:fontRef idx="minor">
            <a:schemeClr val="tx1"/>
          </a:fontRef>
        </p:style>
      </p:cxnSp>
      <p:sp>
        <p:nvSpPr>
          <p:cNvPr id="90" name="TextBox 89"/>
          <p:cNvSpPr txBox="1"/>
          <p:nvPr/>
        </p:nvSpPr>
        <p:spPr>
          <a:xfrm>
            <a:off x="5065860" y="4046037"/>
            <a:ext cx="1033722" cy="123111"/>
          </a:xfrm>
          <a:prstGeom prst="rect">
            <a:avLst/>
          </a:prstGeom>
        </p:spPr>
        <p:txBody>
          <a:bodyPr wrap="square" lIns="0" tIns="0" rIns="0" bIns="0" rtlCol="0">
            <a:spAutoFit/>
          </a:bodyPr>
          <a:lstStyle/>
          <a:p>
            <a:pPr marL="0" indent="0">
              <a:lnSpc>
                <a:spcPct val="100000"/>
              </a:lnSpc>
              <a:spcBef>
                <a:spcPts val="2200"/>
              </a:spcBef>
              <a:buClr>
                <a:schemeClr val="accent3"/>
              </a:buClr>
              <a:buSzPct val="150000"/>
              <a:buFontTx/>
              <a:buNone/>
            </a:pPr>
            <a:r>
              <a:rPr lang="en-US" sz="800" b="0" spc="0" dirty="0"/>
              <a:t>s4ener:belongsTo</a:t>
            </a:r>
          </a:p>
        </p:txBody>
      </p:sp>
      <p:sp>
        <p:nvSpPr>
          <p:cNvPr id="91" name="TextBox 90"/>
          <p:cNvSpPr txBox="1"/>
          <p:nvPr/>
        </p:nvSpPr>
        <p:spPr>
          <a:xfrm>
            <a:off x="8148314" y="4814000"/>
            <a:ext cx="1115074" cy="123111"/>
          </a:xfrm>
          <a:prstGeom prst="rect">
            <a:avLst/>
          </a:prstGeom>
        </p:spPr>
        <p:txBody>
          <a:bodyPr wrap="square" lIns="0" tIns="0" rIns="0" bIns="0" rtlCol="0">
            <a:spAutoFit/>
          </a:bodyPr>
          <a:lstStyle/>
          <a:p>
            <a:pPr marL="0" indent="0">
              <a:lnSpc>
                <a:spcPct val="100000"/>
              </a:lnSpc>
              <a:spcBef>
                <a:spcPts val="2200"/>
              </a:spcBef>
              <a:buClr>
                <a:schemeClr val="accent3"/>
              </a:buClr>
              <a:buSzPct val="150000"/>
              <a:buFontTx/>
              <a:buNone/>
            </a:pPr>
            <a:r>
              <a:rPr lang="en-US" sz="800" b="0" spc="0" dirty="0"/>
              <a:t>Saref:accomplishes</a:t>
            </a:r>
          </a:p>
        </p:txBody>
      </p:sp>
      <p:sp>
        <p:nvSpPr>
          <p:cNvPr id="92" name="TextBox 91"/>
          <p:cNvSpPr txBox="1"/>
          <p:nvPr/>
        </p:nvSpPr>
        <p:spPr>
          <a:xfrm>
            <a:off x="8845370" y="4137902"/>
            <a:ext cx="1115074" cy="123111"/>
          </a:xfrm>
          <a:prstGeom prst="rect">
            <a:avLst/>
          </a:prstGeom>
        </p:spPr>
        <p:txBody>
          <a:bodyPr wrap="square" lIns="0" tIns="0" rIns="0" bIns="0" rtlCol="0">
            <a:spAutoFit/>
          </a:bodyPr>
          <a:lstStyle/>
          <a:p>
            <a:pPr marL="0" indent="0">
              <a:lnSpc>
                <a:spcPct val="100000"/>
              </a:lnSpc>
              <a:spcBef>
                <a:spcPts val="2200"/>
              </a:spcBef>
              <a:buClr>
                <a:schemeClr val="accent3"/>
              </a:buClr>
              <a:buSzPct val="150000"/>
              <a:buFontTx/>
              <a:buNone/>
            </a:pPr>
            <a:r>
              <a:rPr lang="en-US" sz="800" b="0" spc="0" dirty="0"/>
              <a:t>Saref:accomplishes</a:t>
            </a:r>
          </a:p>
        </p:txBody>
      </p:sp>
      <p:sp>
        <p:nvSpPr>
          <p:cNvPr id="93" name="TextBox 92"/>
          <p:cNvSpPr txBox="1"/>
          <p:nvPr/>
        </p:nvSpPr>
        <p:spPr>
          <a:xfrm>
            <a:off x="8914661" y="3635353"/>
            <a:ext cx="1485826" cy="123111"/>
          </a:xfrm>
          <a:prstGeom prst="rect">
            <a:avLst/>
          </a:prstGeom>
        </p:spPr>
        <p:txBody>
          <a:bodyPr wrap="square" lIns="0" tIns="0" rIns="0" bIns="0" rtlCol="0">
            <a:spAutoFit/>
          </a:bodyPr>
          <a:lstStyle/>
          <a:p>
            <a:pPr marL="0" indent="0">
              <a:lnSpc>
                <a:spcPct val="100000"/>
              </a:lnSpc>
              <a:spcBef>
                <a:spcPts val="2200"/>
              </a:spcBef>
              <a:buClr>
                <a:schemeClr val="accent3"/>
              </a:buClr>
              <a:buSzPct val="150000"/>
              <a:buFontTx/>
              <a:buNone/>
            </a:pPr>
            <a:r>
              <a:rPr lang="en-US" sz="800" b="0" spc="0" dirty="0"/>
              <a:t>Saref:isMeasuredByDevice</a:t>
            </a:r>
          </a:p>
        </p:txBody>
      </p:sp>
      <p:sp>
        <p:nvSpPr>
          <p:cNvPr id="94" name="TextBox 93"/>
          <p:cNvSpPr txBox="1"/>
          <p:nvPr/>
        </p:nvSpPr>
        <p:spPr>
          <a:xfrm>
            <a:off x="7138161" y="3659234"/>
            <a:ext cx="1485826" cy="123111"/>
          </a:xfrm>
          <a:prstGeom prst="rect">
            <a:avLst/>
          </a:prstGeom>
        </p:spPr>
        <p:txBody>
          <a:bodyPr wrap="square" lIns="0" tIns="0" rIns="0" bIns="0" rtlCol="0">
            <a:spAutoFit/>
          </a:bodyPr>
          <a:lstStyle/>
          <a:p>
            <a:pPr marL="0" indent="0">
              <a:lnSpc>
                <a:spcPct val="100000"/>
              </a:lnSpc>
              <a:spcBef>
                <a:spcPts val="2200"/>
              </a:spcBef>
              <a:buClr>
                <a:schemeClr val="accent3"/>
              </a:buClr>
              <a:buSzPct val="150000"/>
              <a:buFontTx/>
              <a:buNone/>
            </a:pPr>
            <a:r>
              <a:rPr lang="en-US" sz="800" b="0" spc="0" dirty="0"/>
              <a:t>Saref:isMeasuredByDevice</a:t>
            </a:r>
          </a:p>
        </p:txBody>
      </p:sp>
      <p:sp>
        <p:nvSpPr>
          <p:cNvPr id="95" name="TextBox 94"/>
          <p:cNvSpPr txBox="1"/>
          <p:nvPr/>
        </p:nvSpPr>
        <p:spPr>
          <a:xfrm>
            <a:off x="5953064" y="2688269"/>
            <a:ext cx="1558992" cy="123111"/>
          </a:xfrm>
          <a:prstGeom prst="rect">
            <a:avLst/>
          </a:prstGeom>
        </p:spPr>
        <p:txBody>
          <a:bodyPr wrap="square" lIns="0" tIns="0" rIns="0" bIns="0" rtlCol="0">
            <a:spAutoFit/>
          </a:bodyPr>
          <a:lstStyle/>
          <a:p>
            <a:pPr marL="0" indent="0">
              <a:lnSpc>
                <a:spcPct val="100000"/>
              </a:lnSpc>
              <a:spcBef>
                <a:spcPts val="2200"/>
              </a:spcBef>
              <a:buClr>
                <a:schemeClr val="accent3"/>
              </a:buClr>
              <a:buSzPct val="150000"/>
              <a:buFontTx/>
              <a:buNone/>
            </a:pPr>
            <a:r>
              <a:rPr lang="en-US" sz="800" b="0" spc="0" dirty="0"/>
              <a:t>s4ener:hasEnergyValueType</a:t>
            </a:r>
          </a:p>
        </p:txBody>
      </p:sp>
      <p:sp>
        <p:nvSpPr>
          <p:cNvPr id="5" name="Arc 4"/>
          <p:cNvSpPr/>
          <p:nvPr/>
        </p:nvSpPr>
        <p:spPr>
          <a:xfrm rot="3381770">
            <a:off x="4637756" y="3860061"/>
            <a:ext cx="365760" cy="274320"/>
          </a:xfrm>
          <a:prstGeom prst="arc">
            <a:avLst/>
          </a:prstGeom>
          <a:solidFill>
            <a:schemeClr val="bg1"/>
          </a:solidFill>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67" name="Arc 66"/>
          <p:cNvSpPr/>
          <p:nvPr/>
        </p:nvSpPr>
        <p:spPr>
          <a:xfrm rot="3381770">
            <a:off x="3470400" y="3860062"/>
            <a:ext cx="365760" cy="274320"/>
          </a:xfrm>
          <a:prstGeom prst="arc">
            <a:avLst/>
          </a:prstGeom>
          <a:solidFill>
            <a:schemeClr val="bg1"/>
          </a:solidFill>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69" name="Arc 68"/>
          <p:cNvSpPr/>
          <p:nvPr/>
        </p:nvSpPr>
        <p:spPr>
          <a:xfrm rot="3381770">
            <a:off x="3470400" y="4400326"/>
            <a:ext cx="365760" cy="274320"/>
          </a:xfrm>
          <a:prstGeom prst="arc">
            <a:avLst/>
          </a:prstGeom>
          <a:solidFill>
            <a:schemeClr val="bg1"/>
          </a:solidFill>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pic>
        <p:nvPicPr>
          <p:cNvPr id="70" name="Picture 69">
            <a:extLst>
              <a:ext uri="{FF2B5EF4-FFF2-40B4-BE49-F238E27FC236}">
                <a16:creationId xmlns:a16="http://schemas.microsoft.com/office/drawing/2014/main" id="{8E9C246E-AF3B-4C73-8116-5BF2B5306E0F}"/>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5050" t="25548" r="5027" b="22927"/>
          <a:stretch/>
        </p:blipFill>
        <p:spPr>
          <a:xfrm>
            <a:off x="7981248" y="313232"/>
            <a:ext cx="1270327" cy="406262"/>
          </a:xfrm>
          <a:prstGeom prst="rect">
            <a:avLst/>
          </a:prstGeom>
        </p:spPr>
      </p:pic>
      <p:pic>
        <p:nvPicPr>
          <p:cNvPr id="74" name="Picture 1" descr="image002">
            <a:extLst>
              <a:ext uri="{FF2B5EF4-FFF2-40B4-BE49-F238E27FC236}">
                <a16:creationId xmlns:a16="http://schemas.microsoft.com/office/drawing/2014/main" id="{10BD70C1-2130-4E2D-9A20-3C9ED16C67EA}"/>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6" name="ee4pFootnotes">
            <a:extLst>
              <a:ext uri="{FF2B5EF4-FFF2-40B4-BE49-F238E27FC236}">
                <a16:creationId xmlns:a16="http://schemas.microsoft.com/office/drawing/2014/main" id="{90DF7290-5942-412C-A8AE-CB6938A25B3B}"/>
              </a:ext>
            </a:extLst>
          </p:cNvPr>
          <p:cNvSpPr>
            <a:spLocks noChangeArrowheads="1"/>
          </p:cNvSpPr>
          <p:nvPr/>
        </p:nvSpPr>
        <p:spPr bwMode="auto">
          <a:xfrm>
            <a:off x="2457266" y="6396012"/>
            <a:ext cx="7641096"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cs typeface="Arial" pitchFamily="34" charset="0"/>
              </a:rPr>
              <a:t>Source: </a:t>
            </a:r>
            <a:r>
              <a:rPr lang="fi-FI" sz="1000" dirty="0">
                <a:cs typeface="Arial" pitchFamily="34" charset="0"/>
              </a:rPr>
              <a:t>ETSI TS 103 410-1 V1.1.1</a:t>
            </a:r>
          </a:p>
          <a:p>
            <a:pPr>
              <a:lnSpc>
                <a:spcPct val="90000"/>
              </a:lnSpc>
            </a:pPr>
            <a:r>
              <a:rPr lang="pt-BR" sz="1000" dirty="0">
                <a:cs typeface="Arial" pitchFamily="34" charset="0"/>
              </a:rPr>
              <a:t>Figure by Laura Daniele (TNO) </a:t>
            </a:r>
            <a:endParaRPr lang="en-US" sz="1000" dirty="0">
              <a:cs typeface="Arial" pitchFamily="34" charset="0"/>
            </a:endParaRPr>
          </a:p>
        </p:txBody>
      </p:sp>
    </p:spTree>
    <p:extLst>
      <p:ext uri="{BB962C8B-B14F-4D97-AF65-F5344CB8AC3E}">
        <p14:creationId xmlns:p14="http://schemas.microsoft.com/office/powerpoint/2010/main" val="214094862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F36CDE5-582B-4570-80E8-3DFA6025FBD2}"/>
              </a:ext>
            </a:extLst>
          </p:cNvPr>
          <p:cNvSpPr>
            <a:spLocks noGrp="1"/>
          </p:cNvSpPr>
          <p:nvPr>
            <p:ph type="body" sz="quarter" idx="10"/>
          </p:nvPr>
        </p:nvSpPr>
        <p:spPr/>
        <p:txBody>
          <a:bodyPr/>
          <a:lstStyle/>
          <a:p>
            <a:r>
              <a:rPr lang="en-US" dirty="0"/>
              <a:t>SAREF4ENER: Example (II)</a:t>
            </a:r>
          </a:p>
          <a:p>
            <a:endParaRPr lang="nl-NL" dirty="0"/>
          </a:p>
        </p:txBody>
      </p:sp>
      <p:sp>
        <p:nvSpPr>
          <p:cNvPr id="3" name="Text Placeholder 2">
            <a:extLst>
              <a:ext uri="{FF2B5EF4-FFF2-40B4-BE49-F238E27FC236}">
                <a16:creationId xmlns:a16="http://schemas.microsoft.com/office/drawing/2014/main" id="{41F257C2-9BFE-47BB-8419-622E2D29EDB1}"/>
              </a:ext>
            </a:extLst>
          </p:cNvPr>
          <p:cNvSpPr>
            <a:spLocks noGrp="1"/>
          </p:cNvSpPr>
          <p:nvPr>
            <p:ph type="body" sz="quarter" idx="11"/>
          </p:nvPr>
        </p:nvSpPr>
        <p:spPr>
          <a:xfrm>
            <a:off x="986457" y="1367634"/>
            <a:ext cx="9289200" cy="5016758"/>
          </a:xfrm>
        </p:spPr>
        <p:txBody>
          <a:bodyPr anchorCtr="0">
            <a:spAutoFit/>
          </a:bodyPr>
          <a:lstStyle/>
          <a:p>
            <a:pPr marL="0" indent="0">
              <a:spcBef>
                <a:spcPts val="0"/>
              </a:spcBef>
              <a:buClrTx/>
              <a:buSzPct val="100000"/>
              <a:buFont typeface="Trebuchet MS" panose="020B0603020202020204" pitchFamily="34" charset="0"/>
              <a:buChar char="​"/>
            </a:pPr>
            <a:r>
              <a:rPr lang="en-GB" sz="1600" dirty="0">
                <a:solidFill>
                  <a:schemeClr val="tx1">
                    <a:lumMod val="100000"/>
                  </a:schemeClr>
                </a:solidFill>
              </a:rPr>
              <a:t>The s4ener:PowerProfile is used by a s4ener:Device to expose potentially relevant power sequences, for example, a heating system with hot water tank that wants to communicate its expected energy consumption for a certain day. The s4ener:HeatingSystem exposes a s4ener:PowerProfile (s4ener:PowerProfile-1-HS0001 instance), which consists of two groups with alternative plans (each group is modelled as a s4ener:AlternativesGroup class). These groups do not overlap in time and allow to model consecutive (and also rather independent) periods of action. For example, the s4ener:PowerProfile-1-HS0001 contains one group of alternatives for a task in the morning, and another group of alternatives for another (additional) task in the afternoon. Within one group, there can be one or more plans represented by s4ener:PowerSequence classes (i.e. s4ener:AlternativesGroup-1-HS0001 and s4ener:AlternativesGroup-2-HS0001) which are alternatives to each other (i.e. at most one of these plans can be finally executed). For example, to charge the hot water tank, the heating system can offer within the "afternoon alternative group" two alternative plans, represented as power sequences: (a) a "cheapest" plan in which the CEM should try to minimize the user's energy bill, and (b) a "greenest" plan in which the CEM should try to optimize the configuration towards the maximum availability of renewable energy</a:t>
            </a:r>
            <a:endParaRPr lang="nl-NL" sz="1600" dirty="0">
              <a:solidFill>
                <a:schemeClr val="tx1">
                  <a:lumMod val="100000"/>
                </a:schemeClr>
              </a:solidFill>
            </a:endParaRPr>
          </a:p>
        </p:txBody>
      </p:sp>
      <p:sp>
        <p:nvSpPr>
          <p:cNvPr id="4" name="Slide Number Placeholder 3">
            <a:extLst>
              <a:ext uri="{FF2B5EF4-FFF2-40B4-BE49-F238E27FC236}">
                <a16:creationId xmlns:a16="http://schemas.microsoft.com/office/drawing/2014/main" id="{BF18C1A2-A852-43BC-9DDA-74E7C3843FD6}"/>
              </a:ext>
            </a:extLst>
          </p:cNvPr>
          <p:cNvSpPr>
            <a:spLocks noGrp="1"/>
          </p:cNvSpPr>
          <p:nvPr>
            <p:ph type="sldNum" sz="quarter" idx="4"/>
          </p:nvPr>
        </p:nvSpPr>
        <p:spPr/>
        <p:txBody>
          <a:bodyPr/>
          <a:lstStyle/>
          <a:p>
            <a:fld id="{EBC262BB-4310-134F-8D24-58475080D942}" type="slidenum">
              <a:rPr lang="en-US" smtClean="0"/>
              <a:pPr/>
              <a:t>74</a:t>
            </a:fld>
            <a:endParaRPr lang="en-US" dirty="0"/>
          </a:p>
        </p:txBody>
      </p:sp>
      <p:sp>
        <p:nvSpPr>
          <p:cNvPr id="7" name="ee4pFootnotes"/>
          <p:cNvSpPr>
            <a:spLocks noChangeArrowheads="1"/>
          </p:cNvSpPr>
          <p:nvPr/>
        </p:nvSpPr>
        <p:spPr bwMode="auto">
          <a:xfrm>
            <a:off x="2467992" y="6421441"/>
            <a:ext cx="7641096"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fr-FR" sz="1000" dirty="0">
                <a:cs typeface="Arial" pitchFamily="34" charset="0"/>
              </a:rPr>
              <a:t>Source: ETSI TR 103 411 V1.1.1 </a:t>
            </a:r>
          </a:p>
        </p:txBody>
      </p:sp>
      <p:pic>
        <p:nvPicPr>
          <p:cNvPr id="9" name="Picture 8">
            <a:extLst>
              <a:ext uri="{FF2B5EF4-FFF2-40B4-BE49-F238E27FC236}">
                <a16:creationId xmlns:a16="http://schemas.microsoft.com/office/drawing/2014/main" id="{4ADE904B-3A41-4F8D-99CB-042E9EF749E9}"/>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5050" t="25548" r="5027" b="22927"/>
          <a:stretch/>
        </p:blipFill>
        <p:spPr>
          <a:xfrm>
            <a:off x="7981248" y="313232"/>
            <a:ext cx="1270327" cy="406262"/>
          </a:xfrm>
          <a:prstGeom prst="rect">
            <a:avLst/>
          </a:prstGeom>
        </p:spPr>
      </p:pic>
      <p:pic>
        <p:nvPicPr>
          <p:cNvPr id="10" name="Picture 1" descr="image002">
            <a:extLst>
              <a:ext uri="{FF2B5EF4-FFF2-40B4-BE49-F238E27FC236}">
                <a16:creationId xmlns:a16="http://schemas.microsoft.com/office/drawing/2014/main" id="{D53E38E8-BFE9-40D2-A7B6-14BCBBED19CF}"/>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1394712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F36CDE5-582B-4570-80E8-3DFA6025FBD2}"/>
              </a:ext>
            </a:extLst>
          </p:cNvPr>
          <p:cNvSpPr>
            <a:spLocks noGrp="1"/>
          </p:cNvSpPr>
          <p:nvPr>
            <p:ph type="body" sz="quarter" idx="10"/>
          </p:nvPr>
        </p:nvSpPr>
        <p:spPr/>
        <p:txBody>
          <a:bodyPr/>
          <a:lstStyle/>
          <a:p>
            <a:r>
              <a:rPr lang="en-US" dirty="0"/>
              <a:t>SAREF4ENER: Example (III)</a:t>
            </a:r>
          </a:p>
          <a:p>
            <a:endParaRPr lang="nl-NL" dirty="0"/>
          </a:p>
        </p:txBody>
      </p:sp>
      <p:sp>
        <p:nvSpPr>
          <p:cNvPr id="3" name="Text Placeholder 2">
            <a:extLst>
              <a:ext uri="{FF2B5EF4-FFF2-40B4-BE49-F238E27FC236}">
                <a16:creationId xmlns:a16="http://schemas.microsoft.com/office/drawing/2014/main" id="{41F257C2-9BFE-47BB-8419-622E2D29EDB1}"/>
              </a:ext>
            </a:extLst>
          </p:cNvPr>
          <p:cNvSpPr>
            <a:spLocks noGrp="1"/>
          </p:cNvSpPr>
          <p:nvPr>
            <p:ph type="body" sz="quarter" idx="11"/>
          </p:nvPr>
        </p:nvSpPr>
        <p:spPr>
          <a:xfrm>
            <a:off x="985764" y="1367634"/>
            <a:ext cx="9290586" cy="4031873"/>
          </a:xfrm>
        </p:spPr>
        <p:txBody>
          <a:bodyPr anchorCtr="0">
            <a:spAutoFit/>
          </a:bodyPr>
          <a:lstStyle/>
          <a:p>
            <a:pPr marL="0" indent="0" hangingPunct="0">
              <a:spcBef>
                <a:spcPts val="0"/>
              </a:spcBef>
              <a:buClrTx/>
              <a:buSzPct val="100000"/>
              <a:buFont typeface="Trebuchet MS" panose="020B0603020202020204" pitchFamily="34" charset="0"/>
              <a:buChar char="​"/>
            </a:pPr>
            <a:r>
              <a:rPr lang="en-GB" sz="1600" dirty="0">
                <a:solidFill>
                  <a:schemeClr val="tx1">
                    <a:lumMod val="100000"/>
                  </a:schemeClr>
                </a:solidFill>
              </a:rPr>
              <a:t>In the afternoon group (s4ener:AlternativesGroup-2-HS0001) the heating system offers two different power sequences: (a) s4ener:PowerSequence-3-HS0001 that aims to run "as cheap as possible" and permits the CEM to shift the start between 8:45 and 12:00, and (b) s4ener:PowerSequence-2-HS0001 that aims to reduce energy (it can even announce the user's preference for "green energy"). This means for the afternoon the CEM can take a choice for the "cheap" or the "green" plan. The plans may have further options with regards to their flexibility. For example one of the plans may offer that the CEM can pause a sequence (as long as the sequence completes before the latest time set by the user). Finally, a s4ener:PowerSequence consists of one or more slots (s4ener:Slot class) that represent different phases of consumption (or production) and their values. The power sequences of the heating system example have a single slot each. However, for other devices such as washing machines, a power sequence may have various slots for the different phases of washing, such as heating the water, washing and rinsing</a:t>
            </a:r>
            <a:endParaRPr lang="nl-NL" sz="1600" dirty="0">
              <a:solidFill>
                <a:schemeClr val="tx1">
                  <a:lumMod val="100000"/>
                </a:schemeClr>
              </a:solidFill>
            </a:endParaRPr>
          </a:p>
        </p:txBody>
      </p:sp>
      <p:sp>
        <p:nvSpPr>
          <p:cNvPr id="4" name="Slide Number Placeholder 3">
            <a:extLst>
              <a:ext uri="{FF2B5EF4-FFF2-40B4-BE49-F238E27FC236}">
                <a16:creationId xmlns:a16="http://schemas.microsoft.com/office/drawing/2014/main" id="{BF18C1A2-A852-43BC-9DDA-74E7C3843FD6}"/>
              </a:ext>
            </a:extLst>
          </p:cNvPr>
          <p:cNvSpPr>
            <a:spLocks noGrp="1"/>
          </p:cNvSpPr>
          <p:nvPr>
            <p:ph type="sldNum" sz="quarter" idx="4"/>
          </p:nvPr>
        </p:nvSpPr>
        <p:spPr/>
        <p:txBody>
          <a:bodyPr/>
          <a:lstStyle/>
          <a:p>
            <a:fld id="{EBC262BB-4310-134F-8D24-58475080D942}" type="slidenum">
              <a:rPr lang="en-US" smtClean="0"/>
              <a:pPr/>
              <a:t>75</a:t>
            </a:fld>
            <a:endParaRPr lang="en-US" dirty="0"/>
          </a:p>
        </p:txBody>
      </p:sp>
      <p:sp>
        <p:nvSpPr>
          <p:cNvPr id="7" name="ee4pFootnotes"/>
          <p:cNvSpPr>
            <a:spLocks noChangeArrowheads="1"/>
          </p:cNvSpPr>
          <p:nvPr/>
        </p:nvSpPr>
        <p:spPr bwMode="auto">
          <a:xfrm>
            <a:off x="2467992" y="6421441"/>
            <a:ext cx="7641096"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fr-FR" sz="1000" dirty="0">
                <a:cs typeface="Arial" pitchFamily="34" charset="0"/>
              </a:rPr>
              <a:t>Source: ETSI TR 103 411 V1.1.1 </a:t>
            </a:r>
          </a:p>
        </p:txBody>
      </p:sp>
      <p:pic>
        <p:nvPicPr>
          <p:cNvPr id="8" name="Picture 7">
            <a:extLst>
              <a:ext uri="{FF2B5EF4-FFF2-40B4-BE49-F238E27FC236}">
                <a16:creationId xmlns:a16="http://schemas.microsoft.com/office/drawing/2014/main" id="{975C8945-2AC4-473F-848A-0915FB20D35A}"/>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5050" t="25548" r="5027" b="22927"/>
          <a:stretch/>
        </p:blipFill>
        <p:spPr>
          <a:xfrm>
            <a:off x="7981248" y="313232"/>
            <a:ext cx="1270327" cy="406262"/>
          </a:xfrm>
          <a:prstGeom prst="rect">
            <a:avLst/>
          </a:prstGeom>
        </p:spPr>
      </p:pic>
      <p:pic>
        <p:nvPicPr>
          <p:cNvPr id="10" name="Picture 1" descr="image002">
            <a:extLst>
              <a:ext uri="{FF2B5EF4-FFF2-40B4-BE49-F238E27FC236}">
                <a16:creationId xmlns:a16="http://schemas.microsoft.com/office/drawing/2014/main" id="{73ADB6CD-CD57-41EF-B4EE-BD0FF273237D}"/>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8290581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SAREF4CITY</a:t>
            </a:r>
          </a:p>
        </p:txBody>
      </p:sp>
      <p:sp>
        <p:nvSpPr>
          <p:cNvPr id="3" name="Slide Number Placeholder 2"/>
          <p:cNvSpPr>
            <a:spLocks noGrp="1"/>
          </p:cNvSpPr>
          <p:nvPr>
            <p:ph type="sldNum" sz="quarter" idx="4"/>
          </p:nvPr>
        </p:nvSpPr>
        <p:spPr>
          <a:prstGeom prst="rect">
            <a:avLst/>
          </a:prstGeom>
        </p:spPr>
        <p:txBody>
          <a:bodyPr/>
          <a:lstStyle/>
          <a:p>
            <a:fld id="{EBC262BB-4310-134F-8D24-58475080D942}" type="slidenum">
              <a:rPr lang="en-US" smtClean="0"/>
              <a:pPr/>
              <a:t>76</a:t>
            </a:fld>
            <a:endParaRPr lang="en-US" dirty="0"/>
          </a:p>
        </p:txBody>
      </p:sp>
    </p:spTree>
    <p:extLst>
      <p:ext uri="{BB962C8B-B14F-4D97-AF65-F5344CB8AC3E}">
        <p14:creationId xmlns:p14="http://schemas.microsoft.com/office/powerpoint/2010/main" val="295417118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B71C370-D5AD-4285-B597-DF811FF69E0D}"/>
              </a:ext>
            </a:extLst>
          </p:cNvPr>
          <p:cNvSpPr>
            <a:spLocks noGrp="1"/>
          </p:cNvSpPr>
          <p:nvPr>
            <p:ph type="body" sz="quarter" idx="11"/>
          </p:nvPr>
        </p:nvSpPr>
        <p:spPr/>
        <p:txBody>
          <a:bodyPr/>
          <a:lstStyle/>
          <a:p>
            <a:r>
              <a:rPr lang="en-US" dirty="0"/>
              <a:t>SAREF4CITY - General information</a:t>
            </a:r>
          </a:p>
        </p:txBody>
      </p:sp>
      <p:sp>
        <p:nvSpPr>
          <p:cNvPr id="4" name="Slide Number Placeholder 3">
            <a:extLst>
              <a:ext uri="{FF2B5EF4-FFF2-40B4-BE49-F238E27FC236}">
                <a16:creationId xmlns:a16="http://schemas.microsoft.com/office/drawing/2014/main" id="{0BC0E82D-E994-409C-ADF9-120374BDE6FD}"/>
              </a:ext>
            </a:extLst>
          </p:cNvPr>
          <p:cNvSpPr>
            <a:spLocks noGrp="1"/>
          </p:cNvSpPr>
          <p:nvPr>
            <p:ph type="sldNum" sz="quarter" idx="4"/>
          </p:nvPr>
        </p:nvSpPr>
        <p:spPr/>
        <p:txBody>
          <a:bodyPr/>
          <a:lstStyle/>
          <a:p>
            <a:fld id="{EBC262BB-4310-134F-8D24-58475080D942}" type="slidenum">
              <a:rPr lang="en-US" smtClean="0"/>
              <a:pPr/>
              <a:t>77</a:t>
            </a:fld>
            <a:endParaRPr lang="en-US" dirty="0"/>
          </a:p>
        </p:txBody>
      </p:sp>
      <p:sp>
        <p:nvSpPr>
          <p:cNvPr id="13" name="Text Placeholder 2">
            <a:extLst>
              <a:ext uri="{FF2B5EF4-FFF2-40B4-BE49-F238E27FC236}">
                <a16:creationId xmlns:a16="http://schemas.microsoft.com/office/drawing/2014/main" id="{8B931C60-B751-4D40-A679-4B6147277B01}"/>
              </a:ext>
            </a:extLst>
          </p:cNvPr>
          <p:cNvSpPr txBox="1">
            <a:spLocks/>
          </p:cNvSpPr>
          <p:nvPr/>
        </p:nvSpPr>
        <p:spPr>
          <a:xfrm>
            <a:off x="985764" y="1690406"/>
            <a:ext cx="9123324" cy="1446550"/>
          </a:xfrm>
          <a:prstGeom prst="rect">
            <a:avLst/>
          </a:prstGeom>
        </p:spPr>
        <p:txBody>
          <a:bodyPr lIns="0" tIns="0" rIns="0" b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600"/>
              </a:spcBef>
              <a:buNone/>
            </a:pPr>
            <a:r>
              <a:rPr lang="en-US" sz="1400" dirty="0"/>
              <a:t>More info on the current specification of SAREF4CITY can be found at </a:t>
            </a:r>
            <a:r>
              <a:rPr lang="en-US" sz="1400" dirty="0">
                <a:hlinkClick r:id="rId3"/>
              </a:rPr>
              <a:t>https://saref.etsi.org/extensions.html#SAREF4CITY</a:t>
            </a:r>
            <a:r>
              <a:rPr lang="en-US" sz="1400" dirty="0"/>
              <a:t>  </a:t>
            </a:r>
          </a:p>
          <a:p>
            <a:pPr marL="342900" indent="-342900">
              <a:lnSpc>
                <a:spcPct val="100000"/>
              </a:lnSpc>
              <a:spcBef>
                <a:spcPts val="500"/>
              </a:spcBef>
              <a:buClr>
                <a:srgbClr val="EDAE00"/>
              </a:buClr>
              <a:buFont typeface="Arial" charset="0"/>
              <a:buChar char="•"/>
            </a:pPr>
            <a:r>
              <a:rPr lang="en-US" sz="1400" dirty="0"/>
              <a:t>SAREF4CITY requirements Technical Report (September 2018): TR 103 506 </a:t>
            </a:r>
          </a:p>
          <a:p>
            <a:pPr marL="342900" indent="-342900">
              <a:lnSpc>
                <a:spcPct val="100000"/>
              </a:lnSpc>
              <a:spcBef>
                <a:spcPts val="500"/>
              </a:spcBef>
              <a:buClr>
                <a:srgbClr val="EDAE00"/>
              </a:buClr>
              <a:buFont typeface="Arial" charset="0"/>
              <a:buChar char="•"/>
            </a:pPr>
            <a:r>
              <a:rPr lang="en-US" sz="1400" dirty="0"/>
              <a:t>SAREF for City (SAREFCITY) Technical Specification (May 2020): TS 103 410-4</a:t>
            </a:r>
          </a:p>
        </p:txBody>
      </p:sp>
      <p:sp>
        <p:nvSpPr>
          <p:cNvPr id="14" name="Text Placeholder 2">
            <a:extLst>
              <a:ext uri="{FF2B5EF4-FFF2-40B4-BE49-F238E27FC236}">
                <a16:creationId xmlns:a16="http://schemas.microsoft.com/office/drawing/2014/main" id="{8B931C60-B751-4D40-A679-4B6147277B01}"/>
              </a:ext>
            </a:extLst>
          </p:cNvPr>
          <p:cNvSpPr txBox="1">
            <a:spLocks/>
          </p:cNvSpPr>
          <p:nvPr/>
        </p:nvSpPr>
        <p:spPr>
          <a:xfrm>
            <a:off x="985764" y="3326105"/>
            <a:ext cx="9123324" cy="2972460"/>
          </a:xfrm>
          <a:prstGeom prst="rect">
            <a:avLst/>
          </a:prstGeom>
        </p:spPr>
        <p:txBody>
          <a:bodyPr lIns="0" tIns="0" rIns="0" b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500"/>
              </a:spcBef>
              <a:buFont typeface="Arial" panose="020B0604020202020204" pitchFamily="34" charset="0"/>
              <a:buNone/>
            </a:pPr>
            <a:r>
              <a:rPr lang="en-US" sz="1200" dirty="0"/>
              <a:t>SAREF4CITY: Extension for the Smart Cities domain</a:t>
            </a:r>
          </a:p>
          <a:p>
            <a:pPr marL="342900" indent="-342900">
              <a:lnSpc>
                <a:spcPct val="100000"/>
              </a:lnSpc>
              <a:spcBef>
                <a:spcPts val="500"/>
              </a:spcBef>
              <a:buClr>
                <a:srgbClr val="EDAE00"/>
              </a:buClr>
              <a:buFont typeface="Arial" charset="0"/>
              <a:buChar char="•"/>
            </a:pPr>
            <a:r>
              <a:rPr lang="en-US" sz="1200" dirty="0"/>
              <a:t>IRI: </a:t>
            </a:r>
            <a:r>
              <a:rPr lang="en-US" sz="1200" dirty="0">
                <a:hlinkClick r:id="rId4"/>
              </a:rPr>
              <a:t>https://saref.etsi.org/saref4city/</a:t>
            </a:r>
            <a:endParaRPr lang="en-US" sz="1200" dirty="0"/>
          </a:p>
          <a:p>
            <a:pPr marL="342900" indent="-342900">
              <a:lnSpc>
                <a:spcPct val="100000"/>
              </a:lnSpc>
              <a:spcBef>
                <a:spcPts val="500"/>
              </a:spcBef>
              <a:buClr>
                <a:srgbClr val="EDAE00"/>
              </a:buClr>
              <a:buFont typeface="Arial" charset="0"/>
              <a:buChar char="•"/>
            </a:pPr>
            <a:r>
              <a:rPr lang="en-US" sz="1200" dirty="0"/>
              <a:t>ETSI Technical Specification: </a:t>
            </a:r>
            <a:r>
              <a:rPr lang="en-US" sz="1200" dirty="0">
                <a:hlinkClick r:id="rId5"/>
              </a:rPr>
              <a:t>ETSI TS 103 410-4 V1.1.2 (2020-05): “SmartM2M; Extension to SAREF; Part 4: Smart Cities Domain”</a:t>
            </a:r>
            <a:endParaRPr lang="en-US" sz="1200" dirty="0"/>
          </a:p>
          <a:p>
            <a:pPr marL="342900" indent="-342900">
              <a:lnSpc>
                <a:spcPct val="100000"/>
              </a:lnSpc>
              <a:spcBef>
                <a:spcPts val="500"/>
              </a:spcBef>
              <a:buClr>
                <a:srgbClr val="EDAE00"/>
              </a:buClr>
              <a:buFont typeface="Arial" charset="0"/>
              <a:buChar char="•"/>
            </a:pPr>
            <a:r>
              <a:rPr lang="en-US" sz="1200" dirty="0"/>
              <a:t>Sources: </a:t>
            </a:r>
            <a:r>
              <a:rPr lang="en-US" sz="1200" dirty="0">
                <a:hlinkClick r:id="rId6"/>
              </a:rPr>
              <a:t>https://saref.etsi.org/sources/saref4city/</a:t>
            </a:r>
            <a:r>
              <a:rPr lang="en-US" sz="1200" dirty="0"/>
              <a:t> </a:t>
            </a:r>
          </a:p>
          <a:p>
            <a:pPr marL="342900" indent="-342900">
              <a:lnSpc>
                <a:spcPct val="100000"/>
              </a:lnSpc>
              <a:spcBef>
                <a:spcPts val="500"/>
              </a:spcBef>
              <a:buClr>
                <a:srgbClr val="EDAE00"/>
              </a:buClr>
              <a:buFont typeface="Arial" charset="0"/>
              <a:buChar char="•"/>
            </a:pPr>
            <a:r>
              <a:rPr lang="en-US" sz="1200" dirty="0"/>
              <a:t>All versions</a:t>
            </a:r>
          </a:p>
          <a:p>
            <a:pPr marL="630238" indent="-342900">
              <a:lnSpc>
                <a:spcPct val="100000"/>
              </a:lnSpc>
              <a:spcBef>
                <a:spcPts val="500"/>
              </a:spcBef>
              <a:buClr>
                <a:schemeClr val="tx1"/>
              </a:buClr>
              <a:buFont typeface="Arial" charset="0"/>
              <a:buChar char="•"/>
            </a:pPr>
            <a:r>
              <a:rPr lang="en-US" sz="1200" dirty="0"/>
              <a:t>V1.1.2</a:t>
            </a:r>
          </a:p>
          <a:p>
            <a:pPr marL="1030288" indent="-342900">
              <a:lnSpc>
                <a:spcPct val="100000"/>
              </a:lnSpc>
              <a:spcBef>
                <a:spcPts val="500"/>
              </a:spcBef>
              <a:buClr>
                <a:schemeClr val="tx1"/>
              </a:buClr>
              <a:buFont typeface="Arial" charset="0"/>
              <a:buChar char="•"/>
            </a:pPr>
            <a:r>
              <a:rPr lang="en-US" sz="1200" dirty="0"/>
              <a:t>Version IRI: </a:t>
            </a:r>
            <a:r>
              <a:rPr lang="en-US" sz="1200" dirty="0">
                <a:hlinkClick r:id="rId7"/>
              </a:rPr>
              <a:t>https://saref.etsi.org/saref4city/V1.1.2/</a:t>
            </a:r>
            <a:endParaRPr lang="en-US" sz="1200" dirty="0"/>
          </a:p>
          <a:p>
            <a:pPr marL="1030288" indent="-342900">
              <a:lnSpc>
                <a:spcPct val="100000"/>
              </a:lnSpc>
              <a:spcBef>
                <a:spcPts val="500"/>
              </a:spcBef>
              <a:buClr>
                <a:schemeClr val="tx1"/>
              </a:buClr>
              <a:buFont typeface="Arial" charset="0"/>
              <a:buChar char="•"/>
            </a:pPr>
            <a:r>
              <a:rPr lang="en-US" sz="1200" dirty="0"/>
              <a:t>ETSI Technical Specification: </a:t>
            </a:r>
            <a:r>
              <a:rPr lang="en-US" sz="1200" dirty="0">
                <a:hlinkClick r:id="rId8"/>
              </a:rPr>
              <a:t>ETSI TS 103 410-4 V1.1.2 (2020-05): “SmartM2M; Extension to SAREF; Part 4: Smart City Domain”</a:t>
            </a:r>
            <a:endParaRPr lang="en-US" sz="1200" dirty="0"/>
          </a:p>
          <a:p>
            <a:pPr marL="630238" indent="-342900">
              <a:lnSpc>
                <a:spcPct val="100000"/>
              </a:lnSpc>
              <a:spcBef>
                <a:spcPts val="500"/>
              </a:spcBef>
              <a:buClr>
                <a:schemeClr val="tx1"/>
              </a:buClr>
              <a:buFont typeface="Arial" charset="0"/>
              <a:buChar char="•"/>
            </a:pPr>
            <a:r>
              <a:rPr lang="en-US" sz="1200" dirty="0"/>
              <a:t>V1.1.1</a:t>
            </a:r>
          </a:p>
          <a:p>
            <a:pPr marL="1030288" indent="-342900">
              <a:lnSpc>
                <a:spcPct val="100000"/>
              </a:lnSpc>
              <a:spcBef>
                <a:spcPts val="500"/>
              </a:spcBef>
              <a:buClr>
                <a:schemeClr val="tx1"/>
              </a:buClr>
              <a:buFont typeface="Arial" charset="0"/>
              <a:buChar char="•"/>
            </a:pPr>
            <a:r>
              <a:rPr lang="en-US" sz="1200" dirty="0"/>
              <a:t>ETSI Technical Specification: </a:t>
            </a:r>
            <a:r>
              <a:rPr lang="en-US" sz="1200" dirty="0">
                <a:hlinkClick r:id="rId9"/>
              </a:rPr>
              <a:t>ETSI TS 103 410-4 V1.1.1 (2017-01): “SmartM2M; Extension to SAREF; Part 4: Smart Cities Domain”</a:t>
            </a:r>
            <a:endParaRPr lang="en-US" sz="1200" dirty="0"/>
          </a:p>
        </p:txBody>
      </p:sp>
      <p:pic>
        <p:nvPicPr>
          <p:cNvPr id="7" name="Picture 1" descr="image002">
            <a:extLst>
              <a:ext uri="{FF2B5EF4-FFF2-40B4-BE49-F238E27FC236}">
                <a16:creationId xmlns:a16="http://schemas.microsoft.com/office/drawing/2014/main" id="{BE110A98-1524-4353-B9C3-124EEB2B0C13}"/>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a:extLst>
              <a:ext uri="{FF2B5EF4-FFF2-40B4-BE49-F238E27FC236}">
                <a16:creationId xmlns:a16="http://schemas.microsoft.com/office/drawing/2014/main" id="{BEFEF15C-0AD9-469B-8003-AAC22EDC7096}"/>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5050" t="25548" r="5027" b="22927"/>
          <a:stretch/>
        </p:blipFill>
        <p:spPr>
          <a:xfrm>
            <a:off x="7981248" y="313232"/>
            <a:ext cx="1270327" cy="406262"/>
          </a:xfrm>
          <a:prstGeom prst="rect">
            <a:avLst/>
          </a:prstGeom>
        </p:spPr>
      </p:pic>
    </p:spTree>
    <p:extLst>
      <p:ext uri="{BB962C8B-B14F-4D97-AF65-F5344CB8AC3E}">
        <p14:creationId xmlns:p14="http://schemas.microsoft.com/office/powerpoint/2010/main" val="92720788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SAREF4CITY requirements</a:t>
            </a:r>
          </a:p>
        </p:txBody>
      </p:sp>
      <p:sp>
        <p:nvSpPr>
          <p:cNvPr id="4" name="Slide Number Placeholder 3"/>
          <p:cNvSpPr>
            <a:spLocks noGrp="1"/>
          </p:cNvSpPr>
          <p:nvPr>
            <p:ph type="sldNum" sz="quarter" idx="4"/>
          </p:nvPr>
        </p:nvSpPr>
        <p:spPr/>
        <p:txBody>
          <a:bodyPr/>
          <a:lstStyle/>
          <a:p>
            <a:fld id="{EBC262BB-4310-134F-8D24-58475080D942}" type="slidenum">
              <a:rPr lang="en-US" smtClean="0"/>
              <a:pPr/>
              <a:t>78</a:t>
            </a:fld>
            <a:endParaRPr lang="en-US" dirty="0"/>
          </a:p>
        </p:txBody>
      </p:sp>
      <p:sp>
        <p:nvSpPr>
          <p:cNvPr id="5" name="ee4pFootnotes"/>
          <p:cNvSpPr>
            <a:spLocks noChangeArrowheads="1"/>
          </p:cNvSpPr>
          <p:nvPr/>
        </p:nvSpPr>
        <p:spPr bwMode="auto">
          <a:xfrm>
            <a:off x="2467992" y="6421441"/>
            <a:ext cx="7641096"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pt-BR" sz="1000" dirty="0">
                <a:cs typeface="Arial" pitchFamily="34" charset="0"/>
              </a:rPr>
              <a:t>Adapted from figure by </a:t>
            </a:r>
            <a:r>
              <a:rPr lang="fr-FR" sz="1000" dirty="0">
                <a:cs typeface="Arial" pitchFamily="34" charset="0"/>
              </a:rPr>
              <a:t>Raúl García-Castro and María Poveda-Villalón, Universidad Politecnica de Madrid (UPM), Ontology Engineering group</a:t>
            </a:r>
          </a:p>
        </p:txBody>
      </p:sp>
      <p:grpSp>
        <p:nvGrpSpPr>
          <p:cNvPr id="12" name="Group 11"/>
          <p:cNvGrpSpPr/>
          <p:nvPr/>
        </p:nvGrpSpPr>
        <p:grpSpPr>
          <a:xfrm>
            <a:off x="986457" y="1232635"/>
            <a:ext cx="6702173" cy="4899912"/>
            <a:chOff x="1929384" y="2121408"/>
            <a:chExt cx="5010912" cy="3663443"/>
          </a:xfrm>
        </p:grpSpPr>
        <p:grpSp>
          <p:nvGrpSpPr>
            <p:cNvPr id="13" name="Group 12"/>
            <p:cNvGrpSpPr/>
            <p:nvPr/>
          </p:nvGrpSpPr>
          <p:grpSpPr>
            <a:xfrm>
              <a:off x="1929384" y="2121408"/>
              <a:ext cx="5010912" cy="2962656"/>
              <a:chOff x="1929384" y="2121408"/>
              <a:chExt cx="5010912" cy="2962656"/>
            </a:xfrm>
            <a:solidFill>
              <a:schemeClr val="tx2">
                <a:lumMod val="60000"/>
                <a:lumOff val="40000"/>
              </a:schemeClr>
            </a:solidFill>
          </p:grpSpPr>
          <p:sp>
            <p:nvSpPr>
              <p:cNvPr id="24" name="Freeform 23"/>
              <p:cNvSpPr/>
              <p:nvPr/>
            </p:nvSpPr>
            <p:spPr>
              <a:xfrm>
                <a:off x="1929384" y="4681728"/>
                <a:ext cx="795528" cy="402336"/>
              </a:xfrm>
              <a:custGeom>
                <a:avLst/>
                <a:gdLst>
                  <a:gd name="connsiteX0" fmla="*/ 731520 w 795528"/>
                  <a:gd name="connsiteY0" fmla="*/ 0 h 402336"/>
                  <a:gd name="connsiteX1" fmla="*/ 0 w 795528"/>
                  <a:gd name="connsiteY1" fmla="*/ 0 h 402336"/>
                  <a:gd name="connsiteX2" fmla="*/ 36576 w 795528"/>
                  <a:gd name="connsiteY2" fmla="*/ 402336 h 402336"/>
                  <a:gd name="connsiteX3" fmla="*/ 795528 w 795528"/>
                  <a:gd name="connsiteY3" fmla="*/ 265176 h 402336"/>
                  <a:gd name="connsiteX4" fmla="*/ 731520 w 795528"/>
                  <a:gd name="connsiteY4" fmla="*/ 0 h 4023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5528" h="402336">
                    <a:moveTo>
                      <a:pt x="731520" y="0"/>
                    </a:moveTo>
                    <a:lnTo>
                      <a:pt x="0" y="0"/>
                    </a:lnTo>
                    <a:lnTo>
                      <a:pt x="36576" y="402336"/>
                    </a:lnTo>
                    <a:lnTo>
                      <a:pt x="795528" y="265176"/>
                    </a:lnTo>
                    <a:lnTo>
                      <a:pt x="731520" y="0"/>
                    </a:lnTo>
                    <a:close/>
                  </a:path>
                </a:pathLst>
              </a:custGeom>
              <a:grp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Freeform 24"/>
              <p:cNvSpPr/>
              <p:nvPr/>
            </p:nvSpPr>
            <p:spPr>
              <a:xfrm>
                <a:off x="1929384" y="4160520"/>
                <a:ext cx="777240" cy="384048"/>
              </a:xfrm>
              <a:custGeom>
                <a:avLst/>
                <a:gdLst>
                  <a:gd name="connsiteX0" fmla="*/ 740664 w 777240"/>
                  <a:gd name="connsiteY0" fmla="*/ 384048 h 384048"/>
                  <a:gd name="connsiteX1" fmla="*/ 0 w 777240"/>
                  <a:gd name="connsiteY1" fmla="*/ 329184 h 384048"/>
                  <a:gd name="connsiteX2" fmla="*/ 45720 w 777240"/>
                  <a:gd name="connsiteY2" fmla="*/ 0 h 384048"/>
                  <a:gd name="connsiteX3" fmla="*/ 777240 w 777240"/>
                  <a:gd name="connsiteY3" fmla="*/ 146304 h 384048"/>
                </a:gdLst>
                <a:ahLst/>
                <a:cxnLst>
                  <a:cxn ang="0">
                    <a:pos x="connsiteX0" y="connsiteY0"/>
                  </a:cxn>
                  <a:cxn ang="0">
                    <a:pos x="connsiteX1" y="connsiteY1"/>
                  </a:cxn>
                  <a:cxn ang="0">
                    <a:pos x="connsiteX2" y="connsiteY2"/>
                  </a:cxn>
                  <a:cxn ang="0">
                    <a:pos x="connsiteX3" y="connsiteY3"/>
                  </a:cxn>
                </a:cxnLst>
                <a:rect l="l" t="t" r="r" b="b"/>
                <a:pathLst>
                  <a:path w="777240" h="384048">
                    <a:moveTo>
                      <a:pt x="740664" y="384048"/>
                    </a:moveTo>
                    <a:lnTo>
                      <a:pt x="0" y="329184"/>
                    </a:lnTo>
                    <a:lnTo>
                      <a:pt x="45720" y="0"/>
                    </a:lnTo>
                    <a:lnTo>
                      <a:pt x="777240" y="146304"/>
                    </a:lnTo>
                  </a:path>
                </a:pathLst>
              </a:custGeom>
              <a:grp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Freeform 25"/>
              <p:cNvSpPr/>
              <p:nvPr/>
            </p:nvSpPr>
            <p:spPr>
              <a:xfrm>
                <a:off x="2020824" y="3611880"/>
                <a:ext cx="813816" cy="566928"/>
              </a:xfrm>
              <a:custGeom>
                <a:avLst/>
                <a:gdLst>
                  <a:gd name="connsiteX0" fmla="*/ 704088 w 813816"/>
                  <a:gd name="connsiteY0" fmla="*/ 566928 h 566928"/>
                  <a:gd name="connsiteX1" fmla="*/ 0 w 813816"/>
                  <a:gd name="connsiteY1" fmla="*/ 365760 h 566928"/>
                  <a:gd name="connsiteX2" fmla="*/ 137160 w 813816"/>
                  <a:gd name="connsiteY2" fmla="*/ 0 h 566928"/>
                  <a:gd name="connsiteX3" fmla="*/ 813816 w 813816"/>
                  <a:gd name="connsiteY3" fmla="*/ 292608 h 566928"/>
                  <a:gd name="connsiteX4" fmla="*/ 704088 w 813816"/>
                  <a:gd name="connsiteY4" fmla="*/ 566928 h 566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3816" h="566928">
                    <a:moveTo>
                      <a:pt x="704088" y="566928"/>
                    </a:moveTo>
                    <a:lnTo>
                      <a:pt x="0" y="365760"/>
                    </a:lnTo>
                    <a:lnTo>
                      <a:pt x="137160" y="0"/>
                    </a:lnTo>
                    <a:lnTo>
                      <a:pt x="813816" y="292608"/>
                    </a:lnTo>
                    <a:lnTo>
                      <a:pt x="704088" y="566928"/>
                    </a:lnTo>
                    <a:close/>
                  </a:path>
                </a:pathLst>
              </a:custGeom>
              <a:grp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Freeform 26"/>
              <p:cNvSpPr/>
              <p:nvPr/>
            </p:nvSpPr>
            <p:spPr>
              <a:xfrm>
                <a:off x="2435922" y="2807208"/>
                <a:ext cx="810197" cy="777240"/>
              </a:xfrm>
              <a:custGeom>
                <a:avLst/>
                <a:gdLst>
                  <a:gd name="connsiteX0" fmla="*/ 566928 w 786384"/>
                  <a:gd name="connsiteY0" fmla="*/ 777240 h 777240"/>
                  <a:gd name="connsiteX1" fmla="*/ 0 w 786384"/>
                  <a:gd name="connsiteY1" fmla="*/ 310896 h 777240"/>
                  <a:gd name="connsiteX2" fmla="*/ 256032 w 786384"/>
                  <a:gd name="connsiteY2" fmla="*/ 0 h 777240"/>
                  <a:gd name="connsiteX3" fmla="*/ 786384 w 786384"/>
                  <a:gd name="connsiteY3" fmla="*/ 539496 h 777240"/>
                  <a:gd name="connsiteX0" fmla="*/ 583597 w 803053"/>
                  <a:gd name="connsiteY0" fmla="*/ 777240 h 777240"/>
                  <a:gd name="connsiteX1" fmla="*/ 0 w 803053"/>
                  <a:gd name="connsiteY1" fmla="*/ 310896 h 777240"/>
                  <a:gd name="connsiteX2" fmla="*/ 272701 w 803053"/>
                  <a:gd name="connsiteY2" fmla="*/ 0 h 777240"/>
                  <a:gd name="connsiteX3" fmla="*/ 803053 w 803053"/>
                  <a:gd name="connsiteY3" fmla="*/ 539496 h 777240"/>
                  <a:gd name="connsiteX0" fmla="*/ 590741 w 810197"/>
                  <a:gd name="connsiteY0" fmla="*/ 777240 h 777240"/>
                  <a:gd name="connsiteX1" fmla="*/ 0 w 810197"/>
                  <a:gd name="connsiteY1" fmla="*/ 310896 h 777240"/>
                  <a:gd name="connsiteX2" fmla="*/ 279845 w 810197"/>
                  <a:gd name="connsiteY2" fmla="*/ 0 h 777240"/>
                  <a:gd name="connsiteX3" fmla="*/ 810197 w 810197"/>
                  <a:gd name="connsiteY3" fmla="*/ 539496 h 777240"/>
                </a:gdLst>
                <a:ahLst/>
                <a:cxnLst>
                  <a:cxn ang="0">
                    <a:pos x="connsiteX0" y="connsiteY0"/>
                  </a:cxn>
                  <a:cxn ang="0">
                    <a:pos x="connsiteX1" y="connsiteY1"/>
                  </a:cxn>
                  <a:cxn ang="0">
                    <a:pos x="connsiteX2" y="connsiteY2"/>
                  </a:cxn>
                  <a:cxn ang="0">
                    <a:pos x="connsiteX3" y="connsiteY3"/>
                  </a:cxn>
                </a:cxnLst>
                <a:rect l="l" t="t" r="r" b="b"/>
                <a:pathLst>
                  <a:path w="810197" h="777240">
                    <a:moveTo>
                      <a:pt x="590741" y="777240"/>
                    </a:moveTo>
                    <a:lnTo>
                      <a:pt x="0" y="310896"/>
                    </a:lnTo>
                    <a:lnTo>
                      <a:pt x="279845" y="0"/>
                    </a:lnTo>
                    <a:lnTo>
                      <a:pt x="810197" y="539496"/>
                    </a:lnTo>
                  </a:path>
                </a:pathLst>
              </a:custGeom>
              <a:grp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Freeform 27"/>
              <p:cNvSpPr/>
              <p:nvPr/>
            </p:nvSpPr>
            <p:spPr>
              <a:xfrm>
                <a:off x="2944368" y="2414016"/>
                <a:ext cx="685800" cy="813816"/>
              </a:xfrm>
              <a:custGeom>
                <a:avLst/>
                <a:gdLst>
                  <a:gd name="connsiteX0" fmla="*/ 438912 w 685800"/>
                  <a:gd name="connsiteY0" fmla="*/ 813816 h 813816"/>
                  <a:gd name="connsiteX1" fmla="*/ 0 w 685800"/>
                  <a:gd name="connsiteY1" fmla="*/ 210312 h 813816"/>
                  <a:gd name="connsiteX2" fmla="*/ 329184 w 685800"/>
                  <a:gd name="connsiteY2" fmla="*/ 0 h 813816"/>
                  <a:gd name="connsiteX3" fmla="*/ 685800 w 685800"/>
                  <a:gd name="connsiteY3" fmla="*/ 658368 h 813816"/>
                </a:gdLst>
                <a:ahLst/>
                <a:cxnLst>
                  <a:cxn ang="0">
                    <a:pos x="connsiteX0" y="connsiteY0"/>
                  </a:cxn>
                  <a:cxn ang="0">
                    <a:pos x="connsiteX1" y="connsiteY1"/>
                  </a:cxn>
                  <a:cxn ang="0">
                    <a:pos x="connsiteX2" y="connsiteY2"/>
                  </a:cxn>
                  <a:cxn ang="0">
                    <a:pos x="connsiteX3" y="connsiteY3"/>
                  </a:cxn>
                </a:cxnLst>
                <a:rect l="l" t="t" r="r" b="b"/>
                <a:pathLst>
                  <a:path w="685800" h="813816">
                    <a:moveTo>
                      <a:pt x="438912" y="813816"/>
                    </a:moveTo>
                    <a:lnTo>
                      <a:pt x="0" y="210312"/>
                    </a:lnTo>
                    <a:lnTo>
                      <a:pt x="329184" y="0"/>
                    </a:lnTo>
                    <a:lnTo>
                      <a:pt x="685800" y="658368"/>
                    </a:lnTo>
                  </a:path>
                </a:pathLst>
              </a:custGeom>
              <a:grp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Freeform 28"/>
              <p:cNvSpPr/>
              <p:nvPr/>
            </p:nvSpPr>
            <p:spPr>
              <a:xfrm>
                <a:off x="3519678" y="2185416"/>
                <a:ext cx="549402" cy="795528"/>
              </a:xfrm>
              <a:custGeom>
                <a:avLst/>
                <a:gdLst>
                  <a:gd name="connsiteX0" fmla="*/ 237744 w 530352"/>
                  <a:gd name="connsiteY0" fmla="*/ 795528 h 795528"/>
                  <a:gd name="connsiteX1" fmla="*/ 0 w 530352"/>
                  <a:gd name="connsiteY1" fmla="*/ 128016 h 795528"/>
                  <a:gd name="connsiteX2" fmla="*/ 374904 w 530352"/>
                  <a:gd name="connsiteY2" fmla="*/ 0 h 795528"/>
                  <a:gd name="connsiteX3" fmla="*/ 530352 w 530352"/>
                  <a:gd name="connsiteY3" fmla="*/ 740664 h 795528"/>
                  <a:gd name="connsiteX0" fmla="*/ 256794 w 549402"/>
                  <a:gd name="connsiteY0" fmla="*/ 795528 h 795528"/>
                  <a:gd name="connsiteX1" fmla="*/ 0 w 549402"/>
                  <a:gd name="connsiteY1" fmla="*/ 115316 h 795528"/>
                  <a:gd name="connsiteX2" fmla="*/ 393954 w 549402"/>
                  <a:gd name="connsiteY2" fmla="*/ 0 h 795528"/>
                  <a:gd name="connsiteX3" fmla="*/ 549402 w 549402"/>
                  <a:gd name="connsiteY3" fmla="*/ 740664 h 795528"/>
                </a:gdLst>
                <a:ahLst/>
                <a:cxnLst>
                  <a:cxn ang="0">
                    <a:pos x="connsiteX0" y="connsiteY0"/>
                  </a:cxn>
                  <a:cxn ang="0">
                    <a:pos x="connsiteX1" y="connsiteY1"/>
                  </a:cxn>
                  <a:cxn ang="0">
                    <a:pos x="connsiteX2" y="connsiteY2"/>
                  </a:cxn>
                  <a:cxn ang="0">
                    <a:pos x="connsiteX3" y="connsiteY3"/>
                  </a:cxn>
                </a:cxnLst>
                <a:rect l="l" t="t" r="r" b="b"/>
                <a:pathLst>
                  <a:path w="549402" h="795528">
                    <a:moveTo>
                      <a:pt x="256794" y="795528"/>
                    </a:moveTo>
                    <a:lnTo>
                      <a:pt x="0" y="115316"/>
                    </a:lnTo>
                    <a:lnTo>
                      <a:pt x="393954" y="0"/>
                    </a:lnTo>
                    <a:lnTo>
                      <a:pt x="549402" y="740664"/>
                    </a:lnTo>
                  </a:path>
                </a:pathLst>
              </a:custGeom>
              <a:grp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Freeform 29"/>
              <p:cNvSpPr/>
              <p:nvPr/>
            </p:nvSpPr>
            <p:spPr>
              <a:xfrm>
                <a:off x="4133088" y="2121408"/>
                <a:ext cx="411480" cy="777240"/>
              </a:xfrm>
              <a:custGeom>
                <a:avLst/>
                <a:gdLst>
                  <a:gd name="connsiteX0" fmla="*/ 82296 w 411480"/>
                  <a:gd name="connsiteY0" fmla="*/ 768096 h 777240"/>
                  <a:gd name="connsiteX1" fmla="*/ 0 w 411480"/>
                  <a:gd name="connsiteY1" fmla="*/ 27432 h 777240"/>
                  <a:gd name="connsiteX2" fmla="*/ 411480 w 411480"/>
                  <a:gd name="connsiteY2" fmla="*/ 0 h 777240"/>
                  <a:gd name="connsiteX3" fmla="*/ 393192 w 411480"/>
                  <a:gd name="connsiteY3" fmla="*/ 777240 h 777240"/>
                </a:gdLst>
                <a:ahLst/>
                <a:cxnLst>
                  <a:cxn ang="0">
                    <a:pos x="connsiteX0" y="connsiteY0"/>
                  </a:cxn>
                  <a:cxn ang="0">
                    <a:pos x="connsiteX1" y="connsiteY1"/>
                  </a:cxn>
                  <a:cxn ang="0">
                    <a:pos x="connsiteX2" y="connsiteY2"/>
                  </a:cxn>
                  <a:cxn ang="0">
                    <a:pos x="connsiteX3" y="connsiteY3"/>
                  </a:cxn>
                </a:cxnLst>
                <a:rect l="l" t="t" r="r" b="b"/>
                <a:pathLst>
                  <a:path w="411480" h="777240">
                    <a:moveTo>
                      <a:pt x="82296" y="768096"/>
                    </a:moveTo>
                    <a:lnTo>
                      <a:pt x="0" y="27432"/>
                    </a:lnTo>
                    <a:lnTo>
                      <a:pt x="411480" y="0"/>
                    </a:lnTo>
                    <a:lnTo>
                      <a:pt x="393192" y="777240"/>
                    </a:lnTo>
                  </a:path>
                </a:pathLst>
              </a:custGeom>
              <a:grp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Freeform 30"/>
              <p:cNvSpPr/>
              <p:nvPr/>
            </p:nvSpPr>
            <p:spPr>
              <a:xfrm>
                <a:off x="4617720" y="2139696"/>
                <a:ext cx="457200" cy="841248"/>
              </a:xfrm>
              <a:custGeom>
                <a:avLst/>
                <a:gdLst>
                  <a:gd name="connsiteX0" fmla="*/ 0 w 457200"/>
                  <a:gd name="connsiteY0" fmla="*/ 758952 h 841248"/>
                  <a:gd name="connsiteX1" fmla="*/ 91440 w 457200"/>
                  <a:gd name="connsiteY1" fmla="*/ 0 h 841248"/>
                  <a:gd name="connsiteX2" fmla="*/ 457200 w 457200"/>
                  <a:gd name="connsiteY2" fmla="*/ 64008 h 841248"/>
                  <a:gd name="connsiteX3" fmla="*/ 256032 w 457200"/>
                  <a:gd name="connsiteY3" fmla="*/ 841248 h 841248"/>
                </a:gdLst>
                <a:ahLst/>
                <a:cxnLst>
                  <a:cxn ang="0">
                    <a:pos x="connsiteX0" y="connsiteY0"/>
                  </a:cxn>
                  <a:cxn ang="0">
                    <a:pos x="connsiteX1" y="connsiteY1"/>
                  </a:cxn>
                  <a:cxn ang="0">
                    <a:pos x="connsiteX2" y="connsiteY2"/>
                  </a:cxn>
                  <a:cxn ang="0">
                    <a:pos x="connsiteX3" y="connsiteY3"/>
                  </a:cxn>
                </a:cxnLst>
                <a:rect l="l" t="t" r="r" b="b"/>
                <a:pathLst>
                  <a:path w="457200" h="841248">
                    <a:moveTo>
                      <a:pt x="0" y="758952"/>
                    </a:moveTo>
                    <a:lnTo>
                      <a:pt x="91440" y="0"/>
                    </a:lnTo>
                    <a:lnTo>
                      <a:pt x="457200" y="64008"/>
                    </a:lnTo>
                    <a:lnTo>
                      <a:pt x="256032" y="841248"/>
                    </a:lnTo>
                  </a:path>
                </a:pathLst>
              </a:custGeom>
              <a:grp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Freeform 31"/>
              <p:cNvSpPr/>
              <p:nvPr/>
            </p:nvSpPr>
            <p:spPr>
              <a:xfrm>
                <a:off x="5449824" y="2560320"/>
                <a:ext cx="740664" cy="813816"/>
              </a:xfrm>
              <a:custGeom>
                <a:avLst/>
                <a:gdLst>
                  <a:gd name="connsiteX0" fmla="*/ 0 w 740664"/>
                  <a:gd name="connsiteY0" fmla="*/ 621792 h 813816"/>
                  <a:gd name="connsiteX1" fmla="*/ 429768 w 740664"/>
                  <a:gd name="connsiteY1" fmla="*/ 0 h 813816"/>
                  <a:gd name="connsiteX2" fmla="*/ 740664 w 740664"/>
                  <a:gd name="connsiteY2" fmla="*/ 265176 h 813816"/>
                  <a:gd name="connsiteX3" fmla="*/ 210312 w 740664"/>
                  <a:gd name="connsiteY3" fmla="*/ 813816 h 813816"/>
                </a:gdLst>
                <a:ahLst/>
                <a:cxnLst>
                  <a:cxn ang="0">
                    <a:pos x="connsiteX0" y="connsiteY0"/>
                  </a:cxn>
                  <a:cxn ang="0">
                    <a:pos x="connsiteX1" y="connsiteY1"/>
                  </a:cxn>
                  <a:cxn ang="0">
                    <a:pos x="connsiteX2" y="connsiteY2"/>
                  </a:cxn>
                  <a:cxn ang="0">
                    <a:pos x="connsiteX3" y="connsiteY3"/>
                  </a:cxn>
                </a:cxnLst>
                <a:rect l="l" t="t" r="r" b="b"/>
                <a:pathLst>
                  <a:path w="740664" h="813816">
                    <a:moveTo>
                      <a:pt x="0" y="621792"/>
                    </a:moveTo>
                    <a:lnTo>
                      <a:pt x="429768" y="0"/>
                    </a:lnTo>
                    <a:lnTo>
                      <a:pt x="740664" y="265176"/>
                    </a:lnTo>
                    <a:lnTo>
                      <a:pt x="210312" y="813816"/>
                    </a:lnTo>
                  </a:path>
                </a:pathLst>
              </a:custGeom>
              <a:grp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Freeform 32"/>
              <p:cNvSpPr/>
              <p:nvPr/>
            </p:nvSpPr>
            <p:spPr>
              <a:xfrm>
                <a:off x="6099048" y="3803904"/>
                <a:ext cx="841248" cy="566928"/>
              </a:xfrm>
              <a:custGeom>
                <a:avLst/>
                <a:gdLst>
                  <a:gd name="connsiteX0" fmla="*/ 0 w 841248"/>
                  <a:gd name="connsiteY0" fmla="*/ 256032 h 566928"/>
                  <a:gd name="connsiteX1" fmla="*/ 713232 w 841248"/>
                  <a:gd name="connsiteY1" fmla="*/ 0 h 566928"/>
                  <a:gd name="connsiteX2" fmla="*/ 841248 w 841248"/>
                  <a:gd name="connsiteY2" fmla="*/ 438912 h 566928"/>
                  <a:gd name="connsiteX3" fmla="*/ 54864 w 841248"/>
                  <a:gd name="connsiteY3" fmla="*/ 566928 h 566928"/>
                </a:gdLst>
                <a:ahLst/>
                <a:cxnLst>
                  <a:cxn ang="0">
                    <a:pos x="connsiteX0" y="connsiteY0"/>
                  </a:cxn>
                  <a:cxn ang="0">
                    <a:pos x="connsiteX1" y="connsiteY1"/>
                  </a:cxn>
                  <a:cxn ang="0">
                    <a:pos x="connsiteX2" y="connsiteY2"/>
                  </a:cxn>
                  <a:cxn ang="0">
                    <a:pos x="connsiteX3" y="connsiteY3"/>
                  </a:cxn>
                </a:cxnLst>
                <a:rect l="l" t="t" r="r" b="b"/>
                <a:pathLst>
                  <a:path w="841248" h="566928">
                    <a:moveTo>
                      <a:pt x="0" y="256032"/>
                    </a:moveTo>
                    <a:lnTo>
                      <a:pt x="713232" y="0"/>
                    </a:lnTo>
                    <a:lnTo>
                      <a:pt x="841248" y="438912"/>
                    </a:lnTo>
                    <a:lnTo>
                      <a:pt x="54864" y="566928"/>
                    </a:lnTo>
                  </a:path>
                </a:pathLst>
              </a:custGeom>
              <a:grp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4" name="Freeform 19"/>
            <p:cNvSpPr>
              <a:spLocks noEditPoints="1"/>
            </p:cNvSpPr>
            <p:nvPr/>
          </p:nvSpPr>
          <p:spPr bwMode="auto">
            <a:xfrm rot="162326">
              <a:off x="3507204" y="3661085"/>
              <a:ext cx="1865313" cy="965200"/>
            </a:xfrm>
            <a:custGeom>
              <a:avLst/>
              <a:gdLst>
                <a:gd name="T0" fmla="*/ 19468 w 19587"/>
                <a:gd name="T1" fmla="*/ 7932 h 10142"/>
                <a:gd name="T2" fmla="*/ 19277 w 19587"/>
                <a:gd name="T3" fmla="*/ 7552 h 10142"/>
                <a:gd name="T4" fmla="*/ 18793 w 19587"/>
                <a:gd name="T5" fmla="*/ 6141 h 10142"/>
                <a:gd name="T6" fmla="*/ 18120 w 19587"/>
                <a:gd name="T7" fmla="*/ 4849 h 10142"/>
                <a:gd name="T8" fmla="*/ 17275 w 19587"/>
                <a:gd name="T9" fmla="*/ 3689 h 10142"/>
                <a:gd name="T10" fmla="*/ 16279 w 19587"/>
                <a:gd name="T11" fmla="*/ 2672 h 10142"/>
                <a:gd name="T12" fmla="*/ 15153 w 19587"/>
                <a:gd name="T13" fmla="*/ 1810 h 10142"/>
                <a:gd name="T14" fmla="*/ 13915 w 19587"/>
                <a:gd name="T15" fmla="*/ 1119 h 10142"/>
                <a:gd name="T16" fmla="*/ 12585 w 19587"/>
                <a:gd name="T17" fmla="*/ 611 h 10142"/>
                <a:gd name="T18" fmla="*/ 11183 w 19587"/>
                <a:gd name="T19" fmla="*/ 297 h 10142"/>
                <a:gd name="T20" fmla="*/ 10220 w 19587"/>
                <a:gd name="T21" fmla="*/ 203 h 10142"/>
                <a:gd name="T22" fmla="*/ 9485 w 19587"/>
                <a:gd name="T23" fmla="*/ 195 h 10142"/>
                <a:gd name="T24" fmla="*/ 8743 w 19587"/>
                <a:gd name="T25" fmla="*/ 244 h 10142"/>
                <a:gd name="T26" fmla="*/ 7996 w 19587"/>
                <a:gd name="T27" fmla="*/ 350 h 10142"/>
                <a:gd name="T28" fmla="*/ 7063 w 19587"/>
                <a:gd name="T29" fmla="*/ 569 h 10142"/>
                <a:gd name="T30" fmla="*/ 6073 w 19587"/>
                <a:gd name="T31" fmla="*/ 908 h 10142"/>
                <a:gd name="T32" fmla="*/ 5133 w 19587"/>
                <a:gd name="T33" fmla="*/ 1345 h 10142"/>
                <a:gd name="T34" fmla="*/ 4252 w 19587"/>
                <a:gd name="T35" fmla="*/ 1874 h 10142"/>
                <a:gd name="T36" fmla="*/ 3432 w 19587"/>
                <a:gd name="T37" fmla="*/ 2489 h 10142"/>
                <a:gd name="T38" fmla="*/ 2682 w 19587"/>
                <a:gd name="T39" fmla="*/ 3185 h 10142"/>
                <a:gd name="T40" fmla="*/ 2009 w 19587"/>
                <a:gd name="T41" fmla="*/ 3956 h 10142"/>
                <a:gd name="T42" fmla="*/ 1416 w 19587"/>
                <a:gd name="T43" fmla="*/ 4795 h 10142"/>
                <a:gd name="T44" fmla="*/ 912 w 19587"/>
                <a:gd name="T45" fmla="*/ 5696 h 10142"/>
                <a:gd name="T46" fmla="*/ 502 w 19587"/>
                <a:gd name="T47" fmla="*/ 6655 h 10142"/>
                <a:gd name="T48" fmla="*/ 192 w 19587"/>
                <a:gd name="T49" fmla="*/ 7664 h 10142"/>
                <a:gd name="T50" fmla="*/ 76 w 19587"/>
                <a:gd name="T51" fmla="*/ 7733 h 10142"/>
                <a:gd name="T52" fmla="*/ 101 w 19587"/>
                <a:gd name="T53" fmla="*/ 7266 h 10142"/>
                <a:gd name="T54" fmla="*/ 451 w 19587"/>
                <a:gd name="T55" fmla="*/ 6254 h 10142"/>
                <a:gd name="T56" fmla="*/ 903 w 19587"/>
                <a:gd name="T57" fmla="*/ 5296 h 10142"/>
                <a:gd name="T58" fmla="*/ 1447 w 19587"/>
                <a:gd name="T59" fmla="*/ 4397 h 10142"/>
                <a:gd name="T60" fmla="*/ 2080 w 19587"/>
                <a:gd name="T61" fmla="*/ 3564 h 10142"/>
                <a:gd name="T62" fmla="*/ 2793 w 19587"/>
                <a:gd name="T63" fmla="*/ 2804 h 10142"/>
                <a:gd name="T64" fmla="*/ 3583 w 19587"/>
                <a:gd name="T65" fmla="*/ 2122 h 10142"/>
                <a:gd name="T66" fmla="*/ 4440 w 19587"/>
                <a:gd name="T67" fmla="*/ 1523 h 10142"/>
                <a:gd name="T68" fmla="*/ 5360 w 19587"/>
                <a:gd name="T69" fmla="*/ 1014 h 10142"/>
                <a:gd name="T70" fmla="*/ 6335 w 19587"/>
                <a:gd name="T71" fmla="*/ 603 h 10142"/>
                <a:gd name="T72" fmla="*/ 7360 w 19587"/>
                <a:gd name="T73" fmla="*/ 293 h 10142"/>
                <a:gd name="T74" fmla="*/ 8218 w 19587"/>
                <a:gd name="T75" fmla="*/ 117 h 10142"/>
                <a:gd name="T76" fmla="*/ 8978 w 19587"/>
                <a:gd name="T77" fmla="*/ 30 h 10142"/>
                <a:gd name="T78" fmla="*/ 9733 w 19587"/>
                <a:gd name="T79" fmla="*/ 0 h 10142"/>
                <a:gd name="T80" fmla="*/ 10479 w 19587"/>
                <a:gd name="T81" fmla="*/ 27 h 10142"/>
                <a:gd name="T82" fmla="*/ 11700 w 19587"/>
                <a:gd name="T83" fmla="*/ 192 h 10142"/>
                <a:gd name="T84" fmla="*/ 13106 w 19587"/>
                <a:gd name="T85" fmla="*/ 580 h 10142"/>
                <a:gd name="T86" fmla="*/ 14432 w 19587"/>
                <a:gd name="T87" fmla="*/ 1163 h 10142"/>
                <a:gd name="T88" fmla="*/ 15658 w 19587"/>
                <a:gd name="T89" fmla="*/ 1927 h 10142"/>
                <a:gd name="T90" fmla="*/ 16764 w 19587"/>
                <a:gd name="T91" fmla="*/ 2859 h 10142"/>
                <a:gd name="T92" fmla="*/ 17729 w 19587"/>
                <a:gd name="T93" fmla="*/ 3947 h 10142"/>
                <a:gd name="T94" fmla="*/ 18535 w 19587"/>
                <a:gd name="T95" fmla="*/ 5177 h 10142"/>
                <a:gd name="T96" fmla="*/ 19158 w 19587"/>
                <a:gd name="T97" fmla="*/ 6535 h 10142"/>
                <a:gd name="T98" fmla="*/ 19526 w 19587"/>
                <a:gd name="T99" fmla="*/ 7755 h 10142"/>
                <a:gd name="T100" fmla="*/ 19507 w 19587"/>
                <a:gd name="T101" fmla="*/ 8120 h 10142"/>
                <a:gd name="T102" fmla="*/ 76 w 19587"/>
                <a:gd name="T103" fmla="*/ 7733 h 10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587" h="10142">
                  <a:moveTo>
                    <a:pt x="9773" y="9952"/>
                  </a:moveTo>
                  <a:lnTo>
                    <a:pt x="9730" y="9951"/>
                  </a:lnTo>
                  <a:lnTo>
                    <a:pt x="19468" y="7932"/>
                  </a:lnTo>
                  <a:lnTo>
                    <a:pt x="19394" y="8047"/>
                  </a:lnTo>
                  <a:lnTo>
                    <a:pt x="19339" y="7796"/>
                  </a:lnTo>
                  <a:lnTo>
                    <a:pt x="19277" y="7552"/>
                  </a:lnTo>
                  <a:lnTo>
                    <a:pt x="19138" y="7068"/>
                  </a:lnTo>
                  <a:lnTo>
                    <a:pt x="18977" y="6598"/>
                  </a:lnTo>
                  <a:lnTo>
                    <a:pt x="18793" y="6141"/>
                  </a:lnTo>
                  <a:lnTo>
                    <a:pt x="18589" y="5697"/>
                  </a:lnTo>
                  <a:lnTo>
                    <a:pt x="18364" y="5266"/>
                  </a:lnTo>
                  <a:lnTo>
                    <a:pt x="18120" y="4849"/>
                  </a:lnTo>
                  <a:lnTo>
                    <a:pt x="17856" y="4447"/>
                  </a:lnTo>
                  <a:lnTo>
                    <a:pt x="17574" y="4060"/>
                  </a:lnTo>
                  <a:lnTo>
                    <a:pt x="17275" y="3689"/>
                  </a:lnTo>
                  <a:lnTo>
                    <a:pt x="16959" y="3333"/>
                  </a:lnTo>
                  <a:lnTo>
                    <a:pt x="16627" y="2994"/>
                  </a:lnTo>
                  <a:lnTo>
                    <a:pt x="16279" y="2672"/>
                  </a:lnTo>
                  <a:lnTo>
                    <a:pt x="15918" y="2367"/>
                  </a:lnTo>
                  <a:lnTo>
                    <a:pt x="15541" y="2080"/>
                  </a:lnTo>
                  <a:lnTo>
                    <a:pt x="15153" y="1810"/>
                  </a:lnTo>
                  <a:lnTo>
                    <a:pt x="14752" y="1561"/>
                  </a:lnTo>
                  <a:lnTo>
                    <a:pt x="14339" y="1330"/>
                  </a:lnTo>
                  <a:lnTo>
                    <a:pt x="13915" y="1119"/>
                  </a:lnTo>
                  <a:lnTo>
                    <a:pt x="13481" y="928"/>
                  </a:lnTo>
                  <a:lnTo>
                    <a:pt x="13037" y="759"/>
                  </a:lnTo>
                  <a:lnTo>
                    <a:pt x="12585" y="611"/>
                  </a:lnTo>
                  <a:lnTo>
                    <a:pt x="12125" y="484"/>
                  </a:lnTo>
                  <a:lnTo>
                    <a:pt x="11657" y="379"/>
                  </a:lnTo>
                  <a:lnTo>
                    <a:pt x="11183" y="297"/>
                  </a:lnTo>
                  <a:lnTo>
                    <a:pt x="10704" y="238"/>
                  </a:lnTo>
                  <a:lnTo>
                    <a:pt x="10464" y="218"/>
                  </a:lnTo>
                  <a:lnTo>
                    <a:pt x="10220" y="203"/>
                  </a:lnTo>
                  <a:lnTo>
                    <a:pt x="9976" y="194"/>
                  </a:lnTo>
                  <a:lnTo>
                    <a:pt x="9732" y="192"/>
                  </a:lnTo>
                  <a:lnTo>
                    <a:pt x="9485" y="195"/>
                  </a:lnTo>
                  <a:lnTo>
                    <a:pt x="9238" y="205"/>
                  </a:lnTo>
                  <a:lnTo>
                    <a:pt x="8991" y="221"/>
                  </a:lnTo>
                  <a:lnTo>
                    <a:pt x="8743" y="244"/>
                  </a:lnTo>
                  <a:lnTo>
                    <a:pt x="8494" y="273"/>
                  </a:lnTo>
                  <a:lnTo>
                    <a:pt x="8245" y="308"/>
                  </a:lnTo>
                  <a:lnTo>
                    <a:pt x="7996" y="350"/>
                  </a:lnTo>
                  <a:lnTo>
                    <a:pt x="7745" y="398"/>
                  </a:lnTo>
                  <a:lnTo>
                    <a:pt x="7405" y="480"/>
                  </a:lnTo>
                  <a:lnTo>
                    <a:pt x="7063" y="569"/>
                  </a:lnTo>
                  <a:lnTo>
                    <a:pt x="6727" y="671"/>
                  </a:lnTo>
                  <a:lnTo>
                    <a:pt x="6398" y="784"/>
                  </a:lnTo>
                  <a:lnTo>
                    <a:pt x="6073" y="908"/>
                  </a:lnTo>
                  <a:lnTo>
                    <a:pt x="5754" y="1043"/>
                  </a:lnTo>
                  <a:lnTo>
                    <a:pt x="5441" y="1189"/>
                  </a:lnTo>
                  <a:lnTo>
                    <a:pt x="5133" y="1345"/>
                  </a:lnTo>
                  <a:lnTo>
                    <a:pt x="4833" y="1511"/>
                  </a:lnTo>
                  <a:lnTo>
                    <a:pt x="4539" y="1688"/>
                  </a:lnTo>
                  <a:lnTo>
                    <a:pt x="4252" y="1874"/>
                  </a:lnTo>
                  <a:lnTo>
                    <a:pt x="3970" y="2069"/>
                  </a:lnTo>
                  <a:lnTo>
                    <a:pt x="3698" y="2275"/>
                  </a:lnTo>
                  <a:lnTo>
                    <a:pt x="3432" y="2489"/>
                  </a:lnTo>
                  <a:lnTo>
                    <a:pt x="3174" y="2713"/>
                  </a:lnTo>
                  <a:lnTo>
                    <a:pt x="2924" y="2945"/>
                  </a:lnTo>
                  <a:lnTo>
                    <a:pt x="2682" y="3185"/>
                  </a:lnTo>
                  <a:lnTo>
                    <a:pt x="2450" y="3434"/>
                  </a:lnTo>
                  <a:lnTo>
                    <a:pt x="2225" y="3691"/>
                  </a:lnTo>
                  <a:lnTo>
                    <a:pt x="2009" y="3956"/>
                  </a:lnTo>
                  <a:lnTo>
                    <a:pt x="1802" y="4229"/>
                  </a:lnTo>
                  <a:lnTo>
                    <a:pt x="1604" y="4508"/>
                  </a:lnTo>
                  <a:lnTo>
                    <a:pt x="1416" y="4795"/>
                  </a:lnTo>
                  <a:lnTo>
                    <a:pt x="1237" y="5088"/>
                  </a:lnTo>
                  <a:lnTo>
                    <a:pt x="1070" y="5389"/>
                  </a:lnTo>
                  <a:lnTo>
                    <a:pt x="912" y="5696"/>
                  </a:lnTo>
                  <a:lnTo>
                    <a:pt x="764" y="6010"/>
                  </a:lnTo>
                  <a:lnTo>
                    <a:pt x="628" y="6329"/>
                  </a:lnTo>
                  <a:lnTo>
                    <a:pt x="502" y="6655"/>
                  </a:lnTo>
                  <a:lnTo>
                    <a:pt x="387" y="6986"/>
                  </a:lnTo>
                  <a:lnTo>
                    <a:pt x="284" y="7323"/>
                  </a:lnTo>
                  <a:lnTo>
                    <a:pt x="192" y="7664"/>
                  </a:lnTo>
                  <a:lnTo>
                    <a:pt x="123" y="7546"/>
                  </a:lnTo>
                  <a:lnTo>
                    <a:pt x="9773" y="9952"/>
                  </a:lnTo>
                  <a:close/>
                  <a:moveTo>
                    <a:pt x="76" y="7733"/>
                  </a:moveTo>
                  <a:cubicBezTo>
                    <a:pt x="51" y="7726"/>
                    <a:pt x="30" y="7710"/>
                    <a:pt x="17" y="7688"/>
                  </a:cubicBezTo>
                  <a:cubicBezTo>
                    <a:pt x="4" y="7666"/>
                    <a:pt x="0" y="7639"/>
                    <a:pt x="7" y="7614"/>
                  </a:cubicBezTo>
                  <a:lnTo>
                    <a:pt x="101" y="7266"/>
                  </a:lnTo>
                  <a:lnTo>
                    <a:pt x="206" y="6923"/>
                  </a:lnTo>
                  <a:lnTo>
                    <a:pt x="323" y="6586"/>
                  </a:lnTo>
                  <a:lnTo>
                    <a:pt x="451" y="6254"/>
                  </a:lnTo>
                  <a:lnTo>
                    <a:pt x="591" y="5929"/>
                  </a:lnTo>
                  <a:lnTo>
                    <a:pt x="741" y="5608"/>
                  </a:lnTo>
                  <a:lnTo>
                    <a:pt x="903" y="5296"/>
                  </a:lnTo>
                  <a:lnTo>
                    <a:pt x="1073" y="4989"/>
                  </a:lnTo>
                  <a:lnTo>
                    <a:pt x="1255" y="4690"/>
                  </a:lnTo>
                  <a:lnTo>
                    <a:pt x="1447" y="4397"/>
                  </a:lnTo>
                  <a:lnTo>
                    <a:pt x="1649" y="4112"/>
                  </a:lnTo>
                  <a:lnTo>
                    <a:pt x="1860" y="3835"/>
                  </a:lnTo>
                  <a:lnTo>
                    <a:pt x="2080" y="3564"/>
                  </a:lnTo>
                  <a:lnTo>
                    <a:pt x="2309" y="3303"/>
                  </a:lnTo>
                  <a:lnTo>
                    <a:pt x="2547" y="3049"/>
                  </a:lnTo>
                  <a:lnTo>
                    <a:pt x="2793" y="2804"/>
                  </a:lnTo>
                  <a:lnTo>
                    <a:pt x="3048" y="2568"/>
                  </a:lnTo>
                  <a:lnTo>
                    <a:pt x="3311" y="2340"/>
                  </a:lnTo>
                  <a:lnTo>
                    <a:pt x="3583" y="2122"/>
                  </a:lnTo>
                  <a:lnTo>
                    <a:pt x="3861" y="1912"/>
                  </a:lnTo>
                  <a:lnTo>
                    <a:pt x="4147" y="1713"/>
                  </a:lnTo>
                  <a:lnTo>
                    <a:pt x="4440" y="1523"/>
                  </a:lnTo>
                  <a:lnTo>
                    <a:pt x="4740" y="1344"/>
                  </a:lnTo>
                  <a:lnTo>
                    <a:pt x="5046" y="1174"/>
                  </a:lnTo>
                  <a:lnTo>
                    <a:pt x="5360" y="1014"/>
                  </a:lnTo>
                  <a:lnTo>
                    <a:pt x="5679" y="866"/>
                  </a:lnTo>
                  <a:lnTo>
                    <a:pt x="6004" y="729"/>
                  </a:lnTo>
                  <a:lnTo>
                    <a:pt x="6335" y="603"/>
                  </a:lnTo>
                  <a:lnTo>
                    <a:pt x="6672" y="488"/>
                  </a:lnTo>
                  <a:lnTo>
                    <a:pt x="7014" y="384"/>
                  </a:lnTo>
                  <a:lnTo>
                    <a:pt x="7360" y="293"/>
                  </a:lnTo>
                  <a:lnTo>
                    <a:pt x="7710" y="209"/>
                  </a:lnTo>
                  <a:lnTo>
                    <a:pt x="7963" y="161"/>
                  </a:lnTo>
                  <a:lnTo>
                    <a:pt x="8218" y="117"/>
                  </a:lnTo>
                  <a:lnTo>
                    <a:pt x="8472" y="82"/>
                  </a:lnTo>
                  <a:lnTo>
                    <a:pt x="8726" y="53"/>
                  </a:lnTo>
                  <a:lnTo>
                    <a:pt x="8978" y="30"/>
                  </a:lnTo>
                  <a:lnTo>
                    <a:pt x="9231" y="14"/>
                  </a:lnTo>
                  <a:lnTo>
                    <a:pt x="9482" y="3"/>
                  </a:lnTo>
                  <a:lnTo>
                    <a:pt x="9733" y="0"/>
                  </a:lnTo>
                  <a:lnTo>
                    <a:pt x="9983" y="3"/>
                  </a:lnTo>
                  <a:lnTo>
                    <a:pt x="10231" y="12"/>
                  </a:lnTo>
                  <a:lnTo>
                    <a:pt x="10479" y="27"/>
                  </a:lnTo>
                  <a:lnTo>
                    <a:pt x="10727" y="47"/>
                  </a:lnTo>
                  <a:lnTo>
                    <a:pt x="11216" y="108"/>
                  </a:lnTo>
                  <a:lnTo>
                    <a:pt x="11700" y="192"/>
                  </a:lnTo>
                  <a:lnTo>
                    <a:pt x="12176" y="299"/>
                  </a:lnTo>
                  <a:lnTo>
                    <a:pt x="12644" y="428"/>
                  </a:lnTo>
                  <a:lnTo>
                    <a:pt x="13106" y="580"/>
                  </a:lnTo>
                  <a:lnTo>
                    <a:pt x="13558" y="753"/>
                  </a:lnTo>
                  <a:lnTo>
                    <a:pt x="14000" y="948"/>
                  </a:lnTo>
                  <a:lnTo>
                    <a:pt x="14432" y="1163"/>
                  </a:lnTo>
                  <a:lnTo>
                    <a:pt x="14853" y="1398"/>
                  </a:lnTo>
                  <a:lnTo>
                    <a:pt x="15262" y="1653"/>
                  </a:lnTo>
                  <a:lnTo>
                    <a:pt x="15658" y="1927"/>
                  </a:lnTo>
                  <a:lnTo>
                    <a:pt x="16041" y="2220"/>
                  </a:lnTo>
                  <a:lnTo>
                    <a:pt x="16410" y="2531"/>
                  </a:lnTo>
                  <a:lnTo>
                    <a:pt x="16764" y="2859"/>
                  </a:lnTo>
                  <a:lnTo>
                    <a:pt x="17102" y="3206"/>
                  </a:lnTo>
                  <a:lnTo>
                    <a:pt x="17424" y="3568"/>
                  </a:lnTo>
                  <a:lnTo>
                    <a:pt x="17729" y="3947"/>
                  </a:lnTo>
                  <a:lnTo>
                    <a:pt x="18017" y="4342"/>
                  </a:lnTo>
                  <a:lnTo>
                    <a:pt x="18285" y="4752"/>
                  </a:lnTo>
                  <a:lnTo>
                    <a:pt x="18535" y="5177"/>
                  </a:lnTo>
                  <a:lnTo>
                    <a:pt x="18764" y="5616"/>
                  </a:lnTo>
                  <a:lnTo>
                    <a:pt x="18972" y="6070"/>
                  </a:lnTo>
                  <a:lnTo>
                    <a:pt x="19158" y="6535"/>
                  </a:lnTo>
                  <a:lnTo>
                    <a:pt x="19323" y="7015"/>
                  </a:lnTo>
                  <a:lnTo>
                    <a:pt x="19464" y="7505"/>
                  </a:lnTo>
                  <a:lnTo>
                    <a:pt x="19526" y="7755"/>
                  </a:lnTo>
                  <a:lnTo>
                    <a:pt x="19581" y="8006"/>
                  </a:lnTo>
                  <a:cubicBezTo>
                    <a:pt x="19587" y="8031"/>
                    <a:pt x="19582" y="8057"/>
                    <a:pt x="19568" y="8079"/>
                  </a:cubicBezTo>
                  <a:cubicBezTo>
                    <a:pt x="19554" y="8100"/>
                    <a:pt x="19532" y="8115"/>
                    <a:pt x="19507" y="8120"/>
                  </a:cubicBezTo>
                  <a:lnTo>
                    <a:pt x="9769" y="10139"/>
                  </a:lnTo>
                  <a:cubicBezTo>
                    <a:pt x="9755" y="10142"/>
                    <a:pt x="9740" y="10142"/>
                    <a:pt x="9726" y="10139"/>
                  </a:cubicBezTo>
                  <a:lnTo>
                    <a:pt x="76" y="7733"/>
                  </a:lnTo>
                  <a:close/>
                </a:path>
              </a:pathLst>
            </a:custGeom>
            <a:solidFill>
              <a:schemeClr val="tx2">
                <a:lumMod val="60000"/>
                <a:lumOff val="40000"/>
              </a:schemeClr>
            </a:solidFill>
            <a:ln w="1588" cap="flat">
              <a:solidFill>
                <a:schemeClr val="tx2"/>
              </a:solidFill>
              <a:prstDash val="solid"/>
              <a:bevel/>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15" name="Group 14"/>
            <p:cNvGrpSpPr/>
            <p:nvPr/>
          </p:nvGrpSpPr>
          <p:grpSpPr>
            <a:xfrm>
              <a:off x="2551294" y="2635251"/>
              <a:ext cx="3720738" cy="3149600"/>
              <a:chOff x="2643188" y="2713038"/>
              <a:chExt cx="3536950" cy="2994025"/>
            </a:xfrm>
          </p:grpSpPr>
          <p:grpSp>
            <p:nvGrpSpPr>
              <p:cNvPr id="16" name="Group 15"/>
              <p:cNvGrpSpPr/>
              <p:nvPr/>
            </p:nvGrpSpPr>
            <p:grpSpPr>
              <a:xfrm>
                <a:off x="2643188" y="2713038"/>
                <a:ext cx="3536950" cy="2354263"/>
                <a:chOff x="2643188" y="2713038"/>
                <a:chExt cx="3536950" cy="2354263"/>
              </a:xfrm>
              <a:solidFill>
                <a:schemeClr val="tx2"/>
              </a:solidFill>
            </p:grpSpPr>
            <p:sp>
              <p:nvSpPr>
                <p:cNvPr id="20" name="Freeform 18"/>
                <p:cNvSpPr>
                  <a:spLocks/>
                </p:cNvSpPr>
                <p:nvPr/>
              </p:nvSpPr>
              <p:spPr bwMode="auto">
                <a:xfrm>
                  <a:off x="2643188" y="3775076"/>
                  <a:ext cx="1655763" cy="1292225"/>
                </a:xfrm>
                <a:custGeom>
                  <a:avLst/>
                  <a:gdLst>
                    <a:gd name="T0" fmla="*/ 17384 w 17384"/>
                    <a:gd name="T1" fmla="*/ 8490 h 13580"/>
                    <a:gd name="T2" fmla="*/ 2971 w 17384"/>
                    <a:gd name="T3" fmla="*/ 0 h 13580"/>
                    <a:gd name="T4" fmla="*/ 1449 w 17384"/>
                    <a:gd name="T5" fmla="*/ 13580 h 13580"/>
                    <a:gd name="T6" fmla="*/ 17384 w 17384"/>
                    <a:gd name="T7" fmla="*/ 8490 h 13580"/>
                  </a:gdLst>
                  <a:ahLst/>
                  <a:cxnLst>
                    <a:cxn ang="0">
                      <a:pos x="T0" y="T1"/>
                    </a:cxn>
                    <a:cxn ang="0">
                      <a:pos x="T2" y="T3"/>
                    </a:cxn>
                    <a:cxn ang="0">
                      <a:pos x="T4" y="T5"/>
                    </a:cxn>
                    <a:cxn ang="0">
                      <a:pos x="T6" y="T7"/>
                    </a:cxn>
                  </a:cxnLst>
                  <a:rect l="0" t="0" r="r" b="b"/>
                  <a:pathLst>
                    <a:path w="17384" h="13580">
                      <a:moveTo>
                        <a:pt x="17384" y="8490"/>
                      </a:moveTo>
                      <a:lnTo>
                        <a:pt x="2971" y="0"/>
                      </a:lnTo>
                      <a:cubicBezTo>
                        <a:pt x="553" y="4104"/>
                        <a:pt x="0" y="9043"/>
                        <a:pt x="1449" y="13580"/>
                      </a:cubicBezTo>
                      <a:lnTo>
                        <a:pt x="17384" y="8490"/>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 name="Freeform 20"/>
                <p:cNvSpPr>
                  <a:spLocks/>
                </p:cNvSpPr>
                <p:nvPr/>
              </p:nvSpPr>
              <p:spPr bwMode="auto">
                <a:xfrm>
                  <a:off x="3009901" y="2713038"/>
                  <a:ext cx="1941513" cy="1765300"/>
                </a:xfrm>
                <a:custGeom>
                  <a:avLst/>
                  <a:gdLst>
                    <a:gd name="T0" fmla="*/ 7206 w 10184"/>
                    <a:gd name="T1" fmla="*/ 9268 h 9268"/>
                    <a:gd name="T2" fmla="*/ 10184 w 10184"/>
                    <a:gd name="T3" fmla="*/ 1452 h 9268"/>
                    <a:gd name="T4" fmla="*/ 0 w 10184"/>
                    <a:gd name="T5" fmla="*/ 5023 h 9268"/>
                    <a:gd name="T6" fmla="*/ 7206 w 10184"/>
                    <a:gd name="T7" fmla="*/ 9268 h 9268"/>
                  </a:gdLst>
                  <a:ahLst/>
                  <a:cxnLst>
                    <a:cxn ang="0">
                      <a:pos x="T0" y="T1"/>
                    </a:cxn>
                    <a:cxn ang="0">
                      <a:pos x="T2" y="T3"/>
                    </a:cxn>
                    <a:cxn ang="0">
                      <a:pos x="T4" y="T5"/>
                    </a:cxn>
                    <a:cxn ang="0">
                      <a:pos x="T6" y="T7"/>
                    </a:cxn>
                  </a:cxnLst>
                  <a:rect l="0" t="0" r="r" b="b"/>
                  <a:pathLst>
                    <a:path w="10184" h="9268">
                      <a:moveTo>
                        <a:pt x="7206" y="9268"/>
                      </a:moveTo>
                      <a:lnTo>
                        <a:pt x="10184" y="1452"/>
                      </a:lnTo>
                      <a:cubicBezTo>
                        <a:pt x="6373" y="0"/>
                        <a:pt x="2070" y="1509"/>
                        <a:pt x="0" y="5023"/>
                      </a:cubicBezTo>
                      <a:lnTo>
                        <a:pt x="7206" y="9268"/>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Freeform 22"/>
                <p:cNvSpPr>
                  <a:spLocks/>
                </p:cNvSpPr>
                <p:nvPr/>
              </p:nvSpPr>
              <p:spPr bwMode="auto">
                <a:xfrm>
                  <a:off x="4508501" y="3013076"/>
                  <a:ext cx="1373188" cy="1487488"/>
                </a:xfrm>
                <a:custGeom>
                  <a:avLst/>
                  <a:gdLst>
                    <a:gd name="T0" fmla="*/ 0 w 7202"/>
                    <a:gd name="T1" fmla="*/ 7816 h 7816"/>
                    <a:gd name="T2" fmla="*/ 7202 w 7202"/>
                    <a:gd name="T3" fmla="*/ 3562 h 7816"/>
                    <a:gd name="T4" fmla="*/ 2978 w 7202"/>
                    <a:gd name="T5" fmla="*/ 0 h 7816"/>
                    <a:gd name="T6" fmla="*/ 0 w 7202"/>
                    <a:gd name="T7" fmla="*/ 7816 h 7816"/>
                  </a:gdLst>
                  <a:ahLst/>
                  <a:cxnLst>
                    <a:cxn ang="0">
                      <a:pos x="T0" y="T1"/>
                    </a:cxn>
                    <a:cxn ang="0">
                      <a:pos x="T2" y="T3"/>
                    </a:cxn>
                    <a:cxn ang="0">
                      <a:pos x="T4" y="T5"/>
                    </a:cxn>
                    <a:cxn ang="0">
                      <a:pos x="T6" y="T7"/>
                    </a:cxn>
                  </a:cxnLst>
                  <a:rect l="0" t="0" r="r" b="b"/>
                  <a:pathLst>
                    <a:path w="7202" h="7816">
                      <a:moveTo>
                        <a:pt x="0" y="7816"/>
                      </a:moveTo>
                      <a:lnTo>
                        <a:pt x="7202" y="3562"/>
                      </a:lnTo>
                      <a:cubicBezTo>
                        <a:pt x="6238" y="1931"/>
                        <a:pt x="4749" y="675"/>
                        <a:pt x="2978" y="0"/>
                      </a:cubicBezTo>
                      <a:lnTo>
                        <a:pt x="0" y="7816"/>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 name="Freeform 24"/>
                <p:cNvSpPr>
                  <a:spLocks/>
                </p:cNvSpPr>
                <p:nvPr/>
              </p:nvSpPr>
              <p:spPr bwMode="auto">
                <a:xfrm>
                  <a:off x="4551363" y="3763963"/>
                  <a:ext cx="1628775" cy="1030288"/>
                </a:xfrm>
                <a:custGeom>
                  <a:avLst/>
                  <a:gdLst>
                    <a:gd name="T0" fmla="*/ 0 w 8547"/>
                    <a:gd name="T1" fmla="*/ 4254 h 5418"/>
                    <a:gd name="T2" fmla="*/ 8283 w 8547"/>
                    <a:gd name="T3" fmla="*/ 5418 h 5418"/>
                    <a:gd name="T4" fmla="*/ 7202 w 8547"/>
                    <a:gd name="T5" fmla="*/ 0 h 5418"/>
                    <a:gd name="T6" fmla="*/ 0 w 8547"/>
                    <a:gd name="T7" fmla="*/ 4254 h 5418"/>
                  </a:gdLst>
                  <a:ahLst/>
                  <a:cxnLst>
                    <a:cxn ang="0">
                      <a:pos x="T0" y="T1"/>
                    </a:cxn>
                    <a:cxn ang="0">
                      <a:pos x="T2" y="T3"/>
                    </a:cxn>
                    <a:cxn ang="0">
                      <a:pos x="T4" y="T5"/>
                    </a:cxn>
                    <a:cxn ang="0">
                      <a:pos x="T6" y="T7"/>
                    </a:cxn>
                  </a:cxnLst>
                  <a:rect l="0" t="0" r="r" b="b"/>
                  <a:pathLst>
                    <a:path w="8547" h="5418">
                      <a:moveTo>
                        <a:pt x="0" y="4254"/>
                      </a:moveTo>
                      <a:lnTo>
                        <a:pt x="8283" y="5418"/>
                      </a:lnTo>
                      <a:cubicBezTo>
                        <a:pt x="8547" y="3542"/>
                        <a:pt x="8165" y="1631"/>
                        <a:pt x="7202" y="0"/>
                      </a:cubicBezTo>
                      <a:lnTo>
                        <a:pt x="0" y="4254"/>
                      </a:lnTo>
                      <a:close/>
                    </a:path>
                  </a:pathLst>
                </a:custGeom>
                <a:grp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7" name="Freeform 16"/>
              <p:cNvSpPr>
                <a:spLocks/>
              </p:cNvSpPr>
              <p:nvPr/>
            </p:nvSpPr>
            <p:spPr bwMode="auto">
              <a:xfrm>
                <a:off x="3490913" y="3576638"/>
                <a:ext cx="1863725" cy="1041400"/>
              </a:xfrm>
              <a:custGeom>
                <a:avLst/>
                <a:gdLst>
                  <a:gd name="T0" fmla="*/ 9650 w 19388"/>
                  <a:gd name="T1" fmla="*/ 10853 h 10853"/>
                  <a:gd name="T2" fmla="*/ 19388 w 19388"/>
                  <a:gd name="T3" fmla="*/ 8834 h 10853"/>
                  <a:gd name="T4" fmla="*/ 7631 w 19388"/>
                  <a:gd name="T5" fmla="*/ 1115 h 10853"/>
                  <a:gd name="T6" fmla="*/ 0 w 19388"/>
                  <a:gd name="T7" fmla="*/ 8447 h 10853"/>
                  <a:gd name="T8" fmla="*/ 9650 w 19388"/>
                  <a:gd name="T9" fmla="*/ 10853 h 10853"/>
                </a:gdLst>
                <a:ahLst/>
                <a:cxnLst>
                  <a:cxn ang="0">
                    <a:pos x="T0" y="T1"/>
                  </a:cxn>
                  <a:cxn ang="0">
                    <a:pos x="T2" y="T3"/>
                  </a:cxn>
                  <a:cxn ang="0">
                    <a:pos x="T4" y="T5"/>
                  </a:cxn>
                  <a:cxn ang="0">
                    <a:pos x="T6" y="T7"/>
                  </a:cxn>
                  <a:cxn ang="0">
                    <a:pos x="T8" y="T9"/>
                  </a:cxn>
                </a:cxnLst>
                <a:rect l="0" t="0" r="r" b="b"/>
                <a:pathLst>
                  <a:path w="19388" h="10853">
                    <a:moveTo>
                      <a:pt x="9650" y="10853"/>
                    </a:moveTo>
                    <a:lnTo>
                      <a:pt x="19388" y="8834"/>
                    </a:lnTo>
                    <a:cubicBezTo>
                      <a:pt x="18273" y="3456"/>
                      <a:pt x="13009" y="0"/>
                      <a:pt x="7631" y="1115"/>
                    </a:cubicBezTo>
                    <a:cubicBezTo>
                      <a:pt x="3890" y="1891"/>
                      <a:pt x="925" y="4740"/>
                      <a:pt x="0" y="8447"/>
                    </a:cubicBezTo>
                    <a:lnTo>
                      <a:pt x="9650" y="10853"/>
                    </a:lnTo>
                    <a:close/>
                  </a:path>
                </a:pathLst>
              </a:custGeom>
              <a:solidFill>
                <a:schemeClr val="tx2"/>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 name="Freeform 17"/>
              <p:cNvSpPr>
                <a:spLocks/>
              </p:cNvSpPr>
              <p:nvPr/>
            </p:nvSpPr>
            <p:spPr bwMode="auto">
              <a:xfrm>
                <a:off x="3581400" y="4618038"/>
                <a:ext cx="1655762" cy="1089025"/>
              </a:xfrm>
              <a:custGeom>
                <a:avLst/>
                <a:gdLst>
                  <a:gd name="T0" fmla="*/ 8710 w 17222"/>
                  <a:gd name="T1" fmla="*/ 0 h 11361"/>
                  <a:gd name="T2" fmla="*/ 0 w 17222"/>
                  <a:gd name="T3" fmla="*/ 4800 h 11361"/>
                  <a:gd name="T4" fmla="*/ 13510 w 17222"/>
                  <a:gd name="T5" fmla="*/ 8710 h 11361"/>
                  <a:gd name="T6" fmla="*/ 17222 w 17222"/>
                  <a:gd name="T7" fmla="*/ 5143 h 11361"/>
                  <a:gd name="T8" fmla="*/ 8710 w 17222"/>
                  <a:gd name="T9" fmla="*/ 0 h 11361"/>
                </a:gdLst>
                <a:ahLst/>
                <a:cxnLst>
                  <a:cxn ang="0">
                    <a:pos x="T0" y="T1"/>
                  </a:cxn>
                  <a:cxn ang="0">
                    <a:pos x="T2" y="T3"/>
                  </a:cxn>
                  <a:cxn ang="0">
                    <a:pos x="T4" y="T5"/>
                  </a:cxn>
                  <a:cxn ang="0">
                    <a:pos x="T6" y="T7"/>
                  </a:cxn>
                  <a:cxn ang="0">
                    <a:pos x="T8" y="T9"/>
                  </a:cxn>
                </a:cxnLst>
                <a:rect l="0" t="0" r="r" b="b"/>
                <a:pathLst>
                  <a:path w="17222" h="11361">
                    <a:moveTo>
                      <a:pt x="8710" y="0"/>
                    </a:moveTo>
                    <a:lnTo>
                      <a:pt x="0" y="4800"/>
                    </a:lnTo>
                    <a:cubicBezTo>
                      <a:pt x="2651" y="9610"/>
                      <a:pt x="8699" y="11361"/>
                      <a:pt x="13510" y="8710"/>
                    </a:cubicBezTo>
                    <a:cubicBezTo>
                      <a:pt x="15039" y="7867"/>
                      <a:pt x="16319" y="6637"/>
                      <a:pt x="17222" y="5143"/>
                    </a:cubicBezTo>
                    <a:lnTo>
                      <a:pt x="8710" y="0"/>
                    </a:lnTo>
                    <a:close/>
                  </a:path>
                </a:pathLst>
              </a:custGeom>
              <a:solidFill>
                <a:schemeClr val="tx2"/>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 name="Oval 18"/>
              <p:cNvSpPr/>
              <p:nvPr/>
            </p:nvSpPr>
            <p:spPr>
              <a:xfrm rot="162326">
                <a:off x="4008440" y="4193169"/>
                <a:ext cx="828672" cy="828672"/>
              </a:xfrm>
              <a:prstGeom prst="ellipse">
                <a:avLst/>
              </a:prstGeom>
              <a:solidFill>
                <a:schemeClr val="tx2">
                  <a:lumMod val="50000"/>
                </a:schemeClr>
              </a:solidFill>
              <a:ln>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34" name="TextBox 33"/>
          <p:cNvSpPr txBox="1"/>
          <p:nvPr/>
        </p:nvSpPr>
        <p:spPr>
          <a:xfrm>
            <a:off x="3903017" y="5435201"/>
            <a:ext cx="838322" cy="246221"/>
          </a:xfrm>
          <a:prstGeom prst="rect">
            <a:avLst/>
          </a:prstGeom>
        </p:spPr>
        <p:txBody>
          <a:bodyPr wrap="square" lIns="0" tIns="0" rIns="0" bIns="0" rtlCol="0">
            <a:spAutoFit/>
          </a:bodyPr>
          <a:lstStyle/>
          <a:p>
            <a:pPr marL="0" indent="0" algn="ctr">
              <a:lnSpc>
                <a:spcPct val="100000"/>
              </a:lnSpc>
              <a:spcBef>
                <a:spcPts val="2200"/>
              </a:spcBef>
              <a:buClr>
                <a:schemeClr val="accent3"/>
              </a:buClr>
              <a:buSzPct val="150000"/>
              <a:buFontTx/>
              <a:buNone/>
            </a:pPr>
            <a:r>
              <a:rPr lang="en-IN" sz="1600" dirty="0">
                <a:solidFill>
                  <a:schemeClr val="tx1">
                    <a:lumMod val="100000"/>
                  </a:schemeClr>
                </a:solidFill>
              </a:rPr>
              <a:t>Events</a:t>
            </a:r>
            <a:endParaRPr lang="en-US" sz="1600" dirty="0">
              <a:solidFill>
                <a:schemeClr val="tx1">
                  <a:lumMod val="100000"/>
                </a:schemeClr>
              </a:solidFill>
            </a:endParaRPr>
          </a:p>
        </p:txBody>
      </p:sp>
      <p:sp>
        <p:nvSpPr>
          <p:cNvPr id="35" name="TextBox 34"/>
          <p:cNvSpPr txBox="1"/>
          <p:nvPr/>
        </p:nvSpPr>
        <p:spPr>
          <a:xfrm rot="16592696">
            <a:off x="1822051" y="4119086"/>
            <a:ext cx="1050578" cy="492443"/>
          </a:xfrm>
          <a:prstGeom prst="rect">
            <a:avLst/>
          </a:prstGeom>
        </p:spPr>
        <p:txBody>
          <a:bodyPr wrap="square" lIns="0" tIns="0" rIns="0" bIns="0" rtlCol="0">
            <a:spAutoFit/>
          </a:bodyPr>
          <a:lstStyle/>
          <a:p>
            <a:pPr marL="0" indent="0" algn="ctr">
              <a:lnSpc>
                <a:spcPct val="100000"/>
              </a:lnSpc>
              <a:spcBef>
                <a:spcPts val="2200"/>
              </a:spcBef>
              <a:buClr>
                <a:schemeClr val="accent3"/>
              </a:buClr>
              <a:buSzPct val="150000"/>
              <a:buFontTx/>
              <a:buNone/>
            </a:pPr>
            <a:r>
              <a:rPr lang="en-IN" sz="1600" dirty="0">
                <a:solidFill>
                  <a:schemeClr val="tx1">
                    <a:lumMod val="100000"/>
                  </a:schemeClr>
                </a:solidFill>
              </a:rPr>
              <a:t>City</a:t>
            </a:r>
            <a:br>
              <a:rPr lang="en-IN" sz="1600" dirty="0">
                <a:solidFill>
                  <a:schemeClr val="tx1">
                    <a:lumMod val="100000"/>
                  </a:schemeClr>
                </a:solidFill>
              </a:rPr>
            </a:br>
            <a:r>
              <a:rPr lang="en-IN" sz="1600" dirty="0">
                <a:solidFill>
                  <a:schemeClr val="tx1">
                    <a:lumMod val="100000"/>
                  </a:schemeClr>
                </a:solidFill>
              </a:rPr>
              <a:t>Services</a:t>
            </a:r>
            <a:endParaRPr lang="en-US" sz="1600" dirty="0">
              <a:solidFill>
                <a:schemeClr val="tx1">
                  <a:lumMod val="100000"/>
                </a:schemeClr>
              </a:solidFill>
            </a:endParaRPr>
          </a:p>
        </p:txBody>
      </p:sp>
      <p:sp>
        <p:nvSpPr>
          <p:cNvPr id="36" name="TextBox 35"/>
          <p:cNvSpPr txBox="1"/>
          <p:nvPr/>
        </p:nvSpPr>
        <p:spPr>
          <a:xfrm rot="20108777">
            <a:off x="3050552" y="2521217"/>
            <a:ext cx="1050578" cy="492443"/>
          </a:xfrm>
          <a:prstGeom prst="rect">
            <a:avLst/>
          </a:prstGeom>
        </p:spPr>
        <p:txBody>
          <a:bodyPr wrap="square" lIns="0" tIns="0" rIns="0" bIns="0" rtlCol="0">
            <a:spAutoFit/>
          </a:bodyPr>
          <a:lstStyle/>
          <a:p>
            <a:pPr marL="0" indent="0" algn="ctr">
              <a:lnSpc>
                <a:spcPct val="100000"/>
              </a:lnSpc>
              <a:spcBef>
                <a:spcPts val="2200"/>
              </a:spcBef>
              <a:buClr>
                <a:schemeClr val="accent3"/>
              </a:buClr>
              <a:buSzPct val="150000"/>
              <a:buFontTx/>
              <a:buNone/>
            </a:pPr>
            <a:r>
              <a:rPr lang="en-IN" sz="1600" dirty="0">
                <a:solidFill>
                  <a:schemeClr val="tx1">
                    <a:lumMod val="100000"/>
                  </a:schemeClr>
                </a:solidFill>
              </a:rPr>
              <a:t>Areas of Interest</a:t>
            </a:r>
            <a:endParaRPr lang="en-US" sz="1600" dirty="0">
              <a:solidFill>
                <a:schemeClr val="tx1">
                  <a:lumMod val="100000"/>
                </a:schemeClr>
              </a:solidFill>
            </a:endParaRPr>
          </a:p>
        </p:txBody>
      </p:sp>
      <p:sp>
        <p:nvSpPr>
          <p:cNvPr id="37" name="TextBox 36"/>
          <p:cNvSpPr txBox="1"/>
          <p:nvPr/>
        </p:nvSpPr>
        <p:spPr>
          <a:xfrm rot="2391252">
            <a:off x="5094422" y="2829297"/>
            <a:ext cx="1050578" cy="492443"/>
          </a:xfrm>
          <a:prstGeom prst="rect">
            <a:avLst/>
          </a:prstGeom>
        </p:spPr>
        <p:txBody>
          <a:bodyPr wrap="square" lIns="0" tIns="0" rIns="0" bIns="0" rtlCol="0">
            <a:spAutoFit/>
          </a:bodyPr>
          <a:lstStyle/>
          <a:p>
            <a:pPr marL="0" indent="0" algn="ctr">
              <a:lnSpc>
                <a:spcPct val="100000"/>
              </a:lnSpc>
              <a:spcBef>
                <a:spcPts val="2200"/>
              </a:spcBef>
              <a:buClr>
                <a:schemeClr val="accent3"/>
              </a:buClr>
              <a:buSzPct val="150000"/>
              <a:buFontTx/>
              <a:buNone/>
            </a:pPr>
            <a:r>
              <a:rPr lang="en-IN" sz="1600" dirty="0">
                <a:solidFill>
                  <a:schemeClr val="tx1">
                    <a:lumMod val="100000"/>
                  </a:schemeClr>
                </a:solidFill>
              </a:rPr>
              <a:t>City Objects</a:t>
            </a:r>
            <a:endParaRPr lang="en-US" sz="1600" dirty="0">
              <a:solidFill>
                <a:schemeClr val="tx1">
                  <a:lumMod val="100000"/>
                </a:schemeClr>
              </a:solidFill>
            </a:endParaRPr>
          </a:p>
        </p:txBody>
      </p:sp>
      <p:sp>
        <p:nvSpPr>
          <p:cNvPr id="38" name="TextBox 37"/>
          <p:cNvSpPr txBox="1"/>
          <p:nvPr/>
        </p:nvSpPr>
        <p:spPr>
          <a:xfrm rot="4710210">
            <a:off x="5736308" y="4051517"/>
            <a:ext cx="1050578" cy="246221"/>
          </a:xfrm>
          <a:prstGeom prst="rect">
            <a:avLst/>
          </a:prstGeom>
        </p:spPr>
        <p:txBody>
          <a:bodyPr wrap="square" lIns="0" tIns="0" rIns="0" bIns="0" rtlCol="0">
            <a:spAutoFit/>
          </a:bodyPr>
          <a:lstStyle/>
          <a:p>
            <a:pPr marL="0" indent="0" algn="ctr">
              <a:lnSpc>
                <a:spcPct val="100000"/>
              </a:lnSpc>
              <a:spcBef>
                <a:spcPts val="2200"/>
              </a:spcBef>
              <a:buClr>
                <a:schemeClr val="accent3"/>
              </a:buClr>
              <a:buSzPct val="150000"/>
              <a:buFontTx/>
              <a:buNone/>
            </a:pPr>
            <a:r>
              <a:rPr lang="en-IN" sz="1600" dirty="0">
                <a:solidFill>
                  <a:schemeClr val="tx1">
                    <a:lumMod val="100000"/>
                  </a:schemeClr>
                </a:solidFill>
              </a:rPr>
              <a:t>KPIs</a:t>
            </a:r>
            <a:endParaRPr lang="en-US" sz="1600" dirty="0">
              <a:solidFill>
                <a:schemeClr val="tx1">
                  <a:lumMod val="100000"/>
                </a:schemeClr>
              </a:solidFill>
            </a:endParaRPr>
          </a:p>
        </p:txBody>
      </p:sp>
      <p:sp>
        <p:nvSpPr>
          <p:cNvPr id="39" name="TextBox 38"/>
          <p:cNvSpPr txBox="1"/>
          <p:nvPr/>
        </p:nvSpPr>
        <p:spPr>
          <a:xfrm>
            <a:off x="3903017" y="4464735"/>
            <a:ext cx="838322" cy="246221"/>
          </a:xfrm>
          <a:prstGeom prst="rect">
            <a:avLst/>
          </a:prstGeom>
        </p:spPr>
        <p:txBody>
          <a:bodyPr wrap="square" lIns="0" tIns="0" rIns="0" bIns="0" rtlCol="0">
            <a:spAutoFit/>
          </a:bodyPr>
          <a:lstStyle/>
          <a:p>
            <a:pPr marL="0" indent="0" algn="ctr">
              <a:lnSpc>
                <a:spcPct val="100000"/>
              </a:lnSpc>
              <a:spcBef>
                <a:spcPts val="2200"/>
              </a:spcBef>
              <a:buClr>
                <a:schemeClr val="accent3"/>
              </a:buClr>
              <a:buSzPct val="150000"/>
              <a:buFontTx/>
              <a:buNone/>
            </a:pPr>
            <a:r>
              <a:rPr lang="en-IN" sz="1600" dirty="0">
                <a:solidFill>
                  <a:schemeClr val="bg1"/>
                </a:solidFill>
              </a:rPr>
              <a:t>SAREF</a:t>
            </a:r>
            <a:endParaRPr lang="en-US" sz="1600" dirty="0">
              <a:solidFill>
                <a:schemeClr val="bg1"/>
              </a:solidFill>
            </a:endParaRPr>
          </a:p>
        </p:txBody>
      </p:sp>
      <p:sp>
        <p:nvSpPr>
          <p:cNvPr id="40" name="TextBox 39"/>
          <p:cNvSpPr txBox="1"/>
          <p:nvPr/>
        </p:nvSpPr>
        <p:spPr>
          <a:xfrm>
            <a:off x="3516172" y="3485840"/>
            <a:ext cx="1640322" cy="492443"/>
          </a:xfrm>
          <a:prstGeom prst="rect">
            <a:avLst/>
          </a:prstGeom>
        </p:spPr>
        <p:txBody>
          <a:bodyPr wrap="square" lIns="0" tIns="0" rIns="0" bIns="0" rtlCol="0">
            <a:spAutoFit/>
          </a:bodyPr>
          <a:lstStyle/>
          <a:p>
            <a:pPr marL="0" indent="0" algn="ctr">
              <a:lnSpc>
                <a:spcPct val="100000"/>
              </a:lnSpc>
              <a:spcBef>
                <a:spcPts val="2200"/>
              </a:spcBef>
              <a:buClr>
                <a:schemeClr val="accent3"/>
              </a:buClr>
              <a:buSzPct val="150000"/>
              <a:buFontTx/>
              <a:buNone/>
            </a:pPr>
            <a:r>
              <a:rPr lang="en-IN" sz="1600" dirty="0">
                <a:solidFill>
                  <a:schemeClr val="tx1">
                    <a:lumMod val="100000"/>
                  </a:schemeClr>
                </a:solidFill>
              </a:rPr>
              <a:t>Topology and Geometry</a:t>
            </a:r>
            <a:endParaRPr lang="en-US" sz="1600" dirty="0">
              <a:solidFill>
                <a:schemeClr val="tx1">
                  <a:lumMod val="100000"/>
                </a:schemeClr>
              </a:solidFill>
            </a:endParaRPr>
          </a:p>
        </p:txBody>
      </p:sp>
      <p:sp>
        <p:nvSpPr>
          <p:cNvPr id="41" name="TextBox 40"/>
          <p:cNvSpPr txBox="1"/>
          <p:nvPr/>
        </p:nvSpPr>
        <p:spPr>
          <a:xfrm rot="10453573">
            <a:off x="1021908" y="4772905"/>
            <a:ext cx="713651" cy="276999"/>
          </a:xfrm>
          <a:prstGeom prst="rect">
            <a:avLst/>
          </a:prstGeom>
        </p:spPr>
        <p:txBody>
          <a:bodyPr wrap="square" lIns="0" tIns="0" rIns="0" bIns="0" rtlCol="0">
            <a:spAutoFit/>
          </a:bodyPr>
          <a:lstStyle/>
          <a:p>
            <a:pPr marL="0" indent="0" algn="ctr">
              <a:lnSpc>
                <a:spcPct val="100000"/>
              </a:lnSpc>
              <a:spcBef>
                <a:spcPts val="2200"/>
              </a:spcBef>
              <a:buClr>
                <a:schemeClr val="accent3"/>
              </a:buClr>
              <a:buSzPct val="150000"/>
              <a:buFontTx/>
              <a:buNone/>
            </a:pPr>
            <a:r>
              <a:rPr lang="en-IN" sz="900" dirty="0">
                <a:solidFill>
                  <a:schemeClr val="tx1">
                    <a:lumMod val="100000"/>
                  </a:schemeClr>
                </a:solidFill>
              </a:rPr>
              <a:t>Comm. </a:t>
            </a:r>
            <a:br>
              <a:rPr lang="en-IN" sz="900" dirty="0">
                <a:solidFill>
                  <a:schemeClr val="tx1">
                    <a:lumMod val="100000"/>
                  </a:schemeClr>
                </a:solidFill>
              </a:rPr>
            </a:br>
            <a:r>
              <a:rPr lang="en-IN" sz="900" dirty="0">
                <a:solidFill>
                  <a:schemeClr val="tx1">
                    <a:lumMod val="100000"/>
                  </a:schemeClr>
                </a:solidFill>
              </a:rPr>
              <a:t>Premises</a:t>
            </a:r>
            <a:endParaRPr lang="en-US" sz="900" dirty="0">
              <a:solidFill>
                <a:schemeClr val="tx1">
                  <a:lumMod val="100000"/>
                </a:schemeClr>
              </a:solidFill>
            </a:endParaRPr>
          </a:p>
        </p:txBody>
      </p:sp>
      <p:sp>
        <p:nvSpPr>
          <p:cNvPr id="42" name="TextBox 41"/>
          <p:cNvSpPr txBox="1"/>
          <p:nvPr/>
        </p:nvSpPr>
        <p:spPr>
          <a:xfrm rot="11265147">
            <a:off x="993613" y="4150528"/>
            <a:ext cx="713651" cy="138499"/>
          </a:xfrm>
          <a:prstGeom prst="rect">
            <a:avLst/>
          </a:prstGeom>
        </p:spPr>
        <p:txBody>
          <a:bodyPr wrap="square" lIns="0" tIns="0" rIns="0" bIns="0" rtlCol="0">
            <a:spAutoFit/>
          </a:bodyPr>
          <a:lstStyle/>
          <a:p>
            <a:pPr marL="0" indent="0">
              <a:lnSpc>
                <a:spcPct val="100000"/>
              </a:lnSpc>
              <a:spcBef>
                <a:spcPts val="2200"/>
              </a:spcBef>
              <a:buClr>
                <a:schemeClr val="accent3"/>
              </a:buClr>
              <a:buSzPct val="150000"/>
              <a:buFontTx/>
              <a:buNone/>
            </a:pPr>
            <a:r>
              <a:rPr lang="en-IN" sz="900" dirty="0">
                <a:solidFill>
                  <a:schemeClr val="tx1">
                    <a:lumMod val="100000"/>
                  </a:schemeClr>
                </a:solidFill>
              </a:rPr>
              <a:t>Facilities</a:t>
            </a:r>
            <a:endParaRPr lang="en-US" sz="900" dirty="0">
              <a:solidFill>
                <a:schemeClr val="tx1">
                  <a:lumMod val="100000"/>
                </a:schemeClr>
              </a:solidFill>
            </a:endParaRPr>
          </a:p>
        </p:txBody>
      </p:sp>
      <p:sp>
        <p:nvSpPr>
          <p:cNvPr id="43" name="TextBox 42"/>
          <p:cNvSpPr txBox="1"/>
          <p:nvPr/>
        </p:nvSpPr>
        <p:spPr>
          <a:xfrm rot="12072654">
            <a:off x="1058179" y="3476276"/>
            <a:ext cx="713651" cy="138499"/>
          </a:xfrm>
          <a:prstGeom prst="rect">
            <a:avLst/>
          </a:prstGeom>
        </p:spPr>
        <p:txBody>
          <a:bodyPr wrap="square" lIns="0" tIns="0" rIns="0" bIns="0" rtlCol="0">
            <a:spAutoFit/>
          </a:bodyPr>
          <a:lstStyle/>
          <a:p>
            <a:pPr marL="0" indent="0">
              <a:lnSpc>
                <a:spcPct val="100000"/>
              </a:lnSpc>
              <a:spcBef>
                <a:spcPts val="2200"/>
              </a:spcBef>
              <a:buClr>
                <a:schemeClr val="accent3"/>
              </a:buClr>
              <a:buSzPct val="150000"/>
              <a:buFontTx/>
              <a:buNone/>
            </a:pPr>
            <a:r>
              <a:rPr lang="en-IN" sz="900" dirty="0">
                <a:solidFill>
                  <a:schemeClr val="tx1">
                    <a:lumMod val="100000"/>
                  </a:schemeClr>
                </a:solidFill>
              </a:rPr>
              <a:t>Parking</a:t>
            </a:r>
            <a:endParaRPr lang="en-US" sz="900" dirty="0">
              <a:solidFill>
                <a:schemeClr val="tx1">
                  <a:lumMod val="100000"/>
                </a:schemeClr>
              </a:solidFill>
            </a:endParaRPr>
          </a:p>
        </p:txBody>
      </p:sp>
      <p:sp>
        <p:nvSpPr>
          <p:cNvPr id="44" name="TextBox 43"/>
          <p:cNvSpPr txBox="1"/>
          <p:nvPr/>
        </p:nvSpPr>
        <p:spPr>
          <a:xfrm rot="13297128">
            <a:off x="1689248" y="2472445"/>
            <a:ext cx="713651" cy="138499"/>
          </a:xfrm>
          <a:prstGeom prst="rect">
            <a:avLst/>
          </a:prstGeom>
        </p:spPr>
        <p:txBody>
          <a:bodyPr wrap="square" lIns="0" tIns="0" rIns="0" bIns="0" rtlCol="0">
            <a:spAutoFit/>
          </a:bodyPr>
          <a:lstStyle/>
          <a:p>
            <a:pPr marL="0" indent="0">
              <a:lnSpc>
                <a:spcPct val="100000"/>
              </a:lnSpc>
              <a:spcBef>
                <a:spcPts val="2200"/>
              </a:spcBef>
              <a:buClr>
                <a:schemeClr val="accent3"/>
              </a:buClr>
              <a:buSzPct val="150000"/>
              <a:buFontTx/>
              <a:buNone/>
            </a:pPr>
            <a:r>
              <a:rPr lang="en-IN" sz="900" dirty="0">
                <a:solidFill>
                  <a:schemeClr val="tx1">
                    <a:lumMod val="100000"/>
                  </a:schemeClr>
                </a:solidFill>
              </a:rPr>
              <a:t>Tourism</a:t>
            </a:r>
            <a:endParaRPr lang="en-US" sz="900" dirty="0">
              <a:solidFill>
                <a:schemeClr val="tx1">
                  <a:lumMod val="100000"/>
                </a:schemeClr>
              </a:solidFill>
            </a:endParaRPr>
          </a:p>
        </p:txBody>
      </p:sp>
      <p:sp>
        <p:nvSpPr>
          <p:cNvPr id="45" name="TextBox 44"/>
          <p:cNvSpPr txBox="1"/>
          <p:nvPr/>
        </p:nvSpPr>
        <p:spPr>
          <a:xfrm rot="14159746">
            <a:off x="2396126" y="1976334"/>
            <a:ext cx="713651" cy="138499"/>
          </a:xfrm>
          <a:prstGeom prst="rect">
            <a:avLst/>
          </a:prstGeom>
        </p:spPr>
        <p:txBody>
          <a:bodyPr wrap="square" lIns="0" tIns="0" rIns="0" bIns="0" rtlCol="0">
            <a:spAutoFit/>
          </a:bodyPr>
          <a:lstStyle/>
          <a:p>
            <a:pPr marL="0" indent="0" algn="ctr">
              <a:lnSpc>
                <a:spcPct val="100000"/>
              </a:lnSpc>
              <a:spcBef>
                <a:spcPts val="2200"/>
              </a:spcBef>
              <a:buClr>
                <a:schemeClr val="accent3"/>
              </a:buClr>
              <a:buSzPct val="150000"/>
              <a:buFontTx/>
              <a:buNone/>
            </a:pPr>
            <a:r>
              <a:rPr lang="en-IN" sz="900" dirty="0">
                <a:solidFill>
                  <a:schemeClr val="tx1">
                    <a:lumMod val="100000"/>
                  </a:schemeClr>
                </a:solidFill>
              </a:rPr>
              <a:t>Transport</a:t>
            </a:r>
            <a:endParaRPr lang="en-US" sz="900" dirty="0">
              <a:solidFill>
                <a:schemeClr val="tx1">
                  <a:lumMod val="100000"/>
                </a:schemeClr>
              </a:solidFill>
            </a:endParaRPr>
          </a:p>
        </p:txBody>
      </p:sp>
      <p:sp>
        <p:nvSpPr>
          <p:cNvPr id="46" name="TextBox 45"/>
          <p:cNvSpPr txBox="1"/>
          <p:nvPr/>
        </p:nvSpPr>
        <p:spPr>
          <a:xfrm rot="15257745">
            <a:off x="3113216" y="1558848"/>
            <a:ext cx="713651" cy="138499"/>
          </a:xfrm>
          <a:prstGeom prst="rect">
            <a:avLst/>
          </a:prstGeom>
        </p:spPr>
        <p:txBody>
          <a:bodyPr wrap="square" lIns="0" tIns="0" rIns="0" bIns="0" rtlCol="0">
            <a:spAutoFit/>
          </a:bodyPr>
          <a:lstStyle/>
          <a:p>
            <a:pPr marL="0" indent="0">
              <a:lnSpc>
                <a:spcPct val="100000"/>
              </a:lnSpc>
              <a:spcBef>
                <a:spcPts val="2200"/>
              </a:spcBef>
              <a:buClr>
                <a:schemeClr val="accent3"/>
              </a:buClr>
              <a:buSzPct val="150000"/>
              <a:buFontTx/>
              <a:buNone/>
            </a:pPr>
            <a:r>
              <a:rPr lang="en-IN" sz="900" dirty="0">
                <a:solidFill>
                  <a:schemeClr val="tx1">
                    <a:lumMod val="100000"/>
                  </a:schemeClr>
                </a:solidFill>
              </a:rPr>
              <a:t>Parking</a:t>
            </a:r>
            <a:endParaRPr lang="en-US" sz="900" dirty="0">
              <a:solidFill>
                <a:schemeClr val="tx1">
                  <a:lumMod val="100000"/>
                </a:schemeClr>
              </a:solidFill>
            </a:endParaRPr>
          </a:p>
        </p:txBody>
      </p:sp>
      <p:sp>
        <p:nvSpPr>
          <p:cNvPr id="47" name="TextBox 46"/>
          <p:cNvSpPr txBox="1"/>
          <p:nvPr/>
        </p:nvSpPr>
        <p:spPr>
          <a:xfrm rot="15993448">
            <a:off x="3858415" y="1443527"/>
            <a:ext cx="713651" cy="138499"/>
          </a:xfrm>
          <a:prstGeom prst="rect">
            <a:avLst/>
          </a:prstGeom>
        </p:spPr>
        <p:txBody>
          <a:bodyPr wrap="square" lIns="0" tIns="0" rIns="0" bIns="0" rtlCol="0">
            <a:spAutoFit/>
          </a:bodyPr>
          <a:lstStyle/>
          <a:p>
            <a:pPr marL="0" indent="0">
              <a:lnSpc>
                <a:spcPct val="100000"/>
              </a:lnSpc>
              <a:spcBef>
                <a:spcPts val="2200"/>
              </a:spcBef>
              <a:buClr>
                <a:schemeClr val="accent3"/>
              </a:buClr>
              <a:buSzPct val="150000"/>
              <a:buFontTx/>
              <a:buNone/>
            </a:pPr>
            <a:r>
              <a:rPr lang="en-IN" sz="900" dirty="0">
                <a:solidFill>
                  <a:schemeClr val="tx1">
                    <a:lumMod val="100000"/>
                  </a:schemeClr>
                </a:solidFill>
              </a:rPr>
              <a:t>Road</a:t>
            </a:r>
            <a:endParaRPr lang="en-US" sz="900" dirty="0">
              <a:solidFill>
                <a:schemeClr val="tx1">
                  <a:lumMod val="100000"/>
                </a:schemeClr>
              </a:solidFill>
            </a:endParaRPr>
          </a:p>
        </p:txBody>
      </p:sp>
      <p:sp>
        <p:nvSpPr>
          <p:cNvPr id="48" name="TextBox 47"/>
          <p:cNvSpPr txBox="1"/>
          <p:nvPr/>
        </p:nvSpPr>
        <p:spPr>
          <a:xfrm rot="16937465">
            <a:off x="4565534" y="1522258"/>
            <a:ext cx="713651" cy="138499"/>
          </a:xfrm>
          <a:prstGeom prst="rect">
            <a:avLst/>
          </a:prstGeom>
        </p:spPr>
        <p:txBody>
          <a:bodyPr wrap="square" lIns="0" tIns="0" rIns="0" bIns="0" rtlCol="0">
            <a:spAutoFit/>
          </a:bodyPr>
          <a:lstStyle/>
          <a:p>
            <a:pPr marL="0" indent="0">
              <a:lnSpc>
                <a:spcPct val="100000"/>
              </a:lnSpc>
              <a:spcBef>
                <a:spcPts val="2200"/>
              </a:spcBef>
              <a:buClr>
                <a:schemeClr val="accent3"/>
              </a:buClr>
              <a:buSzPct val="150000"/>
              <a:buFontTx/>
              <a:buNone/>
            </a:pPr>
            <a:r>
              <a:rPr lang="en-IN" sz="900" dirty="0">
                <a:solidFill>
                  <a:schemeClr val="tx1">
                    <a:lumMod val="100000"/>
                  </a:schemeClr>
                </a:solidFill>
              </a:rPr>
              <a:t>Traffic</a:t>
            </a:r>
            <a:endParaRPr lang="en-US" sz="900" dirty="0">
              <a:solidFill>
                <a:schemeClr val="tx1">
                  <a:lumMod val="100000"/>
                </a:schemeClr>
              </a:solidFill>
            </a:endParaRPr>
          </a:p>
        </p:txBody>
      </p:sp>
      <p:sp>
        <p:nvSpPr>
          <p:cNvPr id="72" name="TextBox 71"/>
          <p:cNvSpPr txBox="1"/>
          <p:nvPr/>
        </p:nvSpPr>
        <p:spPr>
          <a:xfrm rot="18516195">
            <a:off x="5963934" y="2168641"/>
            <a:ext cx="713651" cy="138499"/>
          </a:xfrm>
          <a:prstGeom prst="rect">
            <a:avLst/>
          </a:prstGeom>
        </p:spPr>
        <p:txBody>
          <a:bodyPr wrap="square" lIns="0" tIns="0" rIns="0" bIns="0" rtlCol="0">
            <a:spAutoFit/>
          </a:bodyPr>
          <a:lstStyle/>
          <a:p>
            <a:pPr marL="0" indent="0">
              <a:lnSpc>
                <a:spcPct val="100000"/>
              </a:lnSpc>
              <a:spcBef>
                <a:spcPts val="2200"/>
              </a:spcBef>
              <a:buClr>
                <a:schemeClr val="accent3"/>
              </a:buClr>
              <a:buSzPct val="150000"/>
              <a:buFontTx/>
              <a:buNone/>
            </a:pPr>
            <a:r>
              <a:rPr lang="en-IN" sz="900" dirty="0">
                <a:solidFill>
                  <a:schemeClr val="tx1">
                    <a:lumMod val="100000"/>
                  </a:schemeClr>
                </a:solidFill>
              </a:rPr>
              <a:t>Traffic</a:t>
            </a:r>
            <a:endParaRPr lang="en-US" sz="900" dirty="0">
              <a:solidFill>
                <a:schemeClr val="tx1">
                  <a:lumMod val="100000"/>
                </a:schemeClr>
              </a:solidFill>
            </a:endParaRPr>
          </a:p>
        </p:txBody>
      </p:sp>
      <p:sp>
        <p:nvSpPr>
          <p:cNvPr id="73" name="TextBox 72"/>
          <p:cNvSpPr txBox="1"/>
          <p:nvPr/>
        </p:nvSpPr>
        <p:spPr>
          <a:xfrm rot="20677857">
            <a:off x="6973055" y="3745261"/>
            <a:ext cx="713651" cy="138499"/>
          </a:xfrm>
          <a:prstGeom prst="rect">
            <a:avLst/>
          </a:prstGeom>
        </p:spPr>
        <p:txBody>
          <a:bodyPr wrap="square" lIns="0" tIns="0" rIns="0" bIns="0" rtlCol="0">
            <a:spAutoFit/>
          </a:bodyPr>
          <a:lstStyle/>
          <a:p>
            <a:pPr marL="0" indent="0">
              <a:lnSpc>
                <a:spcPct val="100000"/>
              </a:lnSpc>
              <a:spcBef>
                <a:spcPts val="2200"/>
              </a:spcBef>
              <a:buClr>
                <a:schemeClr val="accent3"/>
              </a:buClr>
              <a:buSzPct val="150000"/>
              <a:buFontTx/>
              <a:buNone/>
            </a:pPr>
            <a:r>
              <a:rPr lang="en-IN" sz="900" dirty="0">
                <a:solidFill>
                  <a:schemeClr val="tx1">
                    <a:lumMod val="100000"/>
                  </a:schemeClr>
                </a:solidFill>
              </a:rPr>
              <a:t>Traffic</a:t>
            </a:r>
            <a:endParaRPr lang="en-US" sz="900" dirty="0">
              <a:solidFill>
                <a:schemeClr val="tx1">
                  <a:lumMod val="100000"/>
                </a:schemeClr>
              </a:solidFill>
            </a:endParaRPr>
          </a:p>
        </p:txBody>
      </p:sp>
      <p:sp>
        <p:nvSpPr>
          <p:cNvPr id="74" name="Oval 73"/>
          <p:cNvSpPr/>
          <p:nvPr/>
        </p:nvSpPr>
        <p:spPr>
          <a:xfrm>
            <a:off x="1789838" y="3726601"/>
            <a:ext cx="204326" cy="204326"/>
          </a:xfrm>
          <a:prstGeom prst="ellips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900" dirty="0">
                <a:solidFill>
                  <a:schemeClr val="bg1"/>
                </a:solidFill>
              </a:rPr>
              <a:t>F</a:t>
            </a:r>
            <a:endParaRPr lang="en-US" sz="900" dirty="0">
              <a:solidFill>
                <a:schemeClr val="bg1"/>
              </a:solidFill>
            </a:endParaRPr>
          </a:p>
        </p:txBody>
      </p:sp>
      <p:sp>
        <p:nvSpPr>
          <p:cNvPr id="75" name="Oval 74"/>
          <p:cNvSpPr/>
          <p:nvPr/>
        </p:nvSpPr>
        <p:spPr>
          <a:xfrm>
            <a:off x="1858082" y="3529761"/>
            <a:ext cx="204326" cy="204326"/>
          </a:xfrm>
          <a:prstGeom prst="ellips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900" dirty="0">
                <a:solidFill>
                  <a:schemeClr val="bg1"/>
                </a:solidFill>
              </a:rPr>
              <a:t>W</a:t>
            </a:r>
            <a:endParaRPr lang="en-US" sz="900" dirty="0">
              <a:solidFill>
                <a:schemeClr val="bg1"/>
              </a:solidFill>
            </a:endParaRPr>
          </a:p>
        </p:txBody>
      </p:sp>
      <p:sp>
        <p:nvSpPr>
          <p:cNvPr id="76" name="Oval 75"/>
          <p:cNvSpPr/>
          <p:nvPr/>
        </p:nvSpPr>
        <p:spPr>
          <a:xfrm>
            <a:off x="1720942" y="4176943"/>
            <a:ext cx="204326" cy="204326"/>
          </a:xfrm>
          <a:prstGeom prst="ellips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900" dirty="0">
                <a:solidFill>
                  <a:schemeClr val="bg1"/>
                </a:solidFill>
              </a:rPr>
              <a:t>F</a:t>
            </a:r>
            <a:endParaRPr lang="en-US" sz="900" dirty="0">
              <a:solidFill>
                <a:schemeClr val="bg1"/>
              </a:solidFill>
            </a:endParaRPr>
          </a:p>
        </p:txBody>
      </p:sp>
      <p:sp>
        <p:nvSpPr>
          <p:cNvPr id="77" name="Oval 76"/>
          <p:cNvSpPr/>
          <p:nvPr/>
        </p:nvSpPr>
        <p:spPr>
          <a:xfrm>
            <a:off x="1714592" y="4746044"/>
            <a:ext cx="204326" cy="204326"/>
          </a:xfrm>
          <a:prstGeom prst="ellips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900" dirty="0">
                <a:solidFill>
                  <a:schemeClr val="bg1"/>
                </a:solidFill>
              </a:rPr>
              <a:t>U</a:t>
            </a:r>
            <a:endParaRPr lang="en-US" sz="900" dirty="0">
              <a:solidFill>
                <a:schemeClr val="bg1"/>
              </a:solidFill>
            </a:endParaRPr>
          </a:p>
        </p:txBody>
      </p:sp>
      <p:sp>
        <p:nvSpPr>
          <p:cNvPr id="78" name="Oval 77"/>
          <p:cNvSpPr/>
          <p:nvPr/>
        </p:nvSpPr>
        <p:spPr>
          <a:xfrm>
            <a:off x="2265922" y="2876157"/>
            <a:ext cx="204326" cy="204326"/>
          </a:xfrm>
          <a:prstGeom prst="ellips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900" dirty="0">
                <a:solidFill>
                  <a:schemeClr val="bg1"/>
                </a:solidFill>
              </a:rPr>
              <a:t>W</a:t>
            </a:r>
            <a:endParaRPr lang="en-US" sz="900" dirty="0">
              <a:solidFill>
                <a:schemeClr val="bg1"/>
              </a:solidFill>
            </a:endParaRPr>
          </a:p>
        </p:txBody>
      </p:sp>
      <p:sp>
        <p:nvSpPr>
          <p:cNvPr id="79" name="Oval 78"/>
          <p:cNvSpPr/>
          <p:nvPr/>
        </p:nvSpPr>
        <p:spPr>
          <a:xfrm>
            <a:off x="2410366" y="2704717"/>
            <a:ext cx="204326" cy="204326"/>
          </a:xfrm>
          <a:prstGeom prst="ellips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900" dirty="0">
                <a:solidFill>
                  <a:schemeClr val="bg1"/>
                </a:solidFill>
              </a:rPr>
              <a:t>U</a:t>
            </a:r>
            <a:endParaRPr lang="en-US" sz="900" dirty="0">
              <a:solidFill>
                <a:schemeClr val="bg1"/>
              </a:solidFill>
            </a:endParaRPr>
          </a:p>
        </p:txBody>
      </p:sp>
      <p:sp>
        <p:nvSpPr>
          <p:cNvPr id="80" name="Oval 79"/>
          <p:cNvSpPr/>
          <p:nvPr/>
        </p:nvSpPr>
        <p:spPr>
          <a:xfrm>
            <a:off x="2790193" y="2366491"/>
            <a:ext cx="204326" cy="204326"/>
          </a:xfrm>
          <a:prstGeom prst="ellips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900" dirty="0">
                <a:solidFill>
                  <a:schemeClr val="bg1"/>
                </a:solidFill>
              </a:rPr>
              <a:t>W</a:t>
            </a:r>
            <a:endParaRPr lang="en-US" sz="900" dirty="0">
              <a:solidFill>
                <a:schemeClr val="bg1"/>
              </a:solidFill>
            </a:endParaRPr>
          </a:p>
        </p:txBody>
      </p:sp>
      <p:sp>
        <p:nvSpPr>
          <p:cNvPr id="81" name="Oval 80"/>
          <p:cNvSpPr/>
          <p:nvPr/>
        </p:nvSpPr>
        <p:spPr>
          <a:xfrm>
            <a:off x="2969181" y="2254995"/>
            <a:ext cx="204326" cy="204326"/>
          </a:xfrm>
          <a:prstGeom prst="ellips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900" dirty="0">
                <a:solidFill>
                  <a:schemeClr val="bg1"/>
                </a:solidFill>
              </a:rPr>
              <a:t>U</a:t>
            </a:r>
            <a:endParaRPr lang="en-US" sz="900" dirty="0">
              <a:solidFill>
                <a:schemeClr val="bg1"/>
              </a:solidFill>
            </a:endParaRPr>
          </a:p>
        </p:txBody>
      </p:sp>
      <p:sp>
        <p:nvSpPr>
          <p:cNvPr id="82" name="Oval 81"/>
          <p:cNvSpPr/>
          <p:nvPr/>
        </p:nvSpPr>
        <p:spPr>
          <a:xfrm>
            <a:off x="3496641" y="2017627"/>
            <a:ext cx="204326" cy="204326"/>
          </a:xfrm>
          <a:prstGeom prst="ellips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900" dirty="0">
                <a:solidFill>
                  <a:schemeClr val="bg1"/>
                </a:solidFill>
              </a:rPr>
              <a:t>U</a:t>
            </a:r>
            <a:endParaRPr lang="en-US" sz="900" dirty="0">
              <a:solidFill>
                <a:schemeClr val="bg1"/>
              </a:solidFill>
            </a:endParaRPr>
          </a:p>
        </p:txBody>
      </p:sp>
      <p:sp>
        <p:nvSpPr>
          <p:cNvPr id="83" name="Oval 82"/>
          <p:cNvSpPr/>
          <p:nvPr/>
        </p:nvSpPr>
        <p:spPr>
          <a:xfrm>
            <a:off x="4151491" y="1910427"/>
            <a:ext cx="204326" cy="204326"/>
          </a:xfrm>
          <a:prstGeom prst="ellips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900" dirty="0">
                <a:solidFill>
                  <a:schemeClr val="bg1"/>
                </a:solidFill>
              </a:rPr>
              <a:t>U</a:t>
            </a:r>
            <a:endParaRPr lang="en-US" sz="900" dirty="0">
              <a:solidFill>
                <a:schemeClr val="bg1"/>
              </a:solidFill>
            </a:endParaRPr>
          </a:p>
        </p:txBody>
      </p:sp>
      <p:sp>
        <p:nvSpPr>
          <p:cNvPr id="84" name="Oval 83"/>
          <p:cNvSpPr/>
          <p:nvPr/>
        </p:nvSpPr>
        <p:spPr>
          <a:xfrm>
            <a:off x="4696703" y="1990740"/>
            <a:ext cx="204326" cy="204326"/>
          </a:xfrm>
          <a:prstGeom prst="ellips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900" dirty="0">
                <a:solidFill>
                  <a:schemeClr val="bg1"/>
                </a:solidFill>
              </a:rPr>
              <a:t>F</a:t>
            </a:r>
            <a:endParaRPr lang="en-US" sz="900" dirty="0">
              <a:solidFill>
                <a:schemeClr val="bg1"/>
              </a:solidFill>
            </a:endParaRPr>
          </a:p>
        </p:txBody>
      </p:sp>
      <p:sp>
        <p:nvSpPr>
          <p:cNvPr id="85" name="Oval 84"/>
          <p:cNvSpPr/>
          <p:nvPr/>
        </p:nvSpPr>
        <p:spPr>
          <a:xfrm>
            <a:off x="5870956" y="2527738"/>
            <a:ext cx="204326" cy="204326"/>
          </a:xfrm>
          <a:prstGeom prst="ellips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900" dirty="0">
                <a:solidFill>
                  <a:schemeClr val="bg1"/>
                </a:solidFill>
              </a:rPr>
              <a:t>F</a:t>
            </a:r>
            <a:endParaRPr lang="en-US" sz="900" dirty="0">
              <a:solidFill>
                <a:schemeClr val="bg1"/>
              </a:solidFill>
            </a:endParaRPr>
          </a:p>
        </p:txBody>
      </p:sp>
      <p:sp>
        <p:nvSpPr>
          <p:cNvPr id="86" name="Oval 85"/>
          <p:cNvSpPr/>
          <p:nvPr/>
        </p:nvSpPr>
        <p:spPr>
          <a:xfrm>
            <a:off x="6682699" y="3786080"/>
            <a:ext cx="204326" cy="204326"/>
          </a:xfrm>
          <a:prstGeom prst="ellips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900" dirty="0">
                <a:solidFill>
                  <a:schemeClr val="bg1"/>
                </a:solidFill>
              </a:rPr>
              <a:t>F</a:t>
            </a:r>
            <a:endParaRPr lang="en-US" sz="900" dirty="0">
              <a:solidFill>
                <a:schemeClr val="bg1"/>
              </a:solidFill>
            </a:endParaRPr>
          </a:p>
        </p:txBody>
      </p:sp>
      <p:sp>
        <p:nvSpPr>
          <p:cNvPr id="87" name="Oval 86"/>
          <p:cNvSpPr/>
          <p:nvPr/>
        </p:nvSpPr>
        <p:spPr>
          <a:xfrm>
            <a:off x="6726144" y="4006749"/>
            <a:ext cx="204326" cy="204326"/>
          </a:xfrm>
          <a:prstGeom prst="ellips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900" dirty="0">
                <a:solidFill>
                  <a:schemeClr val="bg1"/>
                </a:solidFill>
              </a:rPr>
              <a:t>U</a:t>
            </a:r>
            <a:endParaRPr lang="en-US" sz="900" dirty="0">
              <a:solidFill>
                <a:schemeClr val="bg1"/>
              </a:solidFill>
            </a:endParaRPr>
          </a:p>
        </p:txBody>
      </p:sp>
      <p:sp>
        <p:nvSpPr>
          <p:cNvPr id="88" name="Oval 87"/>
          <p:cNvSpPr/>
          <p:nvPr/>
        </p:nvSpPr>
        <p:spPr>
          <a:xfrm>
            <a:off x="2991222" y="4589069"/>
            <a:ext cx="204326" cy="204326"/>
          </a:xfrm>
          <a:prstGeom prst="ellips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900" dirty="0">
                <a:solidFill>
                  <a:schemeClr val="bg1"/>
                </a:solidFill>
              </a:rPr>
              <a:t>O</a:t>
            </a:r>
            <a:endParaRPr lang="en-US" sz="900" dirty="0">
              <a:solidFill>
                <a:schemeClr val="bg1"/>
              </a:solidFill>
            </a:endParaRPr>
          </a:p>
        </p:txBody>
      </p:sp>
      <p:sp>
        <p:nvSpPr>
          <p:cNvPr id="89" name="Oval 88"/>
          <p:cNvSpPr/>
          <p:nvPr/>
        </p:nvSpPr>
        <p:spPr>
          <a:xfrm>
            <a:off x="2963790" y="4359332"/>
            <a:ext cx="204326" cy="204326"/>
          </a:xfrm>
          <a:prstGeom prst="ellips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900" dirty="0">
                <a:solidFill>
                  <a:schemeClr val="bg1"/>
                </a:solidFill>
              </a:rPr>
              <a:t>J</a:t>
            </a:r>
            <a:endParaRPr lang="en-US" sz="900" dirty="0">
              <a:solidFill>
                <a:schemeClr val="bg1"/>
              </a:solidFill>
            </a:endParaRPr>
          </a:p>
        </p:txBody>
      </p:sp>
      <p:sp>
        <p:nvSpPr>
          <p:cNvPr id="90" name="Oval 89"/>
          <p:cNvSpPr/>
          <p:nvPr/>
        </p:nvSpPr>
        <p:spPr>
          <a:xfrm>
            <a:off x="3540549" y="3148863"/>
            <a:ext cx="204326" cy="204326"/>
          </a:xfrm>
          <a:prstGeom prst="ellips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900" dirty="0">
                <a:solidFill>
                  <a:schemeClr val="bg1"/>
                </a:solidFill>
              </a:rPr>
              <a:t>E</a:t>
            </a:r>
            <a:endParaRPr lang="en-US" sz="900" dirty="0">
              <a:solidFill>
                <a:schemeClr val="bg1"/>
              </a:solidFill>
            </a:endParaRPr>
          </a:p>
        </p:txBody>
      </p:sp>
      <p:sp>
        <p:nvSpPr>
          <p:cNvPr id="91" name="Oval 90"/>
          <p:cNvSpPr/>
          <p:nvPr/>
        </p:nvSpPr>
        <p:spPr>
          <a:xfrm>
            <a:off x="3311846" y="3313771"/>
            <a:ext cx="204326" cy="204326"/>
          </a:xfrm>
          <a:prstGeom prst="ellips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900" dirty="0">
                <a:solidFill>
                  <a:schemeClr val="bg1"/>
                </a:solidFill>
              </a:rPr>
              <a:t>G</a:t>
            </a:r>
            <a:endParaRPr lang="en-US" sz="900" dirty="0">
              <a:solidFill>
                <a:schemeClr val="bg1"/>
              </a:solidFill>
            </a:endParaRPr>
          </a:p>
        </p:txBody>
      </p:sp>
      <p:sp>
        <p:nvSpPr>
          <p:cNvPr id="92" name="Oval 91"/>
          <p:cNvSpPr/>
          <p:nvPr/>
        </p:nvSpPr>
        <p:spPr>
          <a:xfrm>
            <a:off x="3799848" y="3049562"/>
            <a:ext cx="204326" cy="204326"/>
          </a:xfrm>
          <a:prstGeom prst="ellips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900" dirty="0">
                <a:solidFill>
                  <a:schemeClr val="bg1"/>
                </a:solidFill>
              </a:rPr>
              <a:t>I</a:t>
            </a:r>
            <a:endParaRPr lang="en-US" sz="900" dirty="0">
              <a:solidFill>
                <a:schemeClr val="bg1"/>
              </a:solidFill>
            </a:endParaRPr>
          </a:p>
        </p:txBody>
      </p:sp>
      <p:sp>
        <p:nvSpPr>
          <p:cNvPr id="93" name="Oval 92"/>
          <p:cNvSpPr/>
          <p:nvPr/>
        </p:nvSpPr>
        <p:spPr>
          <a:xfrm>
            <a:off x="4066349" y="3002355"/>
            <a:ext cx="204326" cy="204326"/>
          </a:xfrm>
          <a:prstGeom prst="ellips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900" dirty="0">
                <a:solidFill>
                  <a:schemeClr val="bg1"/>
                </a:solidFill>
              </a:rPr>
              <a:t>U</a:t>
            </a:r>
            <a:endParaRPr lang="en-US" sz="900" dirty="0">
              <a:solidFill>
                <a:schemeClr val="bg1"/>
              </a:solidFill>
            </a:endParaRPr>
          </a:p>
        </p:txBody>
      </p:sp>
      <p:sp>
        <p:nvSpPr>
          <p:cNvPr id="94" name="Oval 93"/>
          <p:cNvSpPr/>
          <p:nvPr/>
        </p:nvSpPr>
        <p:spPr>
          <a:xfrm>
            <a:off x="4998648" y="3202464"/>
            <a:ext cx="204326" cy="204326"/>
          </a:xfrm>
          <a:prstGeom prst="ellips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900" dirty="0">
                <a:solidFill>
                  <a:schemeClr val="bg1"/>
                </a:solidFill>
              </a:rPr>
              <a:t>G</a:t>
            </a:r>
            <a:endParaRPr lang="en-US" sz="900" dirty="0">
              <a:solidFill>
                <a:schemeClr val="bg1"/>
              </a:solidFill>
            </a:endParaRPr>
          </a:p>
        </p:txBody>
      </p:sp>
      <p:sp>
        <p:nvSpPr>
          <p:cNvPr id="95" name="Oval 94"/>
          <p:cNvSpPr/>
          <p:nvPr/>
        </p:nvSpPr>
        <p:spPr>
          <a:xfrm>
            <a:off x="5186353" y="3334984"/>
            <a:ext cx="204326" cy="204326"/>
          </a:xfrm>
          <a:prstGeom prst="ellips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900" dirty="0">
                <a:solidFill>
                  <a:schemeClr val="bg1"/>
                </a:solidFill>
              </a:rPr>
              <a:t>W</a:t>
            </a:r>
            <a:endParaRPr lang="en-US" sz="900" dirty="0">
              <a:solidFill>
                <a:schemeClr val="bg1"/>
              </a:solidFill>
            </a:endParaRPr>
          </a:p>
        </p:txBody>
      </p:sp>
      <p:sp>
        <p:nvSpPr>
          <p:cNvPr id="119" name="Oval 118"/>
          <p:cNvSpPr/>
          <p:nvPr/>
        </p:nvSpPr>
        <p:spPr>
          <a:xfrm>
            <a:off x="5344200" y="3504718"/>
            <a:ext cx="204326" cy="204326"/>
          </a:xfrm>
          <a:prstGeom prst="ellips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900" dirty="0">
                <a:solidFill>
                  <a:schemeClr val="bg1"/>
                </a:solidFill>
              </a:rPr>
              <a:t>C</a:t>
            </a:r>
            <a:endParaRPr lang="en-US" sz="900" dirty="0">
              <a:solidFill>
                <a:schemeClr val="bg1"/>
              </a:solidFill>
            </a:endParaRPr>
          </a:p>
        </p:txBody>
      </p:sp>
      <p:sp>
        <p:nvSpPr>
          <p:cNvPr id="120" name="Oval 119"/>
          <p:cNvSpPr/>
          <p:nvPr/>
        </p:nvSpPr>
        <p:spPr>
          <a:xfrm>
            <a:off x="5563586" y="3917361"/>
            <a:ext cx="204326" cy="204326"/>
          </a:xfrm>
          <a:prstGeom prst="ellips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IN" sz="900" dirty="0">
                <a:solidFill>
                  <a:schemeClr val="bg1"/>
                </a:solidFill>
              </a:rPr>
              <a:t>FI</a:t>
            </a:r>
            <a:endParaRPr lang="en-US" sz="900" dirty="0">
              <a:solidFill>
                <a:schemeClr val="bg1"/>
              </a:solidFill>
            </a:endParaRPr>
          </a:p>
        </p:txBody>
      </p:sp>
      <p:sp>
        <p:nvSpPr>
          <p:cNvPr id="122" name="Oval 121"/>
          <p:cNvSpPr/>
          <p:nvPr/>
        </p:nvSpPr>
        <p:spPr>
          <a:xfrm>
            <a:off x="4870254" y="4077593"/>
            <a:ext cx="204326" cy="204326"/>
          </a:xfrm>
          <a:prstGeom prst="ellips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IN" sz="900" dirty="0">
                <a:solidFill>
                  <a:schemeClr val="bg1"/>
                </a:solidFill>
              </a:rPr>
              <a:t>G</a:t>
            </a:r>
            <a:endParaRPr lang="en-US" sz="900" dirty="0">
              <a:solidFill>
                <a:schemeClr val="bg1"/>
              </a:solidFill>
            </a:endParaRPr>
          </a:p>
        </p:txBody>
      </p:sp>
      <p:sp>
        <p:nvSpPr>
          <p:cNvPr id="123" name="Oval 122"/>
          <p:cNvSpPr/>
          <p:nvPr/>
        </p:nvSpPr>
        <p:spPr>
          <a:xfrm>
            <a:off x="4619777" y="5156440"/>
            <a:ext cx="204326" cy="204326"/>
          </a:xfrm>
          <a:prstGeom prst="ellips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IN" sz="900" dirty="0">
                <a:solidFill>
                  <a:schemeClr val="bg1"/>
                </a:solidFill>
              </a:rPr>
              <a:t>S</a:t>
            </a:r>
            <a:endParaRPr lang="en-US" sz="900" dirty="0">
              <a:solidFill>
                <a:schemeClr val="bg1"/>
              </a:solidFill>
            </a:endParaRPr>
          </a:p>
        </p:txBody>
      </p:sp>
      <p:sp>
        <p:nvSpPr>
          <p:cNvPr id="124" name="Oval 123"/>
          <p:cNvSpPr/>
          <p:nvPr/>
        </p:nvSpPr>
        <p:spPr>
          <a:xfrm>
            <a:off x="4824504" y="5032157"/>
            <a:ext cx="204326" cy="204326"/>
          </a:xfrm>
          <a:prstGeom prst="ellips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IN" sz="900" dirty="0">
                <a:solidFill>
                  <a:schemeClr val="bg1"/>
                </a:solidFill>
              </a:rPr>
              <a:t>U</a:t>
            </a:r>
            <a:endParaRPr lang="en-US" sz="900" dirty="0">
              <a:solidFill>
                <a:schemeClr val="bg1"/>
              </a:solidFill>
            </a:endParaRPr>
          </a:p>
        </p:txBody>
      </p:sp>
      <p:sp>
        <p:nvSpPr>
          <p:cNvPr id="125" name="TextBox 124"/>
          <p:cNvSpPr txBox="1"/>
          <p:nvPr/>
        </p:nvSpPr>
        <p:spPr>
          <a:xfrm>
            <a:off x="7825946" y="1624003"/>
            <a:ext cx="2449711" cy="4501745"/>
          </a:xfrm>
          <a:prstGeom prst="rect">
            <a:avLst/>
          </a:prstGeom>
        </p:spPr>
        <p:txBody>
          <a:bodyPr wrap="square" lIns="0" tIns="0" rIns="0" bIns="0" rtlCol="0">
            <a:spAutoFit/>
          </a:bodyPr>
          <a:lstStyle/>
          <a:p>
            <a:pPr>
              <a:spcBef>
                <a:spcPts val="600"/>
              </a:spcBef>
              <a:buClr>
                <a:schemeClr val="accent3"/>
              </a:buClr>
              <a:buSzPct val="150000"/>
            </a:pPr>
            <a:r>
              <a:rPr lang="en-IN" sz="1400" b="1" dirty="0">
                <a:solidFill>
                  <a:schemeClr val="tx2"/>
                </a:solidFill>
              </a:rPr>
              <a:t>Requirements:</a:t>
            </a:r>
          </a:p>
          <a:p>
            <a:pPr marL="324000" lvl="1" indent="-216000">
              <a:lnSpc>
                <a:spcPct val="90000"/>
              </a:lnSpc>
              <a:spcBef>
                <a:spcPts val="800"/>
              </a:spcBef>
              <a:buClr>
                <a:schemeClr val="tx2">
                  <a:lumMod val="100000"/>
                </a:schemeClr>
              </a:buClr>
              <a:buSzPct val="100000"/>
              <a:buFont typeface="Trebuchet MS" panose="020B0603020202020204" pitchFamily="34" charset="0"/>
              <a:buChar char="•"/>
            </a:pPr>
            <a:r>
              <a:rPr lang="en-IN" sz="1200" dirty="0">
                <a:solidFill>
                  <a:schemeClr val="tx1">
                    <a:lumMod val="100000"/>
                  </a:schemeClr>
                </a:solidFill>
                <a:cs typeface="Calibri" panose="020F0502020204030204" pitchFamily="34" charset="0"/>
              </a:rPr>
              <a:t>EU Metadata Registry</a:t>
            </a:r>
          </a:p>
          <a:p>
            <a:pPr marL="324000" lvl="1" indent="-216000">
              <a:lnSpc>
                <a:spcPct val="90000"/>
              </a:lnSpc>
              <a:spcBef>
                <a:spcPts val="800"/>
              </a:spcBef>
              <a:buClr>
                <a:schemeClr val="tx2">
                  <a:lumMod val="100000"/>
                </a:schemeClr>
              </a:buClr>
              <a:buSzPct val="100000"/>
              <a:buFont typeface="Trebuchet MS" panose="020B0603020202020204" pitchFamily="34" charset="0"/>
              <a:buChar char="•"/>
            </a:pPr>
            <a:r>
              <a:rPr lang="en-IN" sz="1200" dirty="0">
                <a:solidFill>
                  <a:schemeClr val="tx1">
                    <a:lumMod val="100000"/>
                  </a:schemeClr>
                </a:solidFill>
                <a:cs typeface="Calibri" panose="020F0502020204030204" pitchFamily="34" charset="0"/>
              </a:rPr>
              <a:t>FEMP Open Data Guide exemplary datasets</a:t>
            </a:r>
          </a:p>
          <a:p>
            <a:pPr marL="324000" lvl="1" indent="-216000">
              <a:lnSpc>
                <a:spcPct val="90000"/>
              </a:lnSpc>
              <a:spcBef>
                <a:spcPts val="800"/>
              </a:spcBef>
              <a:buClr>
                <a:schemeClr val="tx2">
                  <a:lumMod val="100000"/>
                </a:schemeClr>
              </a:buClr>
              <a:buSzPct val="100000"/>
              <a:buFont typeface="Trebuchet MS" panose="020B0603020202020204" pitchFamily="34" charset="0"/>
              <a:buChar char="•"/>
            </a:pPr>
            <a:r>
              <a:rPr lang="en-IN" sz="1200" dirty="0">
                <a:solidFill>
                  <a:schemeClr val="tx1">
                    <a:lumMod val="100000"/>
                  </a:schemeClr>
                </a:solidFill>
                <a:cs typeface="Calibri" panose="020F0502020204030204" pitchFamily="34" charset="0"/>
              </a:rPr>
              <a:t>FIWARE data model for KPIs</a:t>
            </a:r>
          </a:p>
          <a:p>
            <a:pPr marL="324000" lvl="1" indent="-216000">
              <a:lnSpc>
                <a:spcPct val="90000"/>
              </a:lnSpc>
              <a:spcBef>
                <a:spcPts val="800"/>
              </a:spcBef>
              <a:buClr>
                <a:schemeClr val="tx2">
                  <a:lumMod val="100000"/>
                </a:schemeClr>
              </a:buClr>
              <a:buSzPct val="100000"/>
              <a:buFont typeface="Trebuchet MS" panose="020B0603020202020204" pitchFamily="34" charset="0"/>
              <a:buChar char="•"/>
            </a:pPr>
            <a:r>
              <a:rPr lang="en-IN" sz="1200" dirty="0">
                <a:solidFill>
                  <a:schemeClr val="tx1">
                    <a:lumMod val="100000"/>
                  </a:schemeClr>
                </a:solidFill>
                <a:cs typeface="Calibri" panose="020F0502020204030204" pitchFamily="34" charset="0"/>
              </a:rPr>
              <a:t>ISA Programme Location Core Vocabulary</a:t>
            </a:r>
          </a:p>
          <a:p>
            <a:pPr marL="324000" lvl="1" indent="-216000">
              <a:lnSpc>
                <a:spcPct val="90000"/>
              </a:lnSpc>
              <a:spcBef>
                <a:spcPts val="800"/>
              </a:spcBef>
              <a:buClr>
                <a:schemeClr val="tx2">
                  <a:lumMod val="100000"/>
                </a:schemeClr>
              </a:buClr>
              <a:buSzPct val="100000"/>
              <a:buFont typeface="Trebuchet MS" panose="020B0603020202020204" pitchFamily="34" charset="0"/>
              <a:buChar char="•"/>
            </a:pPr>
            <a:r>
              <a:rPr lang="en-IN" sz="1200" dirty="0">
                <a:solidFill>
                  <a:schemeClr val="tx1">
                    <a:lumMod val="100000"/>
                  </a:schemeClr>
                </a:solidFill>
                <a:cs typeface="Calibri" panose="020F0502020204030204" pitchFamily="34" charset="0"/>
              </a:rPr>
              <a:t>Joinup Core Public Organization Vocabulary</a:t>
            </a:r>
          </a:p>
          <a:p>
            <a:pPr marL="324000" lvl="1" indent="-216000">
              <a:lnSpc>
                <a:spcPct val="90000"/>
              </a:lnSpc>
              <a:spcBef>
                <a:spcPts val="800"/>
              </a:spcBef>
              <a:buClr>
                <a:schemeClr val="tx2">
                  <a:lumMod val="100000"/>
                </a:schemeClr>
              </a:buClr>
              <a:buSzPct val="100000"/>
              <a:buFont typeface="Trebuchet MS" panose="020B0603020202020204" pitchFamily="34" charset="0"/>
              <a:buChar char="•"/>
            </a:pPr>
            <a:r>
              <a:rPr lang="en-IN" sz="1200" dirty="0">
                <a:solidFill>
                  <a:schemeClr val="tx1">
                    <a:lumMod val="100000"/>
                  </a:schemeClr>
                </a:solidFill>
                <a:cs typeface="Calibri" panose="020F0502020204030204" pitchFamily="34" charset="0"/>
              </a:rPr>
              <a:t>OGC CityGML</a:t>
            </a:r>
          </a:p>
          <a:p>
            <a:pPr marL="324000" lvl="1" indent="-216000">
              <a:lnSpc>
                <a:spcPct val="90000"/>
              </a:lnSpc>
              <a:spcBef>
                <a:spcPts val="800"/>
              </a:spcBef>
              <a:buClr>
                <a:schemeClr val="tx2">
                  <a:lumMod val="100000"/>
                </a:schemeClr>
              </a:buClr>
              <a:buSzPct val="100000"/>
              <a:buFont typeface="Trebuchet MS" panose="020B0603020202020204" pitchFamily="34" charset="0"/>
              <a:buChar char="•"/>
            </a:pPr>
            <a:r>
              <a:rPr lang="en-IN" sz="1200" dirty="0">
                <a:solidFill>
                  <a:schemeClr val="tx1">
                    <a:lumMod val="100000"/>
                  </a:schemeClr>
                </a:solidFill>
                <a:cs typeface="Calibri" panose="020F0502020204030204" pitchFamily="34" charset="0"/>
              </a:rPr>
              <a:t>OGC GeoSPARQL</a:t>
            </a:r>
          </a:p>
          <a:p>
            <a:pPr marL="324000" lvl="1" indent="-216000">
              <a:lnSpc>
                <a:spcPct val="90000"/>
              </a:lnSpc>
              <a:spcBef>
                <a:spcPts val="800"/>
              </a:spcBef>
              <a:buClr>
                <a:schemeClr val="tx2">
                  <a:lumMod val="100000"/>
                </a:schemeClr>
              </a:buClr>
              <a:buSzPct val="100000"/>
              <a:buFont typeface="Trebuchet MS" panose="020B0603020202020204" pitchFamily="34" charset="0"/>
              <a:buChar char="•"/>
            </a:pPr>
            <a:r>
              <a:rPr lang="en-IN" sz="1200" dirty="0">
                <a:solidFill>
                  <a:schemeClr val="tx1">
                    <a:lumMod val="100000"/>
                  </a:schemeClr>
                </a:solidFill>
                <a:cs typeface="Calibri" panose="020F0502020204030204" pitchFamily="34" charset="0"/>
              </a:rPr>
              <a:t>schema.org</a:t>
            </a:r>
          </a:p>
          <a:p>
            <a:pPr marL="324000" lvl="1" indent="-216000">
              <a:lnSpc>
                <a:spcPct val="90000"/>
              </a:lnSpc>
              <a:spcBef>
                <a:spcPts val="800"/>
              </a:spcBef>
              <a:buClr>
                <a:schemeClr val="tx2">
                  <a:lumMod val="100000"/>
                </a:schemeClr>
              </a:buClr>
              <a:buSzPct val="100000"/>
              <a:buFont typeface="Trebuchet MS" panose="020B0603020202020204" pitchFamily="34" charset="0"/>
              <a:buChar char="•"/>
            </a:pPr>
            <a:r>
              <a:rPr lang="en-IN" sz="1200" dirty="0">
                <a:solidFill>
                  <a:schemeClr val="tx1">
                    <a:lumMod val="100000"/>
                  </a:schemeClr>
                </a:solidFill>
                <a:cs typeface="Calibri" panose="020F0502020204030204" pitchFamily="34" charset="0"/>
              </a:rPr>
              <a:t>Vocabulary referenced by AENOR UNE 178301:2015</a:t>
            </a:r>
          </a:p>
          <a:p>
            <a:pPr marL="324000" lvl="1" indent="-216000">
              <a:lnSpc>
                <a:spcPct val="90000"/>
              </a:lnSpc>
              <a:spcBef>
                <a:spcPts val="800"/>
              </a:spcBef>
              <a:buClr>
                <a:schemeClr val="tx2">
                  <a:lumMod val="100000"/>
                </a:schemeClr>
              </a:buClr>
              <a:buSzPct val="100000"/>
              <a:buFont typeface="Trebuchet MS" panose="020B0603020202020204" pitchFamily="34" charset="0"/>
              <a:buChar char="•"/>
            </a:pPr>
            <a:r>
              <a:rPr lang="en-IN" sz="1200" dirty="0">
                <a:solidFill>
                  <a:schemeClr val="tx1">
                    <a:lumMod val="100000"/>
                  </a:schemeClr>
                </a:solidFill>
                <a:cs typeface="Calibri" panose="020F0502020204030204" pitchFamily="34" charset="0"/>
              </a:rPr>
              <a:t>W3C Registered Organization Vocabulary</a:t>
            </a:r>
          </a:p>
          <a:p>
            <a:pPr marL="324000" lvl="1" indent="-216000">
              <a:lnSpc>
                <a:spcPct val="90000"/>
              </a:lnSpc>
              <a:spcBef>
                <a:spcPts val="800"/>
              </a:spcBef>
              <a:buClr>
                <a:schemeClr val="tx2">
                  <a:lumMod val="100000"/>
                </a:schemeClr>
              </a:buClr>
              <a:buSzPct val="100000"/>
              <a:buFont typeface="Trebuchet MS" panose="020B0603020202020204" pitchFamily="34" charset="0"/>
              <a:buChar char="•"/>
            </a:pPr>
            <a:r>
              <a:rPr lang="en-IN" sz="1200" dirty="0">
                <a:solidFill>
                  <a:schemeClr val="tx1">
                    <a:lumMod val="100000"/>
                  </a:schemeClr>
                </a:solidFill>
                <a:cs typeface="Calibri" panose="020F0502020204030204" pitchFamily="34" charset="0"/>
              </a:rPr>
              <a:t>W3C WGS84 Geo Positioning vocabulary</a:t>
            </a:r>
            <a:endParaRPr lang="en-US" sz="1200" dirty="0">
              <a:solidFill>
                <a:schemeClr val="tx1">
                  <a:lumMod val="100000"/>
                </a:schemeClr>
              </a:solidFill>
              <a:cs typeface="Calibri" panose="020F0502020204030204" pitchFamily="34" charset="0"/>
            </a:endParaRPr>
          </a:p>
        </p:txBody>
      </p:sp>
      <p:sp>
        <p:nvSpPr>
          <p:cNvPr id="96" name="Oval 95"/>
          <p:cNvSpPr/>
          <p:nvPr/>
        </p:nvSpPr>
        <p:spPr>
          <a:xfrm>
            <a:off x="7883293" y="1901081"/>
            <a:ext cx="204326" cy="204326"/>
          </a:xfrm>
          <a:prstGeom prst="ellips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800" dirty="0">
                <a:solidFill>
                  <a:schemeClr val="bg1"/>
                </a:solidFill>
              </a:rPr>
              <a:t>E</a:t>
            </a:r>
            <a:endParaRPr lang="en-US" sz="800" dirty="0">
              <a:solidFill>
                <a:schemeClr val="bg1"/>
              </a:solidFill>
            </a:endParaRPr>
          </a:p>
        </p:txBody>
      </p:sp>
      <p:sp>
        <p:nvSpPr>
          <p:cNvPr id="97" name="Oval 96"/>
          <p:cNvSpPr/>
          <p:nvPr/>
        </p:nvSpPr>
        <p:spPr>
          <a:xfrm>
            <a:off x="7883293" y="2175793"/>
            <a:ext cx="204326" cy="204326"/>
          </a:xfrm>
          <a:prstGeom prst="ellips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800" dirty="0">
                <a:solidFill>
                  <a:schemeClr val="bg1"/>
                </a:solidFill>
              </a:rPr>
              <a:t>F</a:t>
            </a:r>
            <a:endParaRPr lang="en-US" sz="800" dirty="0">
              <a:solidFill>
                <a:schemeClr val="bg1"/>
              </a:solidFill>
            </a:endParaRPr>
          </a:p>
        </p:txBody>
      </p:sp>
      <p:sp>
        <p:nvSpPr>
          <p:cNvPr id="98" name="Oval 97"/>
          <p:cNvSpPr/>
          <p:nvPr/>
        </p:nvSpPr>
        <p:spPr>
          <a:xfrm>
            <a:off x="7883293" y="2606202"/>
            <a:ext cx="204326" cy="204326"/>
          </a:xfrm>
          <a:prstGeom prst="ellips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IN" sz="800" dirty="0">
                <a:solidFill>
                  <a:schemeClr val="bg1"/>
                </a:solidFill>
              </a:rPr>
              <a:t>FI</a:t>
            </a:r>
            <a:endParaRPr lang="en-US" sz="800" dirty="0">
              <a:solidFill>
                <a:schemeClr val="bg1"/>
              </a:solidFill>
            </a:endParaRPr>
          </a:p>
        </p:txBody>
      </p:sp>
      <p:sp>
        <p:nvSpPr>
          <p:cNvPr id="99" name="Oval 98"/>
          <p:cNvSpPr/>
          <p:nvPr/>
        </p:nvSpPr>
        <p:spPr>
          <a:xfrm>
            <a:off x="7883293" y="3037658"/>
            <a:ext cx="204326" cy="204326"/>
          </a:xfrm>
          <a:prstGeom prst="ellips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800" dirty="0">
                <a:solidFill>
                  <a:schemeClr val="bg1"/>
                </a:solidFill>
              </a:rPr>
              <a:t>I</a:t>
            </a:r>
            <a:endParaRPr lang="en-US" sz="800" dirty="0">
              <a:solidFill>
                <a:schemeClr val="bg1"/>
              </a:solidFill>
            </a:endParaRPr>
          </a:p>
        </p:txBody>
      </p:sp>
      <p:sp>
        <p:nvSpPr>
          <p:cNvPr id="100" name="Oval 99"/>
          <p:cNvSpPr/>
          <p:nvPr/>
        </p:nvSpPr>
        <p:spPr>
          <a:xfrm>
            <a:off x="7883293" y="3471964"/>
            <a:ext cx="204326" cy="204326"/>
          </a:xfrm>
          <a:prstGeom prst="ellips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800" dirty="0">
                <a:solidFill>
                  <a:schemeClr val="bg1"/>
                </a:solidFill>
              </a:rPr>
              <a:t>J</a:t>
            </a:r>
            <a:endParaRPr lang="en-US" sz="800" dirty="0">
              <a:solidFill>
                <a:schemeClr val="bg1"/>
              </a:solidFill>
            </a:endParaRPr>
          </a:p>
        </p:txBody>
      </p:sp>
      <p:sp>
        <p:nvSpPr>
          <p:cNvPr id="101" name="Oval 100"/>
          <p:cNvSpPr/>
          <p:nvPr/>
        </p:nvSpPr>
        <p:spPr>
          <a:xfrm>
            <a:off x="7883293" y="3888515"/>
            <a:ext cx="204326" cy="204326"/>
          </a:xfrm>
          <a:prstGeom prst="ellips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800" dirty="0">
                <a:solidFill>
                  <a:schemeClr val="bg1"/>
                </a:solidFill>
              </a:rPr>
              <a:t>C</a:t>
            </a:r>
            <a:endParaRPr lang="en-US" sz="800" dirty="0">
              <a:solidFill>
                <a:schemeClr val="bg1"/>
              </a:solidFill>
            </a:endParaRPr>
          </a:p>
        </p:txBody>
      </p:sp>
      <p:sp>
        <p:nvSpPr>
          <p:cNvPr id="102" name="Oval 101"/>
          <p:cNvSpPr/>
          <p:nvPr/>
        </p:nvSpPr>
        <p:spPr>
          <a:xfrm>
            <a:off x="7883293" y="4167527"/>
            <a:ext cx="204326" cy="204326"/>
          </a:xfrm>
          <a:prstGeom prst="ellips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800" dirty="0">
                <a:solidFill>
                  <a:schemeClr val="bg1"/>
                </a:solidFill>
              </a:rPr>
              <a:t>G</a:t>
            </a:r>
            <a:endParaRPr lang="en-US" sz="800" dirty="0">
              <a:solidFill>
                <a:schemeClr val="bg1"/>
              </a:solidFill>
            </a:endParaRPr>
          </a:p>
        </p:txBody>
      </p:sp>
      <p:sp>
        <p:nvSpPr>
          <p:cNvPr id="103" name="Oval 102"/>
          <p:cNvSpPr/>
          <p:nvPr/>
        </p:nvSpPr>
        <p:spPr>
          <a:xfrm>
            <a:off x="7883293" y="4433478"/>
            <a:ext cx="204326" cy="204326"/>
          </a:xfrm>
          <a:prstGeom prst="ellips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800" dirty="0">
                <a:solidFill>
                  <a:schemeClr val="bg1"/>
                </a:solidFill>
              </a:rPr>
              <a:t>S</a:t>
            </a:r>
            <a:endParaRPr lang="en-US" sz="800" dirty="0">
              <a:solidFill>
                <a:schemeClr val="bg1"/>
              </a:solidFill>
            </a:endParaRPr>
          </a:p>
        </p:txBody>
      </p:sp>
      <p:sp>
        <p:nvSpPr>
          <p:cNvPr id="104" name="Oval 103"/>
          <p:cNvSpPr/>
          <p:nvPr/>
        </p:nvSpPr>
        <p:spPr>
          <a:xfrm>
            <a:off x="7883293" y="4698367"/>
            <a:ext cx="204326" cy="204326"/>
          </a:xfrm>
          <a:prstGeom prst="ellips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800" dirty="0">
                <a:solidFill>
                  <a:schemeClr val="bg1"/>
                </a:solidFill>
              </a:rPr>
              <a:t>U</a:t>
            </a:r>
            <a:endParaRPr lang="en-US" sz="800" dirty="0">
              <a:solidFill>
                <a:schemeClr val="bg1"/>
              </a:solidFill>
            </a:endParaRPr>
          </a:p>
        </p:txBody>
      </p:sp>
      <p:sp>
        <p:nvSpPr>
          <p:cNvPr id="105" name="Oval 104"/>
          <p:cNvSpPr/>
          <p:nvPr/>
        </p:nvSpPr>
        <p:spPr>
          <a:xfrm>
            <a:off x="7883294" y="5297615"/>
            <a:ext cx="204326" cy="204326"/>
          </a:xfrm>
          <a:prstGeom prst="ellips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800" dirty="0">
                <a:solidFill>
                  <a:schemeClr val="bg1"/>
                </a:solidFill>
              </a:rPr>
              <a:t>O</a:t>
            </a:r>
            <a:endParaRPr lang="en-US" sz="800" dirty="0">
              <a:solidFill>
                <a:schemeClr val="bg1"/>
              </a:solidFill>
            </a:endParaRPr>
          </a:p>
        </p:txBody>
      </p:sp>
      <p:sp>
        <p:nvSpPr>
          <p:cNvPr id="106" name="Oval 105"/>
          <p:cNvSpPr/>
          <p:nvPr/>
        </p:nvSpPr>
        <p:spPr>
          <a:xfrm>
            <a:off x="7883294" y="5732047"/>
            <a:ext cx="204326" cy="204326"/>
          </a:xfrm>
          <a:prstGeom prst="ellips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800" dirty="0">
                <a:solidFill>
                  <a:schemeClr val="bg1"/>
                </a:solidFill>
              </a:rPr>
              <a:t>W</a:t>
            </a:r>
            <a:endParaRPr lang="en-US" sz="800" dirty="0">
              <a:solidFill>
                <a:schemeClr val="bg1"/>
              </a:solidFill>
            </a:endParaRPr>
          </a:p>
        </p:txBody>
      </p:sp>
      <p:pic>
        <p:nvPicPr>
          <p:cNvPr id="107" name="Picture 1" descr="image002">
            <a:extLst>
              <a:ext uri="{FF2B5EF4-FFF2-40B4-BE49-F238E27FC236}">
                <a16:creationId xmlns:a16="http://schemas.microsoft.com/office/drawing/2014/main" id="{46D2AEEA-BF4A-4D06-B642-18A59C2730C5}"/>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8" name="Picture 107">
            <a:extLst>
              <a:ext uri="{FF2B5EF4-FFF2-40B4-BE49-F238E27FC236}">
                <a16:creationId xmlns:a16="http://schemas.microsoft.com/office/drawing/2014/main" id="{C063A020-DB91-4355-A918-CE0C3D2C18D9}"/>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5050" t="25548" r="5027" b="22927"/>
          <a:stretch/>
        </p:blipFill>
        <p:spPr>
          <a:xfrm>
            <a:off x="7981248" y="313232"/>
            <a:ext cx="1270327" cy="406262"/>
          </a:xfrm>
          <a:prstGeom prst="rect">
            <a:avLst/>
          </a:prstGeom>
        </p:spPr>
      </p:pic>
    </p:spTree>
    <p:extLst>
      <p:ext uri="{BB962C8B-B14F-4D97-AF65-F5344CB8AC3E}">
        <p14:creationId xmlns:p14="http://schemas.microsoft.com/office/powerpoint/2010/main" val="314791327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B4B853A-5631-41E0-A77D-D46ED992FBC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85764" y="548046"/>
            <a:ext cx="8829162" cy="5898454"/>
          </a:xfrm>
          <a:prstGeom prst="rect">
            <a:avLst/>
          </a:prstGeom>
        </p:spPr>
      </p:pic>
      <p:sp>
        <p:nvSpPr>
          <p:cNvPr id="4" name="Text Placeholder 3"/>
          <p:cNvSpPr>
            <a:spLocks noGrp="1"/>
          </p:cNvSpPr>
          <p:nvPr>
            <p:ph type="body" sz="quarter" idx="18"/>
          </p:nvPr>
        </p:nvSpPr>
        <p:spPr/>
        <p:txBody>
          <a:bodyPr/>
          <a:lstStyle/>
          <a:p>
            <a:r>
              <a:rPr lang="en-US" dirty="0"/>
              <a:t>SAREF4CITY - Overview</a:t>
            </a:r>
          </a:p>
          <a:p>
            <a:endParaRPr lang="en-US" dirty="0"/>
          </a:p>
        </p:txBody>
      </p:sp>
      <p:sp>
        <p:nvSpPr>
          <p:cNvPr id="2" name="Slide Number Placeholder 1"/>
          <p:cNvSpPr>
            <a:spLocks noGrp="1"/>
          </p:cNvSpPr>
          <p:nvPr>
            <p:ph type="sldNum" sz="quarter" idx="4"/>
          </p:nvPr>
        </p:nvSpPr>
        <p:spPr>
          <a:prstGeom prst="rect">
            <a:avLst/>
          </a:prstGeom>
        </p:spPr>
        <p:txBody>
          <a:bodyPr/>
          <a:lstStyle/>
          <a:p>
            <a:fld id="{EBC262BB-4310-134F-8D24-58475080D942}" type="slidenum">
              <a:rPr lang="en-US" smtClean="0"/>
              <a:pPr/>
              <a:t>79</a:t>
            </a:fld>
            <a:endParaRPr lang="en-US" dirty="0"/>
          </a:p>
        </p:txBody>
      </p:sp>
      <p:pic>
        <p:nvPicPr>
          <p:cNvPr id="7" name="Picture 1" descr="image002">
            <a:extLst>
              <a:ext uri="{FF2B5EF4-FFF2-40B4-BE49-F238E27FC236}">
                <a16:creationId xmlns:a16="http://schemas.microsoft.com/office/drawing/2014/main" id="{5D3E7674-1B04-415A-B7CB-09284BAC24E7}"/>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a:extLst>
              <a:ext uri="{FF2B5EF4-FFF2-40B4-BE49-F238E27FC236}">
                <a16:creationId xmlns:a16="http://schemas.microsoft.com/office/drawing/2014/main" id="{DFE3BAB3-41D4-47FA-8EEE-F9C4F94B6009}"/>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5050" t="25548" r="5027" b="22927"/>
          <a:stretch/>
        </p:blipFill>
        <p:spPr>
          <a:xfrm>
            <a:off x="7981248" y="313232"/>
            <a:ext cx="1270327" cy="406262"/>
          </a:xfrm>
          <a:prstGeom prst="rect">
            <a:avLst/>
          </a:prstGeom>
        </p:spPr>
      </p:pic>
      <p:sp>
        <p:nvSpPr>
          <p:cNvPr id="10" name="ee4pFootnotes">
            <a:extLst>
              <a:ext uri="{FF2B5EF4-FFF2-40B4-BE49-F238E27FC236}">
                <a16:creationId xmlns:a16="http://schemas.microsoft.com/office/drawing/2014/main" id="{17841236-10E2-45DF-9E2B-95A5A7ACB959}"/>
              </a:ext>
            </a:extLst>
          </p:cNvPr>
          <p:cNvSpPr>
            <a:spLocks noChangeArrowheads="1"/>
          </p:cNvSpPr>
          <p:nvPr/>
        </p:nvSpPr>
        <p:spPr bwMode="auto">
          <a:xfrm>
            <a:off x="2400370" y="6362401"/>
            <a:ext cx="7286014"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fr-FR" sz="1000" dirty="0">
                <a:cs typeface="Arial" pitchFamily="34" charset="0"/>
              </a:rPr>
              <a:t>Source: ETSI TS 103 410-4 V1.1.1</a:t>
            </a:r>
          </a:p>
          <a:p>
            <a:pPr>
              <a:lnSpc>
                <a:spcPct val="90000"/>
              </a:lnSpc>
            </a:pPr>
            <a:r>
              <a:rPr lang="pt-BR" sz="1000" dirty="0">
                <a:cs typeface="Arial" pitchFamily="34" charset="0"/>
              </a:rPr>
              <a:t>Figure by </a:t>
            </a:r>
            <a:r>
              <a:rPr lang="fr-FR" sz="1000" dirty="0">
                <a:cs typeface="Arial" pitchFamily="34" charset="0"/>
              </a:rPr>
              <a:t>Raúl García-Castro and María Poveda-</a:t>
            </a:r>
            <a:r>
              <a:rPr lang="fr-FR" sz="1000" dirty="0" err="1">
                <a:cs typeface="Arial" pitchFamily="34" charset="0"/>
              </a:rPr>
              <a:t>Villalón</a:t>
            </a:r>
            <a:r>
              <a:rPr lang="fr-FR" sz="1000" dirty="0">
                <a:cs typeface="Arial" pitchFamily="34" charset="0"/>
              </a:rPr>
              <a:t>, </a:t>
            </a:r>
            <a:r>
              <a:rPr lang="fr-FR" sz="1000" dirty="0" err="1">
                <a:cs typeface="Arial" pitchFamily="34" charset="0"/>
              </a:rPr>
              <a:t>Universidad</a:t>
            </a:r>
            <a:r>
              <a:rPr lang="fr-FR" sz="1000" dirty="0">
                <a:cs typeface="Arial" pitchFamily="34" charset="0"/>
              </a:rPr>
              <a:t> </a:t>
            </a:r>
            <a:r>
              <a:rPr lang="fr-FR" sz="1000" dirty="0" err="1">
                <a:cs typeface="Arial" pitchFamily="34" charset="0"/>
              </a:rPr>
              <a:t>Politecnica</a:t>
            </a:r>
            <a:r>
              <a:rPr lang="fr-FR" sz="1000" dirty="0">
                <a:cs typeface="Arial" pitchFamily="34" charset="0"/>
              </a:rPr>
              <a:t> de Madrid (UPM)</a:t>
            </a:r>
            <a:endParaRPr lang="fr-FR" sz="800" dirty="0">
              <a:cs typeface="Arial" pitchFamily="34" charset="0"/>
            </a:endParaRPr>
          </a:p>
        </p:txBody>
      </p:sp>
    </p:spTree>
    <p:extLst>
      <p:ext uri="{BB962C8B-B14F-4D97-AF65-F5344CB8AC3E}">
        <p14:creationId xmlns:p14="http://schemas.microsoft.com/office/powerpoint/2010/main" val="30653169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104FD77-20F8-4BD6-8BD9-1BA7CCF286B4}"/>
              </a:ext>
            </a:extLst>
          </p:cNvPr>
          <p:cNvSpPr>
            <a:spLocks noGrp="1"/>
          </p:cNvSpPr>
          <p:nvPr>
            <p:ph type="body" sz="quarter" idx="11"/>
          </p:nvPr>
        </p:nvSpPr>
        <p:spPr/>
        <p:txBody>
          <a:bodyPr/>
          <a:lstStyle/>
          <a:p>
            <a:r>
              <a:rPr lang="en-US" dirty="0"/>
              <a:t>Abstract</a:t>
            </a:r>
          </a:p>
        </p:txBody>
      </p:sp>
      <p:sp>
        <p:nvSpPr>
          <p:cNvPr id="4" name="Slide Number Placeholder 3">
            <a:extLst>
              <a:ext uri="{FF2B5EF4-FFF2-40B4-BE49-F238E27FC236}">
                <a16:creationId xmlns:a16="http://schemas.microsoft.com/office/drawing/2014/main" id="{1EB5E0C0-6B4B-4C3D-AC6E-4487AE08B4BF}"/>
              </a:ext>
            </a:extLst>
          </p:cNvPr>
          <p:cNvSpPr>
            <a:spLocks noGrp="1"/>
          </p:cNvSpPr>
          <p:nvPr>
            <p:ph type="sldNum" sz="quarter" idx="4"/>
          </p:nvPr>
        </p:nvSpPr>
        <p:spPr/>
        <p:txBody>
          <a:bodyPr/>
          <a:lstStyle/>
          <a:p>
            <a:fld id="{EBC262BB-4310-134F-8D24-58475080D942}" type="slidenum">
              <a:rPr lang="en-US" smtClean="0"/>
              <a:pPr/>
              <a:t>8</a:t>
            </a:fld>
            <a:endParaRPr lang="en-US" dirty="0"/>
          </a:p>
        </p:txBody>
      </p:sp>
      <p:pic>
        <p:nvPicPr>
          <p:cNvPr id="13" name="Picture 1" descr="image002">
            <a:extLst>
              <a:ext uri="{FF2B5EF4-FFF2-40B4-BE49-F238E27FC236}">
                <a16:creationId xmlns:a16="http://schemas.microsoft.com/office/drawing/2014/main" id="{2ABB324A-AE2A-4D47-9D7F-AC777666729C}"/>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p:cNvSpPr/>
          <p:nvPr/>
        </p:nvSpPr>
        <p:spPr>
          <a:xfrm>
            <a:off x="985764" y="1755828"/>
            <a:ext cx="9123324" cy="39359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US" sz="1200" b="1" dirty="0">
                <a:solidFill>
                  <a:schemeClr val="tx1"/>
                </a:solidFill>
              </a:rPr>
              <a:t>Thursday 18 June—Workshop (all times are given in </a:t>
            </a:r>
            <a:r>
              <a:rPr lang="en-US" sz="1200" b="1" dirty="0">
                <a:solidFill>
                  <a:schemeClr val="tx2"/>
                </a:solidFill>
              </a:rPr>
              <a:t>Central European Summer Time</a:t>
            </a:r>
            <a:r>
              <a:rPr lang="en-US" sz="1200" b="1" dirty="0">
                <a:solidFill>
                  <a:schemeClr val="tx1"/>
                </a:solidFill>
              </a:rPr>
              <a:t>) and </a:t>
            </a:r>
            <a:r>
              <a:rPr lang="en-US" sz="1200" b="1" dirty="0">
                <a:solidFill>
                  <a:schemeClr val="tx2"/>
                </a:solidFill>
              </a:rPr>
              <a:t>Eastern Summer Time USA</a:t>
            </a:r>
            <a:r>
              <a:rPr lang="en-US" sz="1200" b="1" dirty="0">
                <a:solidFill>
                  <a:schemeClr val="tx1"/>
                </a:solidFill>
              </a:rPr>
              <a:t>)</a:t>
            </a:r>
          </a:p>
        </p:txBody>
      </p:sp>
      <p:sp>
        <p:nvSpPr>
          <p:cNvPr id="15" name="Rectangle 14"/>
          <p:cNvSpPr/>
          <p:nvPr/>
        </p:nvSpPr>
        <p:spPr>
          <a:xfrm>
            <a:off x="985764" y="2165062"/>
            <a:ext cx="9123324" cy="225924"/>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US" sz="1200" dirty="0">
                <a:solidFill>
                  <a:schemeClr val="tx1"/>
                </a:solidFill>
              </a:rPr>
              <a:t>09:30–10:30 </a:t>
            </a:r>
            <a:r>
              <a:rPr lang="en-US" sz="1200" dirty="0">
                <a:solidFill>
                  <a:schemeClr val="tx2"/>
                </a:solidFill>
              </a:rPr>
              <a:t>CEST, </a:t>
            </a:r>
            <a:r>
              <a:rPr lang="en-US" sz="1200" dirty="0">
                <a:solidFill>
                  <a:schemeClr val="tx1"/>
                </a:solidFill>
              </a:rPr>
              <a:t>03:30–04:30: keynote by </a:t>
            </a:r>
            <a:r>
              <a:rPr lang="en-US" sz="1200" dirty="0">
                <a:solidFill>
                  <a:schemeClr val="tx2"/>
                </a:solidFill>
              </a:rPr>
              <a:t>Laura Daniele</a:t>
            </a:r>
          </a:p>
        </p:txBody>
      </p:sp>
      <p:sp>
        <p:nvSpPr>
          <p:cNvPr id="16" name="Rectangle 15"/>
          <p:cNvSpPr/>
          <p:nvPr/>
        </p:nvSpPr>
        <p:spPr>
          <a:xfrm>
            <a:off x="985764" y="2406625"/>
            <a:ext cx="9123324" cy="225924"/>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en-US" sz="1200" b="1" dirty="0">
                <a:solidFill>
                  <a:schemeClr val="tx1"/>
                </a:solidFill>
              </a:rPr>
              <a:t>The Smart appliances REference Ontology (SAREF), its development and its application</a:t>
            </a:r>
          </a:p>
        </p:txBody>
      </p:sp>
      <p:sp>
        <p:nvSpPr>
          <p:cNvPr id="17" name="Rectangle 16"/>
          <p:cNvSpPr/>
          <p:nvPr/>
        </p:nvSpPr>
        <p:spPr>
          <a:xfrm>
            <a:off x="985764" y="2648189"/>
            <a:ext cx="9123324" cy="333730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r>
              <a:rPr lang="en-US" sz="1100" dirty="0">
                <a:solidFill>
                  <a:schemeClr val="tx1"/>
                </a:solidFill>
              </a:rPr>
              <a:t>In this talk I will take you into a journey that started in 2014, when the European Commission launched the first initiative to build a common ontology in close collaboration with the smart appliances industry, which resulted into the creation of the Smart Appliances REFerence ontology (SAREF). Six years later, SAREF is a series of technical specifications published by the European Telecommunication Standardization institute (ETSI), consisting of a modular framework that comprises a generic core ontology for loT and 10 domain-specific extensions, including SAREF for Energy, Buildings and Cities, which are of particular interest for the LDAC community. The SAREF framework is maintained and evolved by experts from several European organizations that successfully collaborate with each other and can count on the continuous support of ETSI and the European Commission. One of the latest supported initiatives is the development of an open portal for the SAREF community and industry stakeholders, so that they can contribute directly to the SAREF evolution. On the practical side, the recently started H2020 interconnect Large Scale Pilot uses SAREF and its extensions as basis to enable interoperable solutions connecting smart homes, buildings and grids in various pilots located in seven different countries in Europe. During the talk I will share with you the lessons learned this journey and the challenges ahead, addressing questions and curiosities, like what makes SAREF a successful story, how to keep an ontology relevant to the industry and its community of users, how to consistently maintain and evolve extensions in various domains, but also more specific topics for the LDAC community, such as how to model buildings and different domains related to buildings, how to link SAREF to other domains, and what are the challenges when concretely using the ontology to develop large scale real applications, especially when going across-domain like the interconnect project aims to do when combining the different domains of smart homes, buildings and grids</a:t>
            </a:r>
          </a:p>
        </p:txBody>
      </p:sp>
      <p:sp>
        <p:nvSpPr>
          <p:cNvPr id="18" name="Rectangle: Single Corner Snipped 10">
            <a:extLst>
              <a:ext uri="{FF2B5EF4-FFF2-40B4-BE49-F238E27FC236}">
                <a16:creationId xmlns:a16="http://schemas.microsoft.com/office/drawing/2014/main" id="{670222A4-1294-4E0F-86F6-DA42003BCBD6}"/>
              </a:ext>
            </a:extLst>
          </p:cNvPr>
          <p:cNvSpPr/>
          <p:nvPr/>
        </p:nvSpPr>
        <p:spPr>
          <a:xfrm>
            <a:off x="3239182" y="1305112"/>
            <a:ext cx="7480935" cy="318659"/>
          </a:xfrm>
          <a:prstGeom prst="rect">
            <a:avLst/>
          </a:prstGeom>
          <a:solidFill>
            <a:schemeClr val="tx2"/>
          </a:solidFill>
        </p:spPr>
        <p:style>
          <a:lnRef idx="3">
            <a:schemeClr val="lt1"/>
          </a:lnRef>
          <a:fillRef idx="1">
            <a:schemeClr val="accent2"/>
          </a:fillRef>
          <a:effectRef idx="1">
            <a:schemeClr val="accent2"/>
          </a:effectRef>
          <a:fontRef idx="minor">
            <a:schemeClr val="lt1"/>
          </a:fontRef>
        </p:style>
        <p:txBody>
          <a:bodyPr rtlCol="0" anchor="ctr"/>
          <a:lstStyle/>
          <a:p>
            <a:pPr algn="ctr"/>
            <a:endParaRPr lang="en-US" sz="1200" dirty="0">
              <a:solidFill>
                <a:schemeClr val="tx1"/>
              </a:solidFill>
            </a:endParaRPr>
          </a:p>
          <a:p>
            <a:pPr algn="ctr"/>
            <a:r>
              <a:rPr lang="en-US" sz="1200" dirty="0">
                <a:solidFill>
                  <a:schemeClr val="tx1"/>
                </a:solidFill>
              </a:rPr>
              <a:t>Retitled to: “Multiple paths to the destination: the SAREF journey”</a:t>
            </a:r>
          </a:p>
          <a:p>
            <a:pPr algn="ctr"/>
            <a:endParaRPr lang="en-US" sz="1200" dirty="0">
              <a:solidFill>
                <a:schemeClr val="tx1"/>
              </a:solidFill>
            </a:endParaRPr>
          </a:p>
        </p:txBody>
      </p:sp>
      <p:sp>
        <p:nvSpPr>
          <p:cNvPr id="19" name="Rectangle: Single Corner Snipped 10">
            <a:extLst>
              <a:ext uri="{FF2B5EF4-FFF2-40B4-BE49-F238E27FC236}">
                <a16:creationId xmlns:a16="http://schemas.microsoft.com/office/drawing/2014/main" id="{670222A4-1294-4E0F-86F6-DA42003BCBD6}"/>
              </a:ext>
            </a:extLst>
          </p:cNvPr>
          <p:cNvSpPr/>
          <p:nvPr/>
        </p:nvSpPr>
        <p:spPr>
          <a:xfrm>
            <a:off x="8628610" y="2072327"/>
            <a:ext cx="2378296" cy="318659"/>
          </a:xfrm>
          <a:prstGeom prst="rect">
            <a:avLst/>
          </a:prstGeom>
          <a:solidFill>
            <a:schemeClr val="tx2"/>
          </a:solidFill>
        </p:spPr>
        <p:style>
          <a:lnRef idx="3">
            <a:schemeClr val="lt1"/>
          </a:lnRef>
          <a:fillRef idx="1">
            <a:schemeClr val="accent2"/>
          </a:fillRef>
          <a:effectRef idx="1">
            <a:schemeClr val="accent2"/>
          </a:effectRef>
          <a:fontRef idx="minor">
            <a:schemeClr val="lt1"/>
          </a:fontRef>
        </p:style>
        <p:txBody>
          <a:bodyPr lIns="0" tIns="0" rIns="0" bIns="0" rtlCol="0" anchor="ctr"/>
          <a:lstStyle/>
          <a:p>
            <a:pPr algn="ctr"/>
            <a:r>
              <a:rPr lang="en-US" sz="1200" dirty="0">
                <a:solidFill>
                  <a:schemeClr val="tx1"/>
                </a:solidFill>
              </a:rPr>
              <a:t>It was actually 2013!</a:t>
            </a:r>
          </a:p>
        </p:txBody>
      </p:sp>
      <p:sp>
        <p:nvSpPr>
          <p:cNvPr id="20" name="Rectangle: Single Corner Snipped 10">
            <a:extLst>
              <a:ext uri="{FF2B5EF4-FFF2-40B4-BE49-F238E27FC236}">
                <a16:creationId xmlns:a16="http://schemas.microsoft.com/office/drawing/2014/main" id="{670222A4-1294-4E0F-86F6-DA42003BCBD6}"/>
              </a:ext>
            </a:extLst>
          </p:cNvPr>
          <p:cNvSpPr/>
          <p:nvPr/>
        </p:nvSpPr>
        <p:spPr>
          <a:xfrm>
            <a:off x="10191749" y="3016933"/>
            <a:ext cx="1066801" cy="1000094"/>
          </a:xfrm>
          <a:prstGeom prst="rect">
            <a:avLst/>
          </a:prstGeom>
          <a:solidFill>
            <a:schemeClr val="tx2"/>
          </a:solidFill>
        </p:spPr>
        <p:style>
          <a:lnRef idx="3">
            <a:schemeClr val="lt1"/>
          </a:lnRef>
          <a:fillRef idx="1">
            <a:schemeClr val="accent2"/>
          </a:fillRef>
          <a:effectRef idx="1">
            <a:schemeClr val="accent2"/>
          </a:effectRef>
          <a:fontRef idx="minor">
            <a:schemeClr val="lt1"/>
          </a:fontRef>
        </p:style>
        <p:txBody>
          <a:bodyPr lIns="0" tIns="0" rIns="0" bIns="0" rtlCol="0" anchor="ctr"/>
          <a:lstStyle/>
          <a:p>
            <a:pPr algn="ctr"/>
            <a:r>
              <a:rPr lang="en-US" sz="1200" dirty="0">
                <a:solidFill>
                  <a:schemeClr val="tx1"/>
                </a:solidFill>
              </a:rPr>
              <a:t>So we are now seven years</a:t>
            </a:r>
            <a:br>
              <a:rPr lang="en-US" sz="1200" dirty="0">
                <a:solidFill>
                  <a:schemeClr val="tx1"/>
                </a:solidFill>
              </a:rPr>
            </a:br>
            <a:r>
              <a:rPr lang="en-US" sz="1200" dirty="0">
                <a:solidFill>
                  <a:schemeClr val="tx1"/>
                </a:solidFill>
              </a:rPr>
              <a:t>later …</a:t>
            </a:r>
          </a:p>
        </p:txBody>
      </p:sp>
      <p:sp>
        <p:nvSpPr>
          <p:cNvPr id="21" name="Rectangle: Single Corner Snipped 10">
            <a:extLst>
              <a:ext uri="{FF2B5EF4-FFF2-40B4-BE49-F238E27FC236}">
                <a16:creationId xmlns:a16="http://schemas.microsoft.com/office/drawing/2014/main" id="{670222A4-1294-4E0F-86F6-DA42003BCBD6}"/>
              </a:ext>
            </a:extLst>
          </p:cNvPr>
          <p:cNvSpPr/>
          <p:nvPr/>
        </p:nvSpPr>
        <p:spPr>
          <a:xfrm>
            <a:off x="5403723" y="5442329"/>
            <a:ext cx="5854827" cy="424136"/>
          </a:xfrm>
          <a:prstGeom prst="rect">
            <a:avLst/>
          </a:prstGeom>
          <a:solidFill>
            <a:schemeClr val="tx2"/>
          </a:solidFill>
        </p:spPr>
        <p:style>
          <a:lnRef idx="3">
            <a:schemeClr val="lt1"/>
          </a:lnRef>
          <a:fillRef idx="1">
            <a:schemeClr val="accent2"/>
          </a:fillRef>
          <a:effectRef idx="1">
            <a:schemeClr val="accent2"/>
          </a:effectRef>
          <a:fontRef idx="minor">
            <a:schemeClr val="lt1"/>
          </a:fontRef>
        </p:style>
        <p:txBody>
          <a:bodyPr lIns="0" tIns="0" rIns="0" bIns="0" rtlCol="0" anchor="ctr"/>
          <a:lstStyle/>
          <a:p>
            <a:pPr algn="ctr"/>
            <a:r>
              <a:rPr lang="en-US" sz="1200" dirty="0">
                <a:solidFill>
                  <a:schemeClr val="tx1"/>
                </a:solidFill>
              </a:rPr>
              <a:t>No longer Smart Appliances REFerence ontology, but Smart Applications REFerence ontology (still SAREF!)</a:t>
            </a:r>
          </a:p>
        </p:txBody>
      </p:sp>
    </p:spTree>
    <p:extLst>
      <p:ext uri="{BB962C8B-B14F-4D97-AF65-F5344CB8AC3E}">
        <p14:creationId xmlns:p14="http://schemas.microsoft.com/office/powerpoint/2010/main" val="319629125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8"/>
          </p:nvPr>
        </p:nvSpPr>
        <p:spPr/>
        <p:txBody>
          <a:bodyPr/>
          <a:lstStyle/>
          <a:p>
            <a:r>
              <a:rPr lang="en-US" dirty="0"/>
              <a:t>SAREF4CITY – example </a:t>
            </a:r>
          </a:p>
          <a:p>
            <a:endParaRPr lang="en-US" dirty="0"/>
          </a:p>
        </p:txBody>
      </p:sp>
      <p:sp>
        <p:nvSpPr>
          <p:cNvPr id="2" name="Slide Number Placeholder 1"/>
          <p:cNvSpPr>
            <a:spLocks noGrp="1"/>
          </p:cNvSpPr>
          <p:nvPr>
            <p:ph type="sldNum" sz="quarter" idx="4"/>
          </p:nvPr>
        </p:nvSpPr>
        <p:spPr>
          <a:prstGeom prst="rect">
            <a:avLst/>
          </a:prstGeom>
        </p:spPr>
        <p:txBody>
          <a:bodyPr/>
          <a:lstStyle/>
          <a:p>
            <a:fld id="{EBC262BB-4310-134F-8D24-58475080D942}" type="slidenum">
              <a:rPr lang="en-US" smtClean="0"/>
              <a:pPr/>
              <a:t>80</a:t>
            </a:fld>
            <a:endParaRPr lang="en-US" dirty="0"/>
          </a:p>
        </p:txBody>
      </p:sp>
      <p:pic>
        <p:nvPicPr>
          <p:cNvPr id="6" name="Picture 5">
            <a:extLst>
              <a:ext uri="{FF2B5EF4-FFF2-40B4-BE49-F238E27FC236}">
                <a16:creationId xmlns:a16="http://schemas.microsoft.com/office/drawing/2014/main" id="{C42315FC-B8CA-409A-89CC-8D3ABA9CD01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00689" y="1023105"/>
            <a:ext cx="9390621" cy="5714007"/>
          </a:xfrm>
          <a:prstGeom prst="rect">
            <a:avLst/>
          </a:prstGeom>
        </p:spPr>
      </p:pic>
      <p:pic>
        <p:nvPicPr>
          <p:cNvPr id="10" name="Picture 1" descr="image002">
            <a:extLst>
              <a:ext uri="{FF2B5EF4-FFF2-40B4-BE49-F238E27FC236}">
                <a16:creationId xmlns:a16="http://schemas.microsoft.com/office/drawing/2014/main" id="{0FDC283E-8748-40D2-81DF-A5862B033C32}"/>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003" t="22056" r="1883" b="18155"/>
          <a:stretch/>
        </p:blipFill>
        <p:spPr bwMode="auto">
          <a:xfrm>
            <a:off x="9409541" y="337137"/>
            <a:ext cx="1530350" cy="28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a:extLst>
              <a:ext uri="{FF2B5EF4-FFF2-40B4-BE49-F238E27FC236}">
                <a16:creationId xmlns:a16="http://schemas.microsoft.com/office/drawing/2014/main" id="{2A7088F4-BF8E-4310-A0A0-25BD59BE5B9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5050" t="25548" r="5027" b="22927"/>
          <a:stretch/>
        </p:blipFill>
        <p:spPr>
          <a:xfrm>
            <a:off x="7981248" y="313232"/>
            <a:ext cx="1270327" cy="406262"/>
          </a:xfrm>
          <a:prstGeom prst="rect">
            <a:avLst/>
          </a:prstGeom>
        </p:spPr>
      </p:pic>
      <p:sp>
        <p:nvSpPr>
          <p:cNvPr id="12" name="ee4pFootnotes">
            <a:extLst>
              <a:ext uri="{FF2B5EF4-FFF2-40B4-BE49-F238E27FC236}">
                <a16:creationId xmlns:a16="http://schemas.microsoft.com/office/drawing/2014/main" id="{BEA895BA-2874-4F1A-AC57-0648DB13859C}"/>
              </a:ext>
            </a:extLst>
          </p:cNvPr>
          <p:cNvSpPr>
            <a:spLocks noChangeArrowheads="1"/>
          </p:cNvSpPr>
          <p:nvPr/>
        </p:nvSpPr>
        <p:spPr bwMode="auto">
          <a:xfrm>
            <a:off x="2400370" y="6362401"/>
            <a:ext cx="7286014"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fr-FR" sz="1000" dirty="0">
                <a:cs typeface="Arial" pitchFamily="34" charset="0"/>
              </a:rPr>
              <a:t>Source: ETSI TS 103 410-4 V1.1.1</a:t>
            </a:r>
          </a:p>
          <a:p>
            <a:pPr>
              <a:lnSpc>
                <a:spcPct val="90000"/>
              </a:lnSpc>
            </a:pPr>
            <a:r>
              <a:rPr lang="pt-BR" sz="1000" dirty="0">
                <a:cs typeface="Arial" pitchFamily="34" charset="0"/>
              </a:rPr>
              <a:t>Figure by </a:t>
            </a:r>
            <a:r>
              <a:rPr lang="fr-FR" sz="1000" dirty="0">
                <a:cs typeface="Arial" pitchFamily="34" charset="0"/>
              </a:rPr>
              <a:t>Raúl García-Castro and María Poveda-</a:t>
            </a:r>
            <a:r>
              <a:rPr lang="fr-FR" sz="1000" dirty="0" err="1">
                <a:cs typeface="Arial" pitchFamily="34" charset="0"/>
              </a:rPr>
              <a:t>Villalón</a:t>
            </a:r>
            <a:r>
              <a:rPr lang="fr-FR" sz="1000" dirty="0">
                <a:cs typeface="Arial" pitchFamily="34" charset="0"/>
              </a:rPr>
              <a:t> (UPM)</a:t>
            </a:r>
            <a:endParaRPr lang="fr-FR" sz="800" dirty="0">
              <a:cs typeface="Arial" pitchFamily="34" charset="0"/>
            </a:endParaRPr>
          </a:p>
        </p:txBody>
      </p:sp>
    </p:spTree>
    <p:extLst>
      <p:ext uri="{BB962C8B-B14F-4D97-AF65-F5344CB8AC3E}">
        <p14:creationId xmlns:p14="http://schemas.microsoft.com/office/powerpoint/2010/main" val="2812949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en-US" dirty="0"/>
              <a:t>And the</a:t>
            </a:r>
            <a:br>
              <a:rPr lang="en-US" dirty="0"/>
            </a:br>
            <a:r>
              <a:rPr lang="en-US" dirty="0"/>
              <a:t>journey begins …</a:t>
            </a:r>
          </a:p>
        </p:txBody>
      </p:sp>
      <p:sp>
        <p:nvSpPr>
          <p:cNvPr id="3" name="Slide Number Placeholder 2"/>
          <p:cNvSpPr>
            <a:spLocks noGrp="1"/>
          </p:cNvSpPr>
          <p:nvPr>
            <p:ph type="sldNum" sz="quarter" idx="4"/>
          </p:nvPr>
        </p:nvSpPr>
        <p:spPr>
          <a:prstGeom prst="rect">
            <a:avLst/>
          </a:prstGeom>
        </p:spPr>
        <p:txBody>
          <a:bodyPr/>
          <a:lstStyle/>
          <a:p>
            <a:fld id="{EBC262BB-4310-134F-8D24-58475080D942}" type="slidenum">
              <a:rPr lang="en-US" smtClean="0"/>
              <a:pPr/>
              <a:t>9</a:t>
            </a:fld>
            <a:endParaRPr lang="en-US" dirty="0"/>
          </a:p>
        </p:txBody>
      </p:sp>
    </p:spTree>
    <p:extLst>
      <p:ext uri="{BB962C8B-B14F-4D97-AF65-F5344CB8AC3E}">
        <p14:creationId xmlns:p14="http://schemas.microsoft.com/office/powerpoint/2010/main" val="12468786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ags/tag2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yuKUGulDT5Dd9Bze9E266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InterConnect">
      <a:dk1>
        <a:srgbClr val="000000"/>
      </a:dk1>
      <a:lt1>
        <a:srgbClr val="FFFFFF"/>
      </a:lt1>
      <a:dk2>
        <a:srgbClr val="FEC10D"/>
      </a:dk2>
      <a:lt2>
        <a:srgbClr val="FFFFFF"/>
      </a:lt2>
      <a:accent1>
        <a:srgbClr val="000000"/>
      </a:accent1>
      <a:accent2>
        <a:srgbClr val="FEC10D"/>
      </a:accent2>
      <a:accent3>
        <a:srgbClr val="CEE312"/>
      </a:accent3>
      <a:accent4>
        <a:srgbClr val="3EAB3A"/>
      </a:accent4>
      <a:accent5>
        <a:srgbClr val="4F4B4C"/>
      </a:accent5>
      <a:accent6>
        <a:srgbClr val="E21C26"/>
      </a:accent6>
      <a:hlink>
        <a:srgbClr val="5D9E58"/>
      </a:hlink>
      <a:folHlink>
        <a:srgbClr val="E64421"/>
      </a:folHlink>
    </a:clrScheme>
    <a:fontScheme name="Personalizado 1">
      <a:majorFont>
        <a:latin typeface="Montserrat"/>
        <a:ea typeface=""/>
        <a:cs typeface=""/>
      </a:majorFont>
      <a:minorFont>
        <a:latin typeface="IBM Plex Mono"/>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a:noAutofit/>
      </a:bodyPr>
      <a:lstStyle>
        <a:defPPr marL="0" indent="0">
          <a:lnSpc>
            <a:spcPct val="100000"/>
          </a:lnSpc>
          <a:spcBef>
            <a:spcPts val="2200"/>
          </a:spcBef>
          <a:buClr>
            <a:schemeClr val="accent3"/>
          </a:buClr>
          <a:buSzPct val="150000"/>
          <a:buFontTx/>
          <a:buNone/>
          <a:defRPr sz="2000" b="0" spc="0" dirty="0" err="1" smtClean="0"/>
        </a:defPPr>
      </a:lstStyle>
    </a:txDef>
  </a:objectDefaults>
  <a:extraClrSchemeLst/>
  <a:extLst>
    <a:ext uri="{05A4C25C-085E-4340-85A3-A5531E510DB2}">
      <thm15:themeFamily xmlns:thm15="http://schemas.microsoft.com/office/thememl/2012/main" name="INESCTEC_Apres Templates_PT2" id="{B1FDAFB7-D6F8-4F4E-928C-982E9DB0D218}" vid="{3D70EFEB-E28C-D24B-9444-65FDA87083F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2.xml><?xml version="1.0" encoding="utf-8"?>
<p:properties xmlns:p="http://schemas.microsoft.com/office/2006/metadata/properties" xmlns:xsi="http://www.w3.org/2001/XMLSchema-instance" xmlns:pc="http://schemas.microsoft.com/office/infopath/2007/PartnerControls">
  <documentManagement>
    <TNOC_ClusterId xmlns="2f6a910d-138e-42c1-8e8a-320c1b7cf3f7">060.31289</TNOC_ClusterId>
    <h15fbb78f4cb41d290e72f301ea2865f xmlns="c91aec78-75da-4a4b-8c77-01339cc638e6">
      <Terms xmlns="http://schemas.microsoft.com/office/infopath/2007/PartnerControls">
        <TermInfo xmlns="http://schemas.microsoft.com/office/infopath/2007/PartnerControls">
          <TermName xmlns="http://schemas.microsoft.com/office/infopath/2007/PartnerControls">Project</TermName>
          <TermId xmlns="http://schemas.microsoft.com/office/infopath/2007/PartnerControls">fa11c4c9-105f-402c-bb40-9a56b4989397</TermId>
        </TermInfo>
      </Terms>
    </h15fbb78f4cb41d290e72f301ea2865f>
    <lca20d149a844688b6abf34073d5c21d xmlns="c91aec78-75da-4a4b-8c77-01339cc638e6">
      <Terms xmlns="http://schemas.microsoft.com/office/infopath/2007/PartnerControls"/>
    </lca20d149a844688b6abf34073d5c21d>
    <bac4ab11065f4f6c809c820c57e320e5 xmlns="c91aec78-75da-4a4b-8c77-01339cc638e6">
      <Terms xmlns="http://schemas.microsoft.com/office/infopath/2007/PartnerControls"/>
    </bac4ab11065f4f6c809c820c57e320e5>
    <cf581d8792c646118aad2c2c4ecdfa8c xmlns="c91aec78-75da-4a4b-8c77-01339cc638e6">
      <Terms xmlns="http://schemas.microsoft.com/office/infopath/2007/PartnerControls"/>
    </cf581d8792c646118aad2c2c4ecdfa8c>
    <_dlc_DocId xmlns="c91aec78-75da-4a4b-8c77-01339cc638e6">FVMSHJYTER3Y-681423561-141</_dlc_DocId>
    <TaxCatchAll xmlns="c91aec78-75da-4a4b-8c77-01339cc638e6">
      <Value>5</Value>
      <Value>1</Value>
    </TaxCatchAll>
    <n2a7a23bcc2241cb9261f9a914c7c1bb xmlns="c91aec78-75da-4a4b-8c77-01339cc638e6">
      <Terms xmlns="http://schemas.microsoft.com/office/infopath/2007/PartnerControls">
        <TermInfo xmlns="http://schemas.microsoft.com/office/infopath/2007/PartnerControls">
          <TermName xmlns="http://schemas.microsoft.com/office/infopath/2007/PartnerControls">TNO Internal</TermName>
          <TermId xmlns="http://schemas.microsoft.com/office/infopath/2007/PartnerControls">1a23c89f-ef54-4907-86fd-8242403ff722</TermId>
        </TermInfo>
      </Terms>
    </n2a7a23bcc2241cb9261f9a914c7c1bb>
    <TNOC_ClusterName xmlns="2f6a910d-138e-42c1-8e8a-320c1b7cf3f7">H2020 DT-ICT-10-2018 Smart Homes-Grids</TNOC_ClusterName>
    <_dlc_DocIdUrl xmlns="c91aec78-75da-4a4b-8c77-01339cc638e6">
      <Url>https://365tno.sharepoint.com/teams/P060.31289/_layouts/15/DocIdRedir.aspx?ID=FVMSHJYTER3Y-681423561-141</Url>
      <Description>FVMSHJYTER3Y-681423561-141</Description>
    </_dlc_DocIdUr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Team Document" ma:contentTypeID="0x010100A35317DCC28344A7B82488658A034A5C0100A0A574C2057D13429830CDC2BB5147A4" ma:contentTypeVersion="8" ma:contentTypeDescription=" " ma:contentTypeScope="" ma:versionID="c2992812146dca3e5bd3b74b7c8bfe1b">
  <xsd:schema xmlns:xsd="http://www.w3.org/2001/XMLSchema" xmlns:xs="http://www.w3.org/2001/XMLSchema" xmlns:p="http://schemas.microsoft.com/office/2006/metadata/properties" xmlns:ns2="c91aec78-75da-4a4b-8c77-01339cc638e6" xmlns:ns3="2f6a910d-138e-42c1-8e8a-320c1b7cf3f7" xmlns:ns5="2027d6aa-460a-44b1-9e7a-00c15e3b5838" targetNamespace="http://schemas.microsoft.com/office/2006/metadata/properties" ma:root="true" ma:fieldsID="31a3cd388d061c355f8eb3502d18f004" ns2:_="" ns3:_="" ns5:_="">
    <xsd:import namespace="c91aec78-75da-4a4b-8c77-01339cc638e6"/>
    <xsd:import namespace="2f6a910d-138e-42c1-8e8a-320c1b7cf3f7"/>
    <xsd:import namespace="2027d6aa-460a-44b1-9e7a-00c15e3b5838"/>
    <xsd:element name="properties">
      <xsd:complexType>
        <xsd:sequence>
          <xsd:element name="documentManagement">
            <xsd:complexType>
              <xsd:all>
                <xsd:element ref="ns2:_dlc_DocId" minOccurs="0"/>
                <xsd:element ref="ns2:_dlc_DocIdUrl" minOccurs="0"/>
                <xsd:element ref="ns2:_dlc_DocIdPersistId" minOccurs="0"/>
                <xsd:element ref="ns3:TNOC_ClusterName" minOccurs="0"/>
                <xsd:element ref="ns3:TNOC_ClusterId" minOccurs="0"/>
                <xsd:element ref="ns2:h15fbb78f4cb41d290e72f301ea2865f" minOccurs="0"/>
                <xsd:element ref="ns2:TaxCatchAll" minOccurs="0"/>
                <xsd:element ref="ns2:TaxCatchAllLabel" minOccurs="0"/>
                <xsd:element ref="ns2:n2a7a23bcc2241cb9261f9a914c7c1bb" minOccurs="0"/>
                <xsd:element ref="ns2:lca20d149a844688b6abf34073d5c21d" minOccurs="0"/>
                <xsd:element ref="ns2:cf581d8792c646118aad2c2c4ecdfa8c" minOccurs="0"/>
                <xsd:element ref="ns2:bac4ab11065f4f6c809c820c57e320e5" minOccurs="0"/>
                <xsd:element ref="ns5:MediaServiceMetadata" minOccurs="0"/>
                <xsd:element ref="ns5:MediaServiceFastMetadata" minOccurs="0"/>
                <xsd:element ref="ns2:SharedWithUsers" minOccurs="0"/>
                <xsd:element ref="ns2:SharedWithDetails" minOccurs="0"/>
                <xsd:element ref="ns5:MediaServiceAutoTags" minOccurs="0"/>
                <xsd:element ref="ns5:MediaServiceAutoKeyPoints" minOccurs="0"/>
                <xsd:element ref="ns5: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91aec78-75da-4a4b-8c77-01339cc638e6"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h15fbb78f4cb41d290e72f301ea2865f" ma:index="13" nillable="true" ma:taxonomy="true" ma:internalName="h15fbb78f4cb41d290e72f301ea2865f" ma:taxonomyFieldName="TNOC_ClusterType" ma:displayName="Cluster type" ma:default="1;#Project|fa11c4c9-105f-402c-bb40-9a56b4989397" ma:fieldId="{115fbb78-f4cb-41d2-90e7-2f301ea2865f}" ma:sspId="7378aa68-586f-4892-bb77-0985b40f41a6" ma:termSetId="e7feef8e-5ede-44cd-b7d5-7ed7dacef0b4" ma:anchorId="00000000-0000-0000-0000-000000000000" ma:open="false" ma:isKeyword="false">
      <xsd:complexType>
        <xsd:sequence>
          <xsd:element ref="pc:Terms" minOccurs="0" maxOccurs="1"/>
        </xsd:sequence>
      </xsd:complexType>
    </xsd:element>
    <xsd:element name="TaxCatchAll" ma:index="14" nillable="true" ma:displayName="Taxonomy Catch All Column" ma:hidden="true" ma:list="{30d94eb5-1bae-43b9-8f96-85340b781a3a}" ma:internalName="TaxCatchAll" ma:showField="CatchAllData" ma:web="c91aec78-75da-4a4b-8c77-01339cc638e6">
      <xsd:complexType>
        <xsd:complexContent>
          <xsd:extension base="dms:MultiChoiceLookup">
            <xsd:sequence>
              <xsd:element name="Value" type="dms:Lookup" maxOccurs="unbounded" minOccurs="0" nillable="true"/>
            </xsd:sequence>
          </xsd:extension>
        </xsd:complexContent>
      </xsd:complexType>
    </xsd:element>
    <xsd:element name="TaxCatchAllLabel" ma:index="15" nillable="true" ma:displayName="Taxonomy Catch All Column1" ma:hidden="true" ma:list="{30d94eb5-1bae-43b9-8f96-85340b781a3a}" ma:internalName="TaxCatchAllLabel" ma:readOnly="true" ma:showField="CatchAllDataLabel" ma:web="c91aec78-75da-4a4b-8c77-01339cc638e6">
      <xsd:complexType>
        <xsd:complexContent>
          <xsd:extension base="dms:MultiChoiceLookup">
            <xsd:sequence>
              <xsd:element name="Value" type="dms:Lookup" maxOccurs="unbounded" minOccurs="0" nillable="true"/>
            </xsd:sequence>
          </xsd:extension>
        </xsd:complexContent>
      </xsd:complexType>
    </xsd:element>
    <xsd:element name="n2a7a23bcc2241cb9261f9a914c7c1bb" ma:index="17" nillable="true" ma:taxonomy="true" ma:internalName="n2a7a23bcc2241cb9261f9a914c7c1bb" ma:taxonomyFieldName="TNOC_DocumentClassification" ma:displayName="Document classification" ma:default="5;#TNO Internal|1a23c89f-ef54-4907-86fd-8242403ff722" ma:fieldId="{72a7a23b-cc22-41cb-9261-f9a914c7c1bb}" ma:sspId="7378aa68-586f-4892-bb77-0985b40f41a6" ma:termSetId="ff8f31fd-7572-41dc-9fe4-bd4c6d280f39" ma:anchorId="00000000-0000-0000-0000-000000000000" ma:open="false" ma:isKeyword="false">
      <xsd:complexType>
        <xsd:sequence>
          <xsd:element ref="pc:Terms" minOccurs="0" maxOccurs="1"/>
        </xsd:sequence>
      </xsd:complexType>
    </xsd:element>
    <xsd:element name="lca20d149a844688b6abf34073d5c21d" ma:index="19" nillable="true" ma:taxonomy="true" ma:internalName="lca20d149a844688b6abf34073d5c21d" ma:taxonomyFieldName="TNOC_DocumentType" ma:displayName="Document type" ma:fieldId="{5ca20d14-9a84-4688-b6ab-f34073d5c21d}" ma:sspId="7378aa68-586f-4892-bb77-0985b40f41a6" ma:termSetId="e8a13a9e-c4f3-4184-b8d9-8210abad4948" ma:anchorId="00000000-0000-0000-0000-000000000000" ma:open="false" ma:isKeyword="false">
      <xsd:complexType>
        <xsd:sequence>
          <xsd:element ref="pc:Terms" minOccurs="0" maxOccurs="1"/>
        </xsd:sequence>
      </xsd:complexType>
    </xsd:element>
    <xsd:element name="cf581d8792c646118aad2c2c4ecdfa8c" ma:index="22" nillable="true" ma:taxonomy="true" ma:internalName="cf581d8792c646118aad2c2c4ecdfa8c" ma:taxonomyFieldName="TNOC_DocumentSetType" ma:displayName="Document set type" ma:readOnly="false" ma:fieldId="{cf581d87-92c6-4611-8aad-2c2c4ecdfa8c}" ma:sspId="7378aa68-586f-4892-bb77-0985b40f41a6" ma:termSetId="a8d4306b-62bf-468f-9587-ff078c864327" ma:anchorId="00000000-0000-0000-0000-000000000000" ma:open="false" ma:isKeyword="false">
      <xsd:complexType>
        <xsd:sequence>
          <xsd:element ref="pc:Terms" minOccurs="0" maxOccurs="1"/>
        </xsd:sequence>
      </xsd:complexType>
    </xsd:element>
    <xsd:element name="bac4ab11065f4f6c809c820c57e320e5" ma:index="24" nillable="true" ma:taxonomy="true" ma:internalName="bac4ab11065f4f6c809c820c57e320e5" ma:taxonomyFieldName="TNOC_DocumentCategory" ma:displayName="Document category" ma:fieldId="{bac4ab11-065f-4f6c-809c-820c57e320e5}" ma:sspId="7378aa68-586f-4892-bb77-0985b40f41a6" ma:termSetId="94d42b6a-4155-4fa6-95e9-087bc306ceb3" ma:anchorId="00000000-0000-0000-0000-000000000000" ma:open="false" ma:isKeyword="false">
      <xsd:complexType>
        <xsd:sequence>
          <xsd:element ref="pc:Terms" minOccurs="0" maxOccurs="1"/>
        </xsd:sequence>
      </xsd:complexType>
    </xsd:element>
    <xsd:element name="SharedWithUsers" ma:index="2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f6a910d-138e-42c1-8e8a-320c1b7cf3f7" elementFormDefault="qualified">
    <xsd:import namespace="http://schemas.microsoft.com/office/2006/documentManagement/types"/>
    <xsd:import namespace="http://schemas.microsoft.com/office/infopath/2007/PartnerControls"/>
    <xsd:element name="TNOC_ClusterName" ma:index="11" nillable="true" ma:displayName="Cluster name" ma:default="H2020 DT-ICT-10-2018 Smart Homes-Grids" ma:internalName="TNOC_ClusterName">
      <xsd:simpleType>
        <xsd:restriction base="dms:Text">
          <xsd:maxLength value="255"/>
        </xsd:restriction>
      </xsd:simpleType>
    </xsd:element>
    <xsd:element name="TNOC_ClusterId" ma:index="12" nillable="true" ma:displayName="Cluster ID" ma:default="060.31289" ma:internalName="TNOC_ClusterId">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027d6aa-460a-44b1-9e7a-00c15e3b5838" elementFormDefault="qualified">
    <xsd:import namespace="http://schemas.microsoft.com/office/2006/documentManagement/types"/>
    <xsd:import namespace="http://schemas.microsoft.com/office/infopath/2007/PartnerControls"/>
    <xsd:element name="MediaServiceMetadata" ma:index="26" nillable="true" ma:displayName="MediaServiceMetadata" ma:hidden="true" ma:internalName="MediaServiceMetadata" ma:readOnly="true">
      <xsd:simpleType>
        <xsd:restriction base="dms:Note"/>
      </xsd:simpleType>
    </xsd:element>
    <xsd:element name="MediaServiceFastMetadata" ma:index="27" nillable="true" ma:displayName="MediaServiceFastMetadata" ma:hidden="true" ma:internalName="MediaServiceFastMetadata" ma:readOnly="true">
      <xsd:simpleType>
        <xsd:restriction base="dms:Note"/>
      </xsd:simpleType>
    </xsd:element>
    <xsd:element name="MediaServiceAutoTags" ma:index="30" nillable="true" ma:displayName="Tags" ma:internalName="MediaServiceAutoTags" ma:readOnly="true">
      <xsd:simpleType>
        <xsd:restriction base="dms:Text"/>
      </xsd:simpleType>
    </xsd:element>
    <xsd:element name="MediaServiceAutoKeyPoints" ma:index="31" nillable="true" ma:displayName="MediaServiceAutoKeyPoints" ma:hidden="true" ma:internalName="MediaServiceAutoKeyPoints" ma:readOnly="true">
      <xsd:simpleType>
        <xsd:restriction base="dms:Note"/>
      </xsd:simpleType>
    </xsd:element>
    <xsd:element name="MediaServiceKeyPoints" ma:index="32"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1" ma:displayName="Author"/>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F6B2D3F-726F-49E1-A32C-CC7218584994}">
  <ds:schemaRefs>
    <ds:schemaRef ds:uri="http://schemas.microsoft.com/sharepoint/events"/>
  </ds:schemaRefs>
</ds:datastoreItem>
</file>

<file path=customXml/itemProps2.xml><?xml version="1.0" encoding="utf-8"?>
<ds:datastoreItem xmlns:ds="http://schemas.openxmlformats.org/officeDocument/2006/customXml" ds:itemID="{9FA5C809-891E-41C4-94C3-603096945F9E}">
  <ds:schemaRefs>
    <ds:schemaRef ds:uri="http://schemas.microsoft.com/office/2006/documentManagement/types"/>
    <ds:schemaRef ds:uri="2027d6aa-460a-44b1-9e7a-00c15e3b5838"/>
    <ds:schemaRef ds:uri="http://purl.org/dc/elements/1.1/"/>
    <ds:schemaRef ds:uri="http://schemas.microsoft.com/office/2006/metadata/properties"/>
    <ds:schemaRef ds:uri="c91aec78-75da-4a4b-8c77-01339cc638e6"/>
    <ds:schemaRef ds:uri="2f6a910d-138e-42c1-8e8a-320c1b7cf3f7"/>
    <ds:schemaRef ds:uri="http://purl.org/dc/terms/"/>
    <ds:schemaRef ds:uri="http://schemas.microsoft.com/office/infopath/2007/PartnerControl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ADFC4C1A-70DB-468D-96F5-CE69F58DAAA1}">
  <ds:schemaRefs>
    <ds:schemaRef ds:uri="http://schemas.microsoft.com/sharepoint/v3/contenttype/forms"/>
  </ds:schemaRefs>
</ds:datastoreItem>
</file>

<file path=customXml/itemProps4.xml><?xml version="1.0" encoding="utf-8"?>
<ds:datastoreItem xmlns:ds="http://schemas.openxmlformats.org/officeDocument/2006/customXml" ds:itemID="{C33691EC-3536-40CD-B5F7-0B75402CE1E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91aec78-75da-4a4b-8c77-01339cc638e6"/>
    <ds:schemaRef ds:uri="2f6a910d-138e-42c1-8e8a-320c1b7cf3f7"/>
    <ds:schemaRef ds:uri="2027d6aa-460a-44b1-9e7a-00c15e3b583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709</TotalTime>
  <Words>8607</Words>
  <Application>Microsoft Office PowerPoint</Application>
  <PresentationFormat>Widescreen</PresentationFormat>
  <Paragraphs>1108</Paragraphs>
  <Slides>80</Slides>
  <Notes>5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80</vt:i4>
      </vt:variant>
    </vt:vector>
  </HeadingPairs>
  <TitlesOfParts>
    <vt:vector size="88" baseType="lpstr">
      <vt:lpstr>Arial</vt:lpstr>
      <vt:lpstr>Calibri</vt:lpstr>
      <vt:lpstr>Helvetica Neue</vt:lpstr>
      <vt:lpstr>IBM Plex Mono</vt:lpstr>
      <vt:lpstr>Montserrat</vt:lpstr>
      <vt:lpstr>Trebuchet MS</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niele, L.M. (Laura)</dc:creator>
  <cp:lastModifiedBy>Daniele, L.M. (Laura)</cp:lastModifiedBy>
  <cp:revision>1</cp:revision>
  <dcterms:created xsi:type="dcterms:W3CDTF">2020-06-17T11:17:39Z</dcterms:created>
  <dcterms:modified xsi:type="dcterms:W3CDTF">2020-06-24T12:40:04Z</dcterms:modified>
</cp:coreProperties>
</file>